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 ContentType="image/tiff"/>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7430" r:id="rId5"/>
    <p:sldMasterId id="2147487453" r:id="rId6"/>
  </p:sldMasterIdLst>
  <p:notesMasterIdLst>
    <p:notesMasterId r:id="rId23"/>
  </p:notesMasterIdLst>
  <p:sldIdLst>
    <p:sldId id="322" r:id="rId7"/>
    <p:sldId id="361" r:id="rId8"/>
    <p:sldId id="333" r:id="rId9"/>
    <p:sldId id="352" r:id="rId10"/>
    <p:sldId id="353" r:id="rId11"/>
    <p:sldId id="2147377730" r:id="rId12"/>
    <p:sldId id="356" r:id="rId13"/>
    <p:sldId id="290" r:id="rId14"/>
    <p:sldId id="316" r:id="rId15"/>
    <p:sldId id="309" r:id="rId16"/>
    <p:sldId id="312" r:id="rId17"/>
    <p:sldId id="314" r:id="rId18"/>
    <p:sldId id="2147377781" r:id="rId19"/>
    <p:sldId id="2147377672" r:id="rId20"/>
    <p:sldId id="2147377782" r:id="rId21"/>
    <p:sldId id="2147377783" r:id="rId22"/>
  </p:sldIdLst>
  <p:sldSz cx="12192000" cy="6858000"/>
  <p:notesSz cx="6797675" cy="9926638"/>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0FEA6E1-09BE-4811-210C-A1C290ABE1F7}" name="Jessica van Langevelde" initials="JL" userId="S::j.vanlangevelde@zzv.nl::009db971-c4fb-433d-9924-8ed5d29147d0" providerId="AD"/>
  <p188:author id="{D5D108E6-8AFE-1673-6069-6D5DCCE0750A}" name="Elisa Raeman" initials="ER" userId="S::e.raeman@zzv.nl::87ef9e8a-0499-4042-b916-72003bf8e50e"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AF3A6E"/>
    <a:srgbClr val="97D2EB"/>
    <a:srgbClr val="EA591B"/>
    <a:srgbClr val="F9AF05"/>
    <a:srgbClr val="F3A1AF"/>
    <a:srgbClr val="51A4A3"/>
    <a:srgbClr val="26A955"/>
    <a:srgbClr val="C7E8F1"/>
    <a:srgbClr val="0065B0"/>
    <a:srgbClr val="9DD6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1F8AF06-D542-498F-88EA-1B816AEF51D7}" v="772" dt="2023-10-10T07:50:10.335"/>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8" y="12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é Maas" userId="29a1f80c-7b14-4d95-b505-ac3500138074" providerId="ADAL" clId="{31F8AF06-D542-498F-88EA-1B816AEF51D7}"/>
    <pc:docChg chg="custSel addSld delSld modSld sldOrd">
      <pc:chgData name="René Maas" userId="29a1f80c-7b14-4d95-b505-ac3500138074" providerId="ADAL" clId="{31F8AF06-D542-498F-88EA-1B816AEF51D7}" dt="2023-10-10T09:11:33.981" v="2905" actId="2711"/>
      <pc:docMkLst>
        <pc:docMk/>
      </pc:docMkLst>
      <pc:sldChg chg="delSp modSp mod delAnim modAnim">
        <pc:chgData name="René Maas" userId="29a1f80c-7b14-4d95-b505-ac3500138074" providerId="ADAL" clId="{31F8AF06-D542-498F-88EA-1B816AEF51D7}" dt="2023-10-10T07:42:36.922" v="1109" actId="114"/>
        <pc:sldMkLst>
          <pc:docMk/>
          <pc:sldMk cId="1153089570" sldId="312"/>
        </pc:sldMkLst>
        <pc:spChg chg="mod">
          <ac:chgData name="René Maas" userId="29a1f80c-7b14-4d95-b505-ac3500138074" providerId="ADAL" clId="{31F8AF06-D542-498F-88EA-1B816AEF51D7}" dt="2023-10-10T07:42:36.922" v="1109" actId="114"/>
          <ac:spMkLst>
            <pc:docMk/>
            <pc:sldMk cId="1153089570" sldId="312"/>
            <ac:spMk id="12" creationId="{9501438E-95B7-5056-F1FD-2DC0DAF045F2}"/>
          </ac:spMkLst>
        </pc:spChg>
        <pc:grpChg chg="del">
          <ac:chgData name="René Maas" userId="29a1f80c-7b14-4d95-b505-ac3500138074" providerId="ADAL" clId="{31F8AF06-D542-498F-88EA-1B816AEF51D7}" dt="2023-10-10T07:39:12.646" v="926" actId="478"/>
          <ac:grpSpMkLst>
            <pc:docMk/>
            <pc:sldMk cId="1153089570" sldId="312"/>
            <ac:grpSpMk id="54" creationId="{32718826-0BD5-3020-7AFB-60CB66B06EE2}"/>
          </ac:grpSpMkLst>
        </pc:grpChg>
        <pc:grpChg chg="del">
          <ac:chgData name="René Maas" userId="29a1f80c-7b14-4d95-b505-ac3500138074" providerId="ADAL" clId="{31F8AF06-D542-498F-88EA-1B816AEF51D7}" dt="2023-10-10T07:39:13.936" v="927" actId="478"/>
          <ac:grpSpMkLst>
            <pc:docMk/>
            <pc:sldMk cId="1153089570" sldId="312"/>
            <ac:grpSpMk id="55" creationId="{1D61E5E5-0C2C-6C24-5049-1CA624C39E16}"/>
          </ac:grpSpMkLst>
        </pc:grpChg>
        <pc:grpChg chg="del">
          <ac:chgData name="René Maas" userId="29a1f80c-7b14-4d95-b505-ac3500138074" providerId="ADAL" clId="{31F8AF06-D542-498F-88EA-1B816AEF51D7}" dt="2023-10-10T07:39:14.976" v="928" actId="478"/>
          <ac:grpSpMkLst>
            <pc:docMk/>
            <pc:sldMk cId="1153089570" sldId="312"/>
            <ac:grpSpMk id="56" creationId="{A36B21AC-A547-2944-DD07-6FD93A496A87}"/>
          </ac:grpSpMkLst>
        </pc:grpChg>
        <pc:grpChg chg="del">
          <ac:chgData name="René Maas" userId="29a1f80c-7b14-4d95-b505-ac3500138074" providerId="ADAL" clId="{31F8AF06-D542-498F-88EA-1B816AEF51D7}" dt="2023-10-10T07:39:15.568" v="929" actId="478"/>
          <ac:grpSpMkLst>
            <pc:docMk/>
            <pc:sldMk cId="1153089570" sldId="312"/>
            <ac:grpSpMk id="57" creationId="{D8B67D6E-4A70-F7D4-A691-0769D1AC700A}"/>
          </ac:grpSpMkLst>
        </pc:grpChg>
        <pc:grpChg chg="del">
          <ac:chgData name="René Maas" userId="29a1f80c-7b14-4d95-b505-ac3500138074" providerId="ADAL" clId="{31F8AF06-D542-498F-88EA-1B816AEF51D7}" dt="2023-10-10T07:39:17.103" v="930" actId="478"/>
          <ac:grpSpMkLst>
            <pc:docMk/>
            <pc:sldMk cId="1153089570" sldId="312"/>
            <ac:grpSpMk id="58" creationId="{0DA1C479-A167-33FC-436B-2C4DD9407128}"/>
          </ac:grpSpMkLst>
        </pc:grpChg>
      </pc:sldChg>
      <pc:sldChg chg="del">
        <pc:chgData name="René Maas" userId="29a1f80c-7b14-4d95-b505-ac3500138074" providerId="ADAL" clId="{31F8AF06-D542-498F-88EA-1B816AEF51D7}" dt="2023-10-10T07:41:34.529" v="1037" actId="47"/>
        <pc:sldMkLst>
          <pc:docMk/>
          <pc:sldMk cId="3733803616" sldId="313"/>
        </pc:sldMkLst>
      </pc:sldChg>
      <pc:sldChg chg="delSp modSp mod delAnim modAnim">
        <pc:chgData name="René Maas" userId="29a1f80c-7b14-4d95-b505-ac3500138074" providerId="ADAL" clId="{31F8AF06-D542-498F-88EA-1B816AEF51D7}" dt="2023-10-10T07:50:14.541" v="1433"/>
        <pc:sldMkLst>
          <pc:docMk/>
          <pc:sldMk cId="882109149" sldId="314"/>
        </pc:sldMkLst>
        <pc:spChg chg="mod">
          <ac:chgData name="René Maas" userId="29a1f80c-7b14-4d95-b505-ac3500138074" providerId="ADAL" clId="{31F8AF06-D542-498F-88EA-1B816AEF51D7}" dt="2023-10-10T07:47:34.615" v="1421" actId="20577"/>
          <ac:spMkLst>
            <pc:docMk/>
            <pc:sldMk cId="882109149" sldId="314"/>
            <ac:spMk id="9" creationId="{6B5AF443-B9C5-BEA5-4360-B00A8145E153}"/>
          </ac:spMkLst>
        </pc:spChg>
        <pc:spChg chg="del mod">
          <ac:chgData name="René Maas" userId="29a1f80c-7b14-4d95-b505-ac3500138074" providerId="ADAL" clId="{31F8AF06-D542-498F-88EA-1B816AEF51D7}" dt="2023-10-10T07:50:14.541" v="1433"/>
          <ac:spMkLst>
            <pc:docMk/>
            <pc:sldMk cId="882109149" sldId="314"/>
            <ac:spMk id="20" creationId="{A1D13A3F-9044-D0E4-A0CE-08CC2F8175FF}"/>
          </ac:spMkLst>
        </pc:spChg>
      </pc:sldChg>
      <pc:sldChg chg="addSp delSp modSp mod">
        <pc:chgData name="René Maas" userId="29a1f80c-7b14-4d95-b505-ac3500138074" providerId="ADAL" clId="{31F8AF06-D542-498F-88EA-1B816AEF51D7}" dt="2023-10-10T07:20:09.839" v="248" actId="1076"/>
        <pc:sldMkLst>
          <pc:docMk/>
          <pc:sldMk cId="632578625" sldId="352"/>
        </pc:sldMkLst>
        <pc:spChg chg="mod">
          <ac:chgData name="René Maas" userId="29a1f80c-7b14-4d95-b505-ac3500138074" providerId="ADAL" clId="{31F8AF06-D542-498F-88EA-1B816AEF51D7}" dt="2023-10-10T07:13:45.967" v="91" actId="20577"/>
          <ac:spMkLst>
            <pc:docMk/>
            <pc:sldMk cId="632578625" sldId="352"/>
            <ac:spMk id="2" creationId="{D40970B4-4B01-DF2C-D4AC-A1375B093AAE}"/>
          </ac:spMkLst>
        </pc:spChg>
        <pc:spChg chg="add mod">
          <ac:chgData name="René Maas" userId="29a1f80c-7b14-4d95-b505-ac3500138074" providerId="ADAL" clId="{31F8AF06-D542-498F-88EA-1B816AEF51D7}" dt="2023-10-10T07:18:10.723" v="126" actId="14100"/>
          <ac:spMkLst>
            <pc:docMk/>
            <pc:sldMk cId="632578625" sldId="352"/>
            <ac:spMk id="5" creationId="{0EB290C7-239C-D5A9-DEAA-B5DBBCAF4F35}"/>
          </ac:spMkLst>
        </pc:spChg>
        <pc:spChg chg="add mod">
          <ac:chgData name="René Maas" userId="29a1f80c-7b14-4d95-b505-ac3500138074" providerId="ADAL" clId="{31F8AF06-D542-498F-88EA-1B816AEF51D7}" dt="2023-10-10T07:20:09.839" v="248" actId="1076"/>
          <ac:spMkLst>
            <pc:docMk/>
            <pc:sldMk cId="632578625" sldId="352"/>
            <ac:spMk id="8" creationId="{453BC6CE-8F0C-C59E-3308-B861866847AE}"/>
          </ac:spMkLst>
        </pc:spChg>
        <pc:picChg chg="del">
          <ac:chgData name="René Maas" userId="29a1f80c-7b14-4d95-b505-ac3500138074" providerId="ADAL" clId="{31F8AF06-D542-498F-88EA-1B816AEF51D7}" dt="2023-10-10T07:13:54.840" v="92" actId="478"/>
          <ac:picMkLst>
            <pc:docMk/>
            <pc:sldMk cId="632578625" sldId="352"/>
            <ac:picMk id="3" creationId="{A2C2DE71-706F-9E77-5843-13255A77EB4C}"/>
          </ac:picMkLst>
        </pc:picChg>
        <pc:picChg chg="del">
          <ac:chgData name="René Maas" userId="29a1f80c-7b14-4d95-b505-ac3500138074" providerId="ADAL" clId="{31F8AF06-D542-498F-88EA-1B816AEF51D7}" dt="2023-10-10T07:13:56.893" v="93" actId="478"/>
          <ac:picMkLst>
            <pc:docMk/>
            <pc:sldMk cId="632578625" sldId="352"/>
            <ac:picMk id="4" creationId="{4521F8A9-10B2-70FB-49A6-C59733537579}"/>
          </ac:picMkLst>
        </pc:picChg>
        <pc:picChg chg="del">
          <ac:chgData name="René Maas" userId="29a1f80c-7b14-4d95-b505-ac3500138074" providerId="ADAL" clId="{31F8AF06-D542-498F-88EA-1B816AEF51D7}" dt="2023-10-10T07:13:59.525" v="94" actId="478"/>
          <ac:picMkLst>
            <pc:docMk/>
            <pc:sldMk cId="632578625" sldId="352"/>
            <ac:picMk id="6" creationId="{4E996A37-4CEE-DA65-7383-55988044B44E}"/>
          </ac:picMkLst>
        </pc:picChg>
        <pc:picChg chg="add mod">
          <ac:chgData name="René Maas" userId="29a1f80c-7b14-4d95-b505-ac3500138074" providerId="ADAL" clId="{31F8AF06-D542-498F-88EA-1B816AEF51D7}" dt="2023-10-10T07:17:54.351" v="125" actId="14100"/>
          <ac:picMkLst>
            <pc:docMk/>
            <pc:sldMk cId="632578625" sldId="352"/>
            <ac:picMk id="7" creationId="{C050B588-AAEC-93D3-B7C4-3D6A32497571}"/>
          </ac:picMkLst>
        </pc:picChg>
      </pc:sldChg>
      <pc:sldChg chg="modSp mod">
        <pc:chgData name="René Maas" userId="29a1f80c-7b14-4d95-b505-ac3500138074" providerId="ADAL" clId="{31F8AF06-D542-498F-88EA-1B816AEF51D7}" dt="2023-10-10T07:35:27.663" v="643" actId="6549"/>
        <pc:sldMkLst>
          <pc:docMk/>
          <pc:sldMk cId="3656845013" sldId="356"/>
        </pc:sldMkLst>
        <pc:spChg chg="mod">
          <ac:chgData name="René Maas" userId="29a1f80c-7b14-4d95-b505-ac3500138074" providerId="ADAL" clId="{31F8AF06-D542-498F-88EA-1B816AEF51D7}" dt="2023-10-10T07:35:27.663" v="643" actId="6549"/>
          <ac:spMkLst>
            <pc:docMk/>
            <pc:sldMk cId="3656845013" sldId="356"/>
            <ac:spMk id="3" creationId="{762871E5-C1CE-C270-383D-FEBFC7B58568}"/>
          </ac:spMkLst>
        </pc:spChg>
      </pc:sldChg>
      <pc:sldChg chg="modSp mod">
        <pc:chgData name="René Maas" userId="29a1f80c-7b14-4d95-b505-ac3500138074" providerId="ADAL" clId="{31F8AF06-D542-498F-88EA-1B816AEF51D7}" dt="2023-10-10T07:12:00.028" v="33" actId="6549"/>
        <pc:sldMkLst>
          <pc:docMk/>
          <pc:sldMk cId="210894099" sldId="361"/>
        </pc:sldMkLst>
        <pc:spChg chg="mod">
          <ac:chgData name="René Maas" userId="29a1f80c-7b14-4d95-b505-ac3500138074" providerId="ADAL" clId="{31F8AF06-D542-498F-88EA-1B816AEF51D7}" dt="2023-10-10T07:12:00.028" v="33" actId="6549"/>
          <ac:spMkLst>
            <pc:docMk/>
            <pc:sldMk cId="210894099" sldId="361"/>
            <ac:spMk id="10" creationId="{34C5F0FA-93B5-460B-959F-1AF66B051D97}"/>
          </ac:spMkLst>
        </pc:spChg>
      </pc:sldChg>
      <pc:sldChg chg="modSp mod ord">
        <pc:chgData name="René Maas" userId="29a1f80c-7b14-4d95-b505-ac3500138074" providerId="ADAL" clId="{31F8AF06-D542-498F-88EA-1B816AEF51D7}" dt="2023-10-10T09:11:33.981" v="2905" actId="2711"/>
        <pc:sldMkLst>
          <pc:docMk/>
          <pc:sldMk cId="332841454" sldId="2147377672"/>
        </pc:sldMkLst>
        <pc:spChg chg="mod">
          <ac:chgData name="René Maas" userId="29a1f80c-7b14-4d95-b505-ac3500138074" providerId="ADAL" clId="{31F8AF06-D542-498F-88EA-1B816AEF51D7}" dt="2023-10-10T09:11:33.981" v="2905" actId="2711"/>
          <ac:spMkLst>
            <pc:docMk/>
            <pc:sldMk cId="332841454" sldId="2147377672"/>
            <ac:spMk id="2" creationId="{25C5B900-8D24-F49E-59D3-932654EF3DAD}"/>
          </ac:spMkLst>
        </pc:spChg>
        <pc:spChg chg="mod">
          <ac:chgData name="René Maas" userId="29a1f80c-7b14-4d95-b505-ac3500138074" providerId="ADAL" clId="{31F8AF06-D542-498F-88EA-1B816AEF51D7}" dt="2023-10-10T09:11:12.143" v="2904" actId="20577"/>
          <ac:spMkLst>
            <pc:docMk/>
            <pc:sldMk cId="332841454" sldId="2147377672"/>
            <ac:spMk id="3" creationId="{9F1548C5-15B6-6DB8-D4A9-2DA41924C868}"/>
          </ac:spMkLst>
        </pc:spChg>
        <pc:spChg chg="mod">
          <ac:chgData name="René Maas" userId="29a1f80c-7b14-4d95-b505-ac3500138074" providerId="ADAL" clId="{31F8AF06-D542-498F-88EA-1B816AEF51D7}" dt="2023-10-10T09:03:26.056" v="1908" actId="6549"/>
          <ac:spMkLst>
            <pc:docMk/>
            <pc:sldMk cId="332841454" sldId="2147377672"/>
            <ac:spMk id="17" creationId="{D2766BEC-D499-8805-4823-F879658D99AE}"/>
          </ac:spMkLst>
        </pc:spChg>
      </pc:sldChg>
      <pc:sldChg chg="ord">
        <pc:chgData name="René Maas" userId="29a1f80c-7b14-4d95-b505-ac3500138074" providerId="ADAL" clId="{31F8AF06-D542-498F-88EA-1B816AEF51D7}" dt="2023-10-10T07:35:50.288" v="645"/>
        <pc:sldMkLst>
          <pc:docMk/>
          <pc:sldMk cId="1122823900" sldId="2147377730"/>
        </pc:sldMkLst>
      </pc:sldChg>
      <pc:sldChg chg="del">
        <pc:chgData name="René Maas" userId="29a1f80c-7b14-4d95-b505-ac3500138074" providerId="ADAL" clId="{31F8AF06-D542-498F-88EA-1B816AEF51D7}" dt="2023-10-10T09:04:39.392" v="1909" actId="47"/>
        <pc:sldMkLst>
          <pc:docMk/>
          <pc:sldMk cId="1012593597" sldId="2147377780"/>
        </pc:sldMkLst>
      </pc:sldChg>
      <pc:sldChg chg="modSp add mod ord">
        <pc:chgData name="René Maas" userId="29a1f80c-7b14-4d95-b505-ac3500138074" providerId="ADAL" clId="{31F8AF06-D542-498F-88EA-1B816AEF51D7}" dt="2023-10-10T07:52:16.039" v="1751" actId="1076"/>
        <pc:sldMkLst>
          <pc:docMk/>
          <pc:sldMk cId="2499733770" sldId="2147377781"/>
        </pc:sldMkLst>
        <pc:spChg chg="mod">
          <ac:chgData name="René Maas" userId="29a1f80c-7b14-4d95-b505-ac3500138074" providerId="ADAL" clId="{31F8AF06-D542-498F-88EA-1B816AEF51D7}" dt="2023-10-10T07:50:57.912" v="1498" actId="6549"/>
          <ac:spMkLst>
            <pc:docMk/>
            <pc:sldMk cId="2499733770" sldId="2147377781"/>
            <ac:spMk id="2" creationId="{AEF3A944-2290-913A-1BD6-14979CA47C29}"/>
          </ac:spMkLst>
        </pc:spChg>
        <pc:spChg chg="mod">
          <ac:chgData name="René Maas" userId="29a1f80c-7b14-4d95-b505-ac3500138074" providerId="ADAL" clId="{31F8AF06-D542-498F-88EA-1B816AEF51D7}" dt="2023-10-10T07:52:16.039" v="1751" actId="1076"/>
          <ac:spMkLst>
            <pc:docMk/>
            <pc:sldMk cId="2499733770" sldId="2147377781"/>
            <ac:spMk id="3" creationId="{762871E5-C1CE-C270-383D-FEBFC7B58568}"/>
          </ac:spMkLst>
        </pc:spChg>
      </pc:sldChg>
      <pc:sldChg chg="modSp add mod">
        <pc:chgData name="René Maas" userId="29a1f80c-7b14-4d95-b505-ac3500138074" providerId="ADAL" clId="{31F8AF06-D542-498F-88EA-1B816AEF51D7}" dt="2023-10-10T08:05:13.823" v="1883" actId="6549"/>
        <pc:sldMkLst>
          <pc:docMk/>
          <pc:sldMk cId="907591617" sldId="2147377782"/>
        </pc:sldMkLst>
        <pc:spChg chg="mod">
          <ac:chgData name="René Maas" userId="29a1f80c-7b14-4d95-b505-ac3500138074" providerId="ADAL" clId="{31F8AF06-D542-498F-88EA-1B816AEF51D7}" dt="2023-10-10T07:56:14.504" v="1777" actId="6549"/>
          <ac:spMkLst>
            <pc:docMk/>
            <pc:sldMk cId="907591617" sldId="2147377782"/>
            <ac:spMk id="2" creationId="{AEF3A944-2290-913A-1BD6-14979CA47C29}"/>
          </ac:spMkLst>
        </pc:spChg>
        <pc:spChg chg="mod">
          <ac:chgData name="René Maas" userId="29a1f80c-7b14-4d95-b505-ac3500138074" providerId="ADAL" clId="{31F8AF06-D542-498F-88EA-1B816AEF51D7}" dt="2023-10-10T08:05:13.823" v="1883" actId="6549"/>
          <ac:spMkLst>
            <pc:docMk/>
            <pc:sldMk cId="907591617" sldId="2147377782"/>
            <ac:spMk id="3" creationId="{762871E5-C1CE-C270-383D-FEBFC7B58568}"/>
          </ac:spMkLst>
        </pc:spChg>
      </pc:sldChg>
      <pc:sldChg chg="modSp add mod">
        <pc:chgData name="René Maas" userId="29a1f80c-7b14-4d95-b505-ac3500138074" providerId="ADAL" clId="{31F8AF06-D542-498F-88EA-1B816AEF51D7}" dt="2023-10-10T09:09:50.908" v="2903" actId="12"/>
        <pc:sldMkLst>
          <pc:docMk/>
          <pc:sldMk cId="1609300501" sldId="2147377783"/>
        </pc:sldMkLst>
        <pc:spChg chg="mod">
          <ac:chgData name="René Maas" userId="29a1f80c-7b14-4d95-b505-ac3500138074" providerId="ADAL" clId="{31F8AF06-D542-498F-88EA-1B816AEF51D7}" dt="2023-10-10T09:09:50.908" v="2903" actId="12"/>
          <ac:spMkLst>
            <pc:docMk/>
            <pc:sldMk cId="1609300501" sldId="2147377783"/>
            <ac:spMk id="3" creationId="{762871E5-C1CE-C270-383D-FEBFC7B58568}"/>
          </ac:spMkLst>
        </pc:spChg>
      </pc:sldChg>
      <pc:sldMasterChg chg="delSldLayout">
        <pc:chgData name="René Maas" userId="29a1f80c-7b14-4d95-b505-ac3500138074" providerId="ADAL" clId="{31F8AF06-D542-498F-88EA-1B816AEF51D7}" dt="2023-10-10T09:04:39.392" v="1909" actId="47"/>
        <pc:sldMasterMkLst>
          <pc:docMk/>
          <pc:sldMasterMk cId="1695864798" sldId="2147483648"/>
        </pc:sldMasterMkLst>
        <pc:sldLayoutChg chg="del">
          <pc:chgData name="René Maas" userId="29a1f80c-7b14-4d95-b505-ac3500138074" providerId="ADAL" clId="{31F8AF06-D542-498F-88EA-1B816AEF51D7}" dt="2023-10-10T09:04:39.392" v="1909" actId="47"/>
          <pc:sldLayoutMkLst>
            <pc:docMk/>
            <pc:sldMasterMk cId="1695864798" sldId="2147483648"/>
            <pc:sldLayoutMk cId="2261724682" sldId="2147487506"/>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989367985823981E-2"/>
          <c:y val="0.32009484291641965"/>
          <c:w val="0.94802126402835207"/>
          <c:h val="0.5280674355539583"/>
        </c:manualLayout>
      </c:layout>
      <c:barChart>
        <c:barDir val="col"/>
        <c:grouping val="clustered"/>
        <c:varyColors val="0"/>
        <c:ser>
          <c:idx val="0"/>
          <c:order val="0"/>
          <c:tx>
            <c:strRef>
              <c:f>Blad1!$B$1</c:f>
              <c:strCache>
                <c:ptCount val="1"/>
                <c:pt idx="0">
                  <c:v>Benodigd</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j-lt"/>
                    <a:ea typeface="+mn-ea"/>
                    <a:cs typeface="+mn-cs"/>
                  </a:defRPr>
                </a:pPr>
                <a:endParaRPr lang="nl-NL"/>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A$2:$A$3</c:f>
              <c:strCache>
                <c:ptCount val="2"/>
                <c:pt idx="0">
                  <c:v>Realisatie 2020</c:v>
                </c:pt>
                <c:pt idx="1">
                  <c:v>Prognose 2030</c:v>
                </c:pt>
              </c:strCache>
            </c:strRef>
          </c:cat>
          <c:val>
            <c:numRef>
              <c:f>Blad1!$B$2:$B$3</c:f>
              <c:numCache>
                <c:formatCode>0.000</c:formatCode>
                <c:ptCount val="2"/>
                <c:pt idx="0">
                  <c:v>32.4</c:v>
                </c:pt>
                <c:pt idx="1">
                  <c:v>38.9</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30D5-4734-9A44-13DA7544520F}"/>
            </c:ext>
          </c:extLst>
        </c:ser>
        <c:ser>
          <c:idx val="1"/>
          <c:order val="1"/>
          <c:tx>
            <c:strRef>
              <c:f>Blad1!$C$1</c:f>
              <c:strCache>
                <c:ptCount val="1"/>
                <c:pt idx="0">
                  <c:v>Beschikbaar</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2"/>
                    </a:solidFill>
                    <a:latin typeface="+mj-lt"/>
                    <a:ea typeface="+mn-ea"/>
                    <a:cs typeface="+mn-cs"/>
                  </a:defRPr>
                </a:pPr>
                <a:endParaRPr lang="nl-NL"/>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lad1!$A$2:$A$3</c:f>
              <c:strCache>
                <c:ptCount val="2"/>
                <c:pt idx="0">
                  <c:v>Realisatie 2020</c:v>
                </c:pt>
                <c:pt idx="1">
                  <c:v>Prognose 2030</c:v>
                </c:pt>
              </c:strCache>
            </c:strRef>
          </c:cat>
          <c:val>
            <c:numRef>
              <c:f>Blad1!$C$2:$C$3</c:f>
              <c:numCache>
                <c:formatCode>0.000</c:formatCode>
                <c:ptCount val="2"/>
                <c:pt idx="0">
                  <c:v>31.6</c:v>
                </c:pt>
                <c:pt idx="1">
                  <c:v>31.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30D5-4734-9A44-13DA7544520F}"/>
            </c:ext>
          </c:extLst>
        </c:ser>
        <c:dLbls>
          <c:showLegendKey val="0"/>
          <c:showVal val="0"/>
          <c:showCatName val="0"/>
          <c:showSerName val="0"/>
          <c:showPercent val="0"/>
          <c:showBubbleSize val="0"/>
        </c:dLbls>
        <c:gapWidth val="100"/>
        <c:axId val="754353871"/>
        <c:axId val="194771183"/>
      </c:barChart>
      <c:catAx>
        <c:axId val="754353871"/>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400" b="0" i="0" u="none" strike="noStrike" kern="1200" baseline="0">
                <a:solidFill>
                  <a:schemeClr val="accent1"/>
                </a:solidFill>
                <a:latin typeface="+mj-lt"/>
                <a:ea typeface="+mn-ea"/>
                <a:cs typeface="+mn-cs"/>
              </a:defRPr>
            </a:pPr>
            <a:endParaRPr lang="nl-NL"/>
          </a:p>
        </c:txPr>
        <c:crossAx val="194771183"/>
        <c:crosses val="autoZero"/>
        <c:auto val="1"/>
        <c:lblAlgn val="ctr"/>
        <c:lblOffset val="100"/>
        <c:noMultiLvlLbl val="0"/>
      </c:catAx>
      <c:valAx>
        <c:axId val="194771183"/>
        <c:scaling>
          <c:orientation val="minMax"/>
          <c:max val="50"/>
        </c:scaling>
        <c:delete val="1"/>
        <c:axPos val="l"/>
        <c:numFmt formatCode="0.000" sourceLinked="1"/>
        <c:majorTickMark val="none"/>
        <c:minorTickMark val="none"/>
        <c:tickLblPos val="nextTo"/>
        <c:crossAx val="754353871"/>
        <c:crosses val="autoZero"/>
        <c:crossBetween val="between"/>
      </c:valAx>
      <c:spPr>
        <a:noFill/>
        <a:ln>
          <a:noFill/>
        </a:ln>
        <a:effectLst/>
      </c:spPr>
    </c:plotArea>
    <c:legend>
      <c:legendPos val="b"/>
      <c:layout>
        <c:manualLayout>
          <c:xMode val="edge"/>
          <c:yMode val="edge"/>
          <c:x val="0.16755552041523458"/>
          <c:y val="0.9483012452152767"/>
          <c:w val="0.66488877313253747"/>
          <c:h val="5.169875478472307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l-NL"/>
        </a:p>
      </c:txPr>
    </c:legend>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4FA247C9-9EF9-8E47-B313-9EF0643AAC93}" type="datetimeFigureOut">
              <a:rPr lang="nl-NL" smtClean="0"/>
              <a:t>10-10-2023</a:t>
            </a:fld>
            <a:endParaRPr lang="nl-NL"/>
          </a:p>
        </p:txBody>
      </p:sp>
      <p:sp>
        <p:nvSpPr>
          <p:cNvPr id="4" name="Tijdelijke aanduiding voor dia-afbeelding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ED1A8592-AA4A-5943-A08A-AFB47B4B234B}" type="slidenum">
              <a:rPr lang="nl-NL" smtClean="0"/>
              <a:t>‹nr.›</a:t>
            </a:fld>
            <a:endParaRPr lang="nl-NL"/>
          </a:p>
        </p:txBody>
      </p:sp>
    </p:spTree>
    <p:extLst>
      <p:ext uri="{BB962C8B-B14F-4D97-AF65-F5344CB8AC3E}">
        <p14:creationId xmlns:p14="http://schemas.microsoft.com/office/powerpoint/2010/main" val="1679480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cs typeface="Calibri"/>
            </a:endParaRPr>
          </a:p>
        </p:txBody>
      </p:sp>
      <p:sp>
        <p:nvSpPr>
          <p:cNvPr id="4" name="Tijdelijke aanduiding voor dianummer 3"/>
          <p:cNvSpPr>
            <a:spLocks noGrp="1"/>
          </p:cNvSpPr>
          <p:nvPr>
            <p:ph type="sldNum" sz="quarter" idx="5"/>
          </p:nvPr>
        </p:nvSpPr>
        <p:spPr/>
        <p:txBody>
          <a:bodyPr/>
          <a:lstStyle/>
          <a:p>
            <a:fld id="{ED1A8592-AA4A-5943-A08A-AFB47B4B234B}" type="slidenum">
              <a:rPr lang="nl-NL" smtClean="0"/>
              <a:t>1</a:t>
            </a:fld>
            <a:endParaRPr lang="nl-NL"/>
          </a:p>
        </p:txBody>
      </p:sp>
    </p:spTree>
    <p:extLst>
      <p:ext uri="{BB962C8B-B14F-4D97-AF65-F5344CB8AC3E}">
        <p14:creationId xmlns:p14="http://schemas.microsoft.com/office/powerpoint/2010/main" val="2930722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F992C70C-B30F-1049-B866-5ABA862E0232}" type="slidenum">
              <a:rPr lang="en-US" smtClean="0"/>
              <a:pPr/>
              <a:t>2</a:t>
            </a:fld>
            <a:endParaRPr lang="en-US"/>
          </a:p>
        </p:txBody>
      </p:sp>
    </p:spTree>
    <p:extLst>
      <p:ext uri="{BB962C8B-B14F-4D97-AF65-F5344CB8AC3E}">
        <p14:creationId xmlns:p14="http://schemas.microsoft.com/office/powerpoint/2010/main" val="374928523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spcBef>
                <a:spcPts val="1600"/>
              </a:spcBef>
              <a:buNone/>
              <a:defRPr/>
            </a:pPr>
            <a:r>
              <a:rPr lang="nl-NL" sz="1200" b="1" dirty="0">
                <a:solidFill>
                  <a:srgbClr val="074576"/>
                </a:solidFill>
                <a:latin typeface="Calibri" panose="020F0502020204030204"/>
              </a:rPr>
              <a:t>Belangrijkste uitdagingen uit regiobeeld:</a:t>
            </a:r>
            <a:br>
              <a:rPr lang="nl-NL" sz="1200" b="1" dirty="0">
                <a:solidFill>
                  <a:srgbClr val="074576"/>
                </a:solidFill>
                <a:latin typeface="Calibri" panose="020F0502020204030204"/>
              </a:rPr>
            </a:br>
            <a:endParaRPr lang="nl-NL" sz="1200" b="1" dirty="0">
              <a:solidFill>
                <a:srgbClr val="074576"/>
              </a:solidFill>
              <a:latin typeface="Calibri" panose="020F0502020204030204"/>
            </a:endParaRPr>
          </a:p>
          <a:p>
            <a:pPr>
              <a:spcBef>
                <a:spcPts val="1600"/>
              </a:spcBef>
              <a:defRPr/>
            </a:pPr>
            <a:r>
              <a:rPr lang="nl-NL" sz="1200" b="1" dirty="0">
                <a:solidFill>
                  <a:srgbClr val="074576"/>
                </a:solidFill>
                <a:latin typeface="Calibri" panose="020F0502020204030204"/>
              </a:rPr>
              <a:t>Toegankelijkheid en beschikbaarheid </a:t>
            </a:r>
            <a:r>
              <a:rPr lang="nl-NL" sz="1200" dirty="0">
                <a:solidFill>
                  <a:srgbClr val="074576"/>
                </a:solidFill>
                <a:latin typeface="Calibri" panose="020F0502020204030204"/>
              </a:rPr>
              <a:t>van de zorg</a:t>
            </a:r>
            <a:r>
              <a:rPr lang="nl-NL" sz="1200" b="1" dirty="0">
                <a:solidFill>
                  <a:srgbClr val="074576"/>
                </a:solidFill>
                <a:latin typeface="Calibri" panose="020F0502020204030204"/>
              </a:rPr>
              <a:t> </a:t>
            </a:r>
            <a:r>
              <a:rPr lang="nl-NL" sz="1200" dirty="0">
                <a:solidFill>
                  <a:srgbClr val="074576"/>
                </a:solidFill>
                <a:latin typeface="Calibri" panose="020F0502020204030204"/>
              </a:rPr>
              <a:t>staat onder druk</a:t>
            </a:r>
          </a:p>
          <a:p>
            <a:pPr>
              <a:spcBef>
                <a:spcPts val="1600"/>
              </a:spcBef>
              <a:defRPr/>
            </a:pPr>
            <a:r>
              <a:rPr lang="nl-NL" sz="1200" b="1" dirty="0">
                <a:solidFill>
                  <a:srgbClr val="074576"/>
                </a:solidFill>
                <a:latin typeface="Calibri" panose="020F0502020204030204"/>
              </a:rPr>
              <a:t>Personeelscapaciteit</a:t>
            </a:r>
            <a:r>
              <a:rPr lang="nl-NL" sz="1200" dirty="0">
                <a:solidFill>
                  <a:srgbClr val="074576"/>
                </a:solidFill>
                <a:latin typeface="Calibri" panose="020F0502020204030204"/>
              </a:rPr>
              <a:t> staat onder druk door uitstroom van zorgpersoneel in combinatie met een stijgende zorgvraag</a:t>
            </a:r>
          </a:p>
          <a:p>
            <a:pPr>
              <a:spcBef>
                <a:spcPts val="1600"/>
              </a:spcBef>
              <a:defRPr/>
            </a:pPr>
            <a:r>
              <a:rPr lang="nl-NL" sz="1200" dirty="0">
                <a:solidFill>
                  <a:srgbClr val="074576"/>
                </a:solidFill>
                <a:latin typeface="Calibri" panose="020F0502020204030204"/>
              </a:rPr>
              <a:t>De </a:t>
            </a:r>
            <a:r>
              <a:rPr lang="nl-NL" sz="1200" b="1" dirty="0">
                <a:solidFill>
                  <a:srgbClr val="074576"/>
                </a:solidFill>
                <a:latin typeface="Calibri" panose="020F0502020204030204"/>
              </a:rPr>
              <a:t>acute zorg </a:t>
            </a:r>
            <a:r>
              <a:rPr lang="nl-NL" sz="1200" dirty="0">
                <a:solidFill>
                  <a:srgbClr val="074576"/>
                </a:solidFill>
                <a:latin typeface="Calibri" panose="020F0502020204030204"/>
              </a:rPr>
              <a:t>staat onder druk door geografische uitdagingen (aanrijtijden) en een tekort aan medewerkers in de spoedzorg</a:t>
            </a:r>
          </a:p>
          <a:p>
            <a:pPr>
              <a:spcBef>
                <a:spcPts val="1600"/>
              </a:spcBef>
              <a:defRPr/>
            </a:pPr>
            <a:r>
              <a:rPr lang="nl-NL" sz="1200" dirty="0">
                <a:solidFill>
                  <a:srgbClr val="074576"/>
                </a:solidFill>
                <a:latin typeface="Calibri" panose="020F0502020204030204"/>
              </a:rPr>
              <a:t>Onvoldoende beschikbaarheid van </a:t>
            </a:r>
            <a:r>
              <a:rPr lang="nl-NL" sz="1200" b="1" dirty="0">
                <a:solidFill>
                  <a:srgbClr val="074576"/>
                </a:solidFill>
                <a:latin typeface="Calibri" panose="020F0502020204030204"/>
              </a:rPr>
              <a:t>zorg en ondersteuning aan ouderen</a:t>
            </a:r>
            <a:endParaRPr lang="nl-NL"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8</a:t>
            </a:fld>
            <a:endParaRPr lang="nl-NL" dirty="0"/>
          </a:p>
        </p:txBody>
      </p:sp>
    </p:spTree>
    <p:extLst>
      <p:ext uri="{BB962C8B-B14F-4D97-AF65-F5344CB8AC3E}">
        <p14:creationId xmlns:p14="http://schemas.microsoft.com/office/powerpoint/2010/main" val="23455068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b="1" u="sng" dirty="0"/>
              <a:t>De uitdaging:</a:t>
            </a:r>
            <a:r>
              <a:rPr lang="nl-NL" b="1" dirty="0"/>
              <a:t> </a:t>
            </a:r>
            <a:br>
              <a:rPr lang="nl-NL" dirty="0"/>
            </a:br>
            <a:r>
              <a:rPr lang="nl-NL" dirty="0"/>
              <a:t>In 2030 hebben we 7.500 </a:t>
            </a:r>
            <a:r>
              <a:rPr lang="nl-NL" u="sng" dirty="0"/>
              <a:t>extra</a:t>
            </a:r>
            <a:r>
              <a:rPr lang="nl-NL" dirty="0"/>
              <a:t> zorgmedewerkers nodig; bovenop de ca. 32.000 mensen die nu al in de zorg werken en die we hard nodig blijven hebben</a:t>
            </a:r>
            <a:endParaRPr lang="en-GB" dirty="0"/>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9</a:t>
            </a:fld>
            <a:endParaRPr lang="nl-NL" dirty="0"/>
          </a:p>
        </p:txBody>
      </p:sp>
    </p:spTree>
    <p:extLst>
      <p:ext uri="{BB962C8B-B14F-4D97-AF65-F5344CB8AC3E}">
        <p14:creationId xmlns:p14="http://schemas.microsoft.com/office/powerpoint/2010/main" val="775719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lnSpc>
                <a:spcPct val="100000"/>
              </a:lnSpc>
            </a:pPr>
            <a:r>
              <a:rPr lang="nl-NL" sz="1200" b="1" dirty="0">
                <a:solidFill>
                  <a:srgbClr val="000000"/>
                </a:solidFill>
                <a:effectLst/>
                <a:ea typeface="Calibri" panose="020F0502020204030204" pitchFamily="34" charset="0"/>
                <a:cs typeface="Times New Roman" panose="02020603050405020304" pitchFamily="18" charset="0"/>
              </a:rPr>
              <a:t>Van zorg naar gezondheid</a:t>
            </a:r>
            <a:endParaRPr lang="nl-NL" sz="1200" dirty="0">
              <a:effectLst/>
              <a:ea typeface="Calibri" panose="020F0502020204030204" pitchFamily="34" charset="0"/>
              <a:cs typeface="Times New Roman" panose="02020603050405020304" pitchFamily="18" charset="0"/>
            </a:endParaRPr>
          </a:p>
          <a:p>
            <a:pPr algn="l">
              <a:lnSpc>
                <a:spcPct val="100000"/>
              </a:lnSpc>
            </a:pPr>
            <a:r>
              <a:rPr lang="nl-NL" sz="1200" dirty="0">
                <a:solidFill>
                  <a:srgbClr val="000000"/>
                </a:solidFill>
                <a:effectLst/>
                <a:ea typeface="Calibri" panose="020F0502020204030204" pitchFamily="34" charset="0"/>
                <a:cs typeface="Times New Roman" panose="02020603050405020304" pitchFamily="18" charset="0"/>
              </a:rPr>
              <a:t>Zeeland maakte een duurzame transitie van zorg naar gezondheid. Dat begint met: inwoners helpen zo lang mogelijk gezond en vitaal te blijven. Zowel lichamelijk als geestelijk. Uitgangspunt zijn de principes van Positieve Gezondheid. We zorgen ervoor dat inwoners zich verantwoordelijk voelen en de handvatten krijgen om zelf aan hun gezondheid te werken. Met een sterkere nulde lijn én de samenwerking in de keten. En een stevig netwerk om de inwoner heen, net als een samenhangend stelsel aan voorzieningen. Op die manier werken we aan de juiste zorg op de juiste plaats. Met de shift van genezen naar preventie voorkomen we zo veel mogelijk dure tweedelijnszorg. </a:t>
            </a:r>
            <a:endParaRPr lang="nl-NL" sz="1200" dirty="0">
              <a:effectLst/>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0</a:t>
            </a:fld>
            <a:endParaRPr lang="nl-NL" dirty="0"/>
          </a:p>
        </p:txBody>
      </p:sp>
    </p:spTree>
    <p:extLst>
      <p:ext uri="{BB962C8B-B14F-4D97-AF65-F5344CB8AC3E}">
        <p14:creationId xmlns:p14="http://schemas.microsoft.com/office/powerpoint/2010/main" val="28512733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gn="l">
              <a:lnSpc>
                <a:spcPts val="1200"/>
              </a:lnSpc>
            </a:pPr>
            <a:r>
              <a:rPr lang="nl-NL" sz="1200" b="1" dirty="0">
                <a:solidFill>
                  <a:srgbClr val="000000"/>
                </a:solidFill>
                <a:effectLst/>
                <a:ea typeface="Calibri" panose="020F0502020204030204" pitchFamily="34" charset="0"/>
                <a:cs typeface="Times New Roman" panose="02020603050405020304" pitchFamily="18" charset="0"/>
              </a:rPr>
              <a:t>Innovatie</a:t>
            </a:r>
            <a:endParaRPr lang="nl-NL" sz="1200" dirty="0">
              <a:effectLst/>
              <a:ea typeface="Calibri" panose="020F0502020204030204" pitchFamily="34" charset="0"/>
              <a:cs typeface="Times New Roman" panose="02020603050405020304" pitchFamily="18" charset="0"/>
            </a:endParaRPr>
          </a:p>
          <a:p>
            <a:pPr algn="l">
              <a:lnSpc>
                <a:spcPts val="1200"/>
              </a:lnSpc>
            </a:pPr>
            <a:r>
              <a:rPr lang="nl-NL" sz="1200" dirty="0">
                <a:solidFill>
                  <a:srgbClr val="000000"/>
                </a:solidFill>
                <a:effectLst/>
                <a:ea typeface="Calibri" panose="020F0502020204030204" pitchFamily="34" charset="0"/>
                <a:cs typeface="Times New Roman" panose="02020603050405020304" pitchFamily="18" charset="0"/>
              </a:rPr>
              <a:t>In Zeeland innoveren we. Zijn we vooruitstrevend. Als gevolg van onze radicaal andere aanpak binnen de zorgsector, is de provincie Zeeland met zijn zorginstellingen een zeer aantrekkelijke werkgever. We zijn in staat om talent op diverse vakgebieden te behouden en aan te trekken. Daardoor zorgen we ervoor dat in 2030 net zo veel mensen in de zorg werken als in 2023. Want hier doen we de dingen écht anders. Wij organiseren ons om de patiënt heen. We nodigen medewerkers uit om mee te denken en te vernieuwen. </a:t>
            </a:r>
            <a:endParaRPr lang="nl-NL" sz="1200" dirty="0">
              <a:effectLst/>
              <a:ea typeface="Calibri" panose="020F0502020204030204" pitchFamily="34" charset="0"/>
              <a:cs typeface="Times New Roman" panose="02020603050405020304" pitchFamily="18" charset="0"/>
            </a:endParaRPr>
          </a:p>
        </p:txBody>
      </p:sp>
      <p:sp>
        <p:nvSpPr>
          <p:cNvPr id="4" name="Tijdelijke aanduiding voor dianummer 3"/>
          <p:cNvSpPr>
            <a:spLocks noGrp="1"/>
          </p:cNvSpPr>
          <p:nvPr>
            <p:ph type="sldNum" sz="quarter" idx="5"/>
          </p:nvPr>
        </p:nvSpPr>
        <p:spPr/>
        <p:txBody>
          <a:bodyPr/>
          <a:lstStyle/>
          <a:p>
            <a:fld id="{48C176B4-2F3E-4542-A88B-B482618D0CAA}" type="slidenum">
              <a:rPr lang="nl-NL" smtClean="0"/>
              <a:t>11</a:t>
            </a:fld>
            <a:endParaRPr lang="nl-NL" dirty="0"/>
          </a:p>
        </p:txBody>
      </p:sp>
    </p:spTree>
    <p:extLst>
      <p:ext uri="{BB962C8B-B14F-4D97-AF65-F5344CB8AC3E}">
        <p14:creationId xmlns:p14="http://schemas.microsoft.com/office/powerpoint/2010/main" val="39938358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3D2A4F-6E4F-4337-9965-68654B500AA3}"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40280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7" Type="http://schemas.openxmlformats.org/officeDocument/2006/relationships/image" Target="../media/image6.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8.png"/></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slide A">
    <p:bg>
      <p:bgPr>
        <a:solidFill>
          <a:srgbClr val="002B5F"/>
        </a:solidFill>
        <a:effectLst/>
      </p:bgPr>
    </p:bg>
    <p:spTree>
      <p:nvGrpSpPr>
        <p:cNvPr id="1" name=""/>
        <p:cNvGrpSpPr/>
        <p:nvPr/>
      </p:nvGrpSpPr>
      <p:grpSpPr>
        <a:xfrm>
          <a:off x="0" y="0"/>
          <a:ext cx="0" cy="0"/>
          <a:chOff x="0" y="0"/>
          <a:chExt cx="0" cy="0"/>
        </a:xfrm>
      </p:grpSpPr>
      <p:sp>
        <p:nvSpPr>
          <p:cNvPr id="57" name="Vrije vorm 56">
            <a:extLst>
              <a:ext uri="{FF2B5EF4-FFF2-40B4-BE49-F238E27FC236}">
                <a16:creationId xmlns:a16="http://schemas.microsoft.com/office/drawing/2014/main" id="{92DB6BE7-1E41-A03C-947D-78C93A42EB17}"/>
              </a:ext>
            </a:extLst>
          </p:cNvPr>
          <p:cNvSpPr/>
          <p:nvPr userDrawn="1"/>
        </p:nvSpPr>
        <p:spPr>
          <a:xfrm>
            <a:off x="9644019" y="3"/>
            <a:ext cx="2547966" cy="2079054"/>
          </a:xfrm>
          <a:custGeom>
            <a:avLst/>
            <a:gdLst>
              <a:gd name="connsiteX0" fmla="*/ 0 w 2381512"/>
              <a:gd name="connsiteY0" fmla="*/ 463927 h 1943233"/>
              <a:gd name="connsiteX1" fmla="*/ 1480677 w 2381512"/>
              <a:gd name="connsiteY1" fmla="*/ 1943234 h 1943233"/>
              <a:gd name="connsiteX2" fmla="*/ 2381513 w 2381512"/>
              <a:gd name="connsiteY2" fmla="*/ 1637913 h 1943233"/>
              <a:gd name="connsiteX3" fmla="*/ 2381513 w 2381512"/>
              <a:gd name="connsiteY3" fmla="*/ 0 h 1943233"/>
              <a:gd name="connsiteX4" fmla="*/ 74380 w 2381512"/>
              <a:gd name="connsiteY4" fmla="*/ 0 h 1943233"/>
              <a:gd name="connsiteX5" fmla="*/ 0 w 2381512"/>
              <a:gd name="connsiteY5" fmla="*/ 463927 h 1943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512" h="1943233">
                <a:moveTo>
                  <a:pt x="0" y="463927"/>
                </a:moveTo>
                <a:cubicBezTo>
                  <a:pt x="0" y="1280937"/>
                  <a:pt x="662929" y="1943234"/>
                  <a:pt x="1480677" y="1943234"/>
                </a:cubicBezTo>
                <a:cubicBezTo>
                  <a:pt x="1819652" y="1943234"/>
                  <a:pt x="2131936" y="1829354"/>
                  <a:pt x="2381513" y="1637913"/>
                </a:cubicBezTo>
                <a:lnTo>
                  <a:pt x="2381513" y="0"/>
                </a:lnTo>
                <a:lnTo>
                  <a:pt x="74380" y="0"/>
                </a:lnTo>
                <a:cubicBezTo>
                  <a:pt x="26183" y="145916"/>
                  <a:pt x="0" y="301856"/>
                  <a:pt x="0" y="463927"/>
                </a:cubicBezTo>
              </a:path>
            </a:pathLst>
          </a:custGeom>
          <a:solidFill>
            <a:srgbClr val="FFFFFF"/>
          </a:solidFill>
          <a:ln w="6350" cap="flat">
            <a:noFill/>
            <a:prstDash val="solid"/>
            <a:miter/>
          </a:ln>
        </p:spPr>
        <p:txBody>
          <a:bodyPr rtlCol="0" anchor="ctr"/>
          <a:lstStyle/>
          <a:p>
            <a:endParaRPr lang="nl-NL"/>
          </a:p>
        </p:txBody>
      </p:sp>
      <p:sp>
        <p:nvSpPr>
          <p:cNvPr id="60" name="Tijdelijke aanduiding voor afbeelding 59">
            <a:extLst>
              <a:ext uri="{FF2B5EF4-FFF2-40B4-BE49-F238E27FC236}">
                <a16:creationId xmlns:a16="http://schemas.microsoft.com/office/drawing/2014/main" id="{407760E4-8837-562D-7170-FD0677AF98A1}"/>
              </a:ext>
            </a:extLst>
          </p:cNvPr>
          <p:cNvSpPr>
            <a:spLocks noGrp="1"/>
          </p:cNvSpPr>
          <p:nvPr>
            <p:ph type="pic" sz="quarter" idx="17" hasCustomPrompt="1"/>
          </p:nvPr>
        </p:nvSpPr>
        <p:spPr>
          <a:xfrm>
            <a:off x="6162675" y="0"/>
            <a:ext cx="6029310" cy="6858000"/>
          </a:xfrm>
          <a:custGeom>
            <a:avLst/>
            <a:gdLst>
              <a:gd name="connsiteX0" fmla="*/ 1020582 w 6029310"/>
              <a:gd name="connsiteY0" fmla="*/ 0 h 6858000"/>
              <a:gd name="connsiteX1" fmla="*/ 6029310 w 6029310"/>
              <a:gd name="connsiteY1" fmla="*/ 0 h 6858000"/>
              <a:gd name="connsiteX2" fmla="*/ 6029310 w 6029310"/>
              <a:gd name="connsiteY2" fmla="*/ 3 h 6858000"/>
              <a:gd name="connsiteX3" fmla="*/ 3722178 w 6029310"/>
              <a:gd name="connsiteY3" fmla="*/ 3 h 6858000"/>
              <a:gd name="connsiteX4" fmla="*/ 3647798 w 6029310"/>
              <a:gd name="connsiteY4" fmla="*/ 463930 h 6858000"/>
              <a:gd name="connsiteX5" fmla="*/ 5128475 w 6029310"/>
              <a:gd name="connsiteY5" fmla="*/ 1943237 h 6858000"/>
              <a:gd name="connsiteX6" fmla="*/ 5932851 w 6029310"/>
              <a:gd name="connsiteY6" fmla="*/ 1706000 h 6858000"/>
              <a:gd name="connsiteX7" fmla="*/ 6029310 w 6029310"/>
              <a:gd name="connsiteY7" fmla="*/ 1637917 h 6858000"/>
              <a:gd name="connsiteX8" fmla="*/ 6029310 w 6029310"/>
              <a:gd name="connsiteY8" fmla="*/ 6858000 h 6858000"/>
              <a:gd name="connsiteX9" fmla="*/ 0 w 6029310"/>
              <a:gd name="connsiteY9" fmla="*/ 6858000 h 6858000"/>
              <a:gd name="connsiteX10" fmla="*/ 0 w 6029310"/>
              <a:gd name="connsiteY10" fmla="*/ 6851442 h 6858000"/>
              <a:gd name="connsiteX11" fmla="*/ 1697230 w 6029310"/>
              <a:gd name="connsiteY11" fmla="*/ 6851624 h 6858000"/>
              <a:gd name="connsiteX12" fmla="*/ 1700981 w 6029310"/>
              <a:gd name="connsiteY12" fmla="*/ 6854828 h 6858000"/>
              <a:gd name="connsiteX13" fmla="*/ 2294579 w 6029310"/>
              <a:gd name="connsiteY13" fmla="*/ 6854828 h 6858000"/>
              <a:gd name="connsiteX14" fmla="*/ 2100332 w 6029310"/>
              <a:gd name="connsiteY14" fmla="*/ 6708849 h 6858000"/>
              <a:gd name="connsiteX15" fmla="*/ 2098935 w 6029310"/>
              <a:gd name="connsiteY15" fmla="*/ 6707771 h 6858000"/>
              <a:gd name="connsiteX16" fmla="*/ 711207 w 6029310"/>
              <a:gd name="connsiteY16" fmla="*/ 5087481 h 6858000"/>
              <a:gd name="connsiteX17" fmla="*/ 327094 w 6029310"/>
              <a:gd name="connsiteY17" fmla="*/ 4069375 h 6858000"/>
              <a:gd name="connsiteX18" fmla="*/ 191904 w 6029310"/>
              <a:gd name="connsiteY18" fmla="*/ 2954204 h 6858000"/>
              <a:gd name="connsiteX19" fmla="*/ 48210 w 6029310"/>
              <a:gd name="connsiteY19" fmla="*/ 2778065 h 6858000"/>
              <a:gd name="connsiteX20" fmla="*/ 19353 w 6029310"/>
              <a:gd name="connsiteY20" fmla="*/ 2775158 h 6858000"/>
              <a:gd name="connsiteX21" fmla="*/ 29323 w 6029310"/>
              <a:gd name="connsiteY21" fmla="*/ 2539088 h 6858000"/>
              <a:gd name="connsiteX22" fmla="*/ 822405 w 6029310"/>
              <a:gd name="connsiteY22" fmla="*/ 2756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29310" h="6858000">
                <a:moveTo>
                  <a:pt x="1020582" y="0"/>
                </a:moveTo>
                <a:lnTo>
                  <a:pt x="6029310" y="0"/>
                </a:lnTo>
                <a:lnTo>
                  <a:pt x="6029310" y="3"/>
                </a:lnTo>
                <a:lnTo>
                  <a:pt x="3722178" y="3"/>
                </a:lnTo>
                <a:cubicBezTo>
                  <a:pt x="3673981" y="145919"/>
                  <a:pt x="3647798" y="301859"/>
                  <a:pt x="3647798" y="463930"/>
                </a:cubicBezTo>
                <a:cubicBezTo>
                  <a:pt x="3647798" y="1280940"/>
                  <a:pt x="4310727" y="1943237"/>
                  <a:pt x="5128475" y="1943237"/>
                </a:cubicBezTo>
                <a:cubicBezTo>
                  <a:pt x="5425078" y="1943237"/>
                  <a:pt x="5701246" y="1856048"/>
                  <a:pt x="5932851" y="1706000"/>
                </a:cubicBezTo>
                <a:lnTo>
                  <a:pt x="6029310" y="1637917"/>
                </a:lnTo>
                <a:lnTo>
                  <a:pt x="6029310" y="6858000"/>
                </a:lnTo>
                <a:lnTo>
                  <a:pt x="0" y="6858000"/>
                </a:lnTo>
                <a:lnTo>
                  <a:pt x="0" y="6851442"/>
                </a:lnTo>
                <a:lnTo>
                  <a:pt x="1697230" y="6851624"/>
                </a:lnTo>
                <a:lnTo>
                  <a:pt x="1700981" y="6854828"/>
                </a:lnTo>
                <a:lnTo>
                  <a:pt x="2294579" y="6854828"/>
                </a:lnTo>
                <a:lnTo>
                  <a:pt x="2100332" y="6708849"/>
                </a:lnTo>
                <a:lnTo>
                  <a:pt x="2098935" y="6707771"/>
                </a:lnTo>
                <a:cubicBezTo>
                  <a:pt x="1519879" y="6281382"/>
                  <a:pt x="1040009" y="5721068"/>
                  <a:pt x="711207" y="5087481"/>
                </a:cubicBezTo>
                <a:cubicBezTo>
                  <a:pt x="543439" y="4764311"/>
                  <a:pt x="414217" y="4421728"/>
                  <a:pt x="327094" y="4069375"/>
                </a:cubicBezTo>
                <a:cubicBezTo>
                  <a:pt x="237370" y="3706555"/>
                  <a:pt x="191904" y="3331363"/>
                  <a:pt x="191904" y="2954204"/>
                </a:cubicBezTo>
                <a:cubicBezTo>
                  <a:pt x="191904" y="2867330"/>
                  <a:pt x="130208" y="2794832"/>
                  <a:pt x="48210" y="2778065"/>
                </a:cubicBezTo>
                <a:lnTo>
                  <a:pt x="19353" y="2775158"/>
                </a:lnTo>
                <a:lnTo>
                  <a:pt x="29323" y="2539088"/>
                </a:lnTo>
                <a:cubicBezTo>
                  <a:pt x="99892" y="1707295"/>
                  <a:pt x="382185" y="935245"/>
                  <a:pt x="822405" y="275646"/>
                </a:cubicBezTo>
                <a:close/>
              </a:path>
            </a:pathLst>
          </a:custGeom>
          <a:solidFill>
            <a:schemeClr val="bg1">
              <a:lumMod val="95000"/>
            </a:schemeClr>
          </a:solidFill>
        </p:spPr>
        <p:txBody>
          <a:bodyPr wrap="square" anchor="ctr">
            <a:noAutofit/>
          </a:bodyPr>
          <a:lstStyle>
            <a:lvl1pPr marL="0" indent="0" algn="ctr">
              <a:buNone/>
              <a:defRPr sz="1400">
                <a:solidFill>
                  <a:schemeClr val="bg1"/>
                </a:solidFill>
              </a:defRPr>
            </a:lvl1pPr>
          </a:lstStyle>
          <a:p>
            <a:r>
              <a:rPr lang="nl-NL"/>
              <a:t>Voeg hier een afbeelding toe</a:t>
            </a:r>
          </a:p>
        </p:txBody>
      </p:sp>
      <p:sp>
        <p:nvSpPr>
          <p:cNvPr id="2" name="Titel 1">
            <a:extLst>
              <a:ext uri="{FF2B5EF4-FFF2-40B4-BE49-F238E27FC236}">
                <a16:creationId xmlns:a16="http://schemas.microsoft.com/office/drawing/2014/main" id="{5C005E0D-BD04-C7A6-B1D0-07D872434D6D}"/>
              </a:ext>
            </a:extLst>
          </p:cNvPr>
          <p:cNvSpPr>
            <a:spLocks noGrp="1"/>
          </p:cNvSpPr>
          <p:nvPr>
            <p:ph type="ctrTitle"/>
          </p:nvPr>
        </p:nvSpPr>
        <p:spPr>
          <a:xfrm>
            <a:off x="770504" y="1580612"/>
            <a:ext cx="4866248" cy="2387600"/>
          </a:xfrm>
        </p:spPr>
        <p:txBody>
          <a:bodyPr anchor="b"/>
          <a:lstStyle>
            <a:lvl1pPr algn="l">
              <a:defRPr sz="4000" b="1">
                <a:solidFill>
                  <a:schemeClr val="bg1"/>
                </a:solidFill>
              </a:defRPr>
            </a:lvl1pPr>
          </a:lstStyle>
          <a:p>
            <a:r>
              <a:rPr lang="nl-NL"/>
              <a:t>Klik om stijl te bewerken</a:t>
            </a:r>
          </a:p>
        </p:txBody>
      </p:sp>
      <p:sp>
        <p:nvSpPr>
          <p:cNvPr id="3" name="Ondertitel 2">
            <a:extLst>
              <a:ext uri="{FF2B5EF4-FFF2-40B4-BE49-F238E27FC236}">
                <a16:creationId xmlns:a16="http://schemas.microsoft.com/office/drawing/2014/main" id="{6046F9C2-5FA7-3EB2-0374-36E481796266}"/>
              </a:ext>
            </a:extLst>
          </p:cNvPr>
          <p:cNvSpPr>
            <a:spLocks noGrp="1"/>
          </p:cNvSpPr>
          <p:nvPr>
            <p:ph type="subTitle" idx="1"/>
          </p:nvPr>
        </p:nvSpPr>
        <p:spPr>
          <a:xfrm>
            <a:off x="770504" y="4049902"/>
            <a:ext cx="4866248" cy="835208"/>
          </a:xfrm>
        </p:spPr>
        <p:txBody>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33" name="Tijdelijke aanduiding voor tekst 31">
            <a:extLst>
              <a:ext uri="{FF2B5EF4-FFF2-40B4-BE49-F238E27FC236}">
                <a16:creationId xmlns:a16="http://schemas.microsoft.com/office/drawing/2014/main" id="{72A06F69-3C41-3936-F035-30EC2D1FBFB3}"/>
              </a:ext>
            </a:extLst>
          </p:cNvPr>
          <p:cNvSpPr>
            <a:spLocks noGrp="1"/>
          </p:cNvSpPr>
          <p:nvPr>
            <p:ph type="body" sz="quarter" idx="14" hasCustomPrompt="1"/>
          </p:nvPr>
        </p:nvSpPr>
        <p:spPr>
          <a:xfrm>
            <a:off x="770503" y="5043893"/>
            <a:ext cx="1010171" cy="296613"/>
          </a:xfrm>
        </p:spPr>
        <p:txBody>
          <a:bodyPr>
            <a:normAutofit/>
          </a:bodyPr>
          <a:lstStyle>
            <a:lvl1pPr marL="0" indent="0">
              <a:buNone/>
              <a:defRPr sz="1200">
                <a:solidFill>
                  <a:schemeClr val="bg1"/>
                </a:solidFill>
              </a:defRPr>
            </a:lvl1pPr>
          </a:lstStyle>
          <a:p>
            <a:pPr lvl="0"/>
            <a:r>
              <a:rPr lang="nl-NL"/>
              <a:t>Datum</a:t>
            </a:r>
          </a:p>
        </p:txBody>
      </p:sp>
      <p:sp>
        <p:nvSpPr>
          <p:cNvPr id="34" name="Tijdelijke aanduiding voor tekst 31">
            <a:extLst>
              <a:ext uri="{FF2B5EF4-FFF2-40B4-BE49-F238E27FC236}">
                <a16:creationId xmlns:a16="http://schemas.microsoft.com/office/drawing/2014/main" id="{72AF5B8E-F628-55CA-366A-912FC7002E41}"/>
              </a:ext>
            </a:extLst>
          </p:cNvPr>
          <p:cNvSpPr>
            <a:spLocks noGrp="1"/>
          </p:cNvSpPr>
          <p:nvPr>
            <p:ph type="body" sz="quarter" idx="15" hasCustomPrompt="1"/>
          </p:nvPr>
        </p:nvSpPr>
        <p:spPr>
          <a:xfrm>
            <a:off x="1978660" y="5043893"/>
            <a:ext cx="1763052" cy="296613"/>
          </a:xfrm>
        </p:spPr>
        <p:txBody>
          <a:bodyPr>
            <a:normAutofit/>
          </a:bodyPr>
          <a:lstStyle>
            <a:lvl1pPr marL="0" indent="0">
              <a:buNone/>
              <a:defRPr sz="1200">
                <a:solidFill>
                  <a:schemeClr val="bg1"/>
                </a:solidFill>
              </a:defRPr>
            </a:lvl1pPr>
          </a:lstStyle>
          <a:p>
            <a:pPr lvl="0"/>
            <a:r>
              <a:rPr lang="nl-NL"/>
              <a:t>Naam en functie</a:t>
            </a:r>
          </a:p>
        </p:txBody>
      </p:sp>
      <p:grpSp>
        <p:nvGrpSpPr>
          <p:cNvPr id="58" name="Groep 57">
            <a:extLst>
              <a:ext uri="{FF2B5EF4-FFF2-40B4-BE49-F238E27FC236}">
                <a16:creationId xmlns:a16="http://schemas.microsoft.com/office/drawing/2014/main" id="{12234ED7-F06D-1A75-1551-19DF0F215EE2}"/>
              </a:ext>
            </a:extLst>
          </p:cNvPr>
          <p:cNvGrpSpPr/>
          <p:nvPr userDrawn="1"/>
        </p:nvGrpSpPr>
        <p:grpSpPr>
          <a:xfrm>
            <a:off x="10271764" y="445207"/>
            <a:ext cx="1612076" cy="666690"/>
            <a:chOff x="10271764" y="445207"/>
            <a:chExt cx="1612076" cy="666690"/>
          </a:xfrm>
        </p:grpSpPr>
        <p:sp>
          <p:nvSpPr>
            <p:cNvPr id="24" name="Vrije vorm 23">
              <a:extLst>
                <a:ext uri="{FF2B5EF4-FFF2-40B4-BE49-F238E27FC236}">
                  <a16:creationId xmlns:a16="http://schemas.microsoft.com/office/drawing/2014/main" id="{943C252F-734E-9DEC-C2CA-84A3D67F1A4B}"/>
                </a:ext>
              </a:extLst>
            </p:cNvPr>
            <p:cNvSpPr/>
            <p:nvPr/>
          </p:nvSpPr>
          <p:spPr>
            <a:xfrm>
              <a:off x="11383070" y="935516"/>
              <a:ext cx="142505" cy="134823"/>
            </a:xfrm>
            <a:custGeom>
              <a:avLst/>
              <a:gdLst>
                <a:gd name="connsiteX0" fmla="*/ 71554 w 142505"/>
                <a:gd name="connsiteY0" fmla="*/ 33365 h 134823"/>
                <a:gd name="connsiteX1" fmla="*/ 71554 w 142505"/>
                <a:gd name="connsiteY1" fmla="*/ 33365 h 134823"/>
                <a:gd name="connsiteX2" fmla="*/ 98459 w 142505"/>
                <a:gd name="connsiteY2" fmla="*/ 43486 h 134823"/>
                <a:gd name="connsiteX3" fmla="*/ 101459 w 142505"/>
                <a:gd name="connsiteY3" fmla="*/ 88154 h 134823"/>
                <a:gd name="connsiteX4" fmla="*/ 98459 w 142505"/>
                <a:gd name="connsiteY4" fmla="*/ 91151 h 134823"/>
                <a:gd name="connsiteX5" fmla="*/ 44418 w 142505"/>
                <a:gd name="connsiteY5" fmla="*/ 91151 h 134823"/>
                <a:gd name="connsiteX6" fmla="*/ 33293 w 142505"/>
                <a:gd name="connsiteY6" fmla="*/ 67368 h 134823"/>
                <a:gd name="connsiteX7" fmla="*/ 71419 w 142505"/>
                <a:gd name="connsiteY7" fmla="*/ 33365 h 134823"/>
                <a:gd name="connsiteX8" fmla="*/ 71554 w 142505"/>
                <a:gd name="connsiteY8" fmla="*/ 33365 h 134823"/>
                <a:gd name="connsiteX9" fmla="*/ 21839 w 142505"/>
                <a:gd name="connsiteY9" fmla="*/ 115481 h 134823"/>
                <a:gd name="connsiteX10" fmla="*/ 71652 w 142505"/>
                <a:gd name="connsiteY10" fmla="*/ 134808 h 134823"/>
                <a:gd name="connsiteX11" fmla="*/ 142506 w 142505"/>
                <a:gd name="connsiteY11" fmla="*/ 67153 h 134823"/>
                <a:gd name="connsiteX12" fmla="*/ 121154 w 142505"/>
                <a:gd name="connsiteY12" fmla="*/ 19488 h 134823"/>
                <a:gd name="connsiteX13" fmla="*/ 21059 w 142505"/>
                <a:gd name="connsiteY13" fmla="*/ 19488 h 134823"/>
                <a:gd name="connsiteX14" fmla="*/ 17027 w 142505"/>
                <a:gd name="connsiteY14" fmla="*/ 111004 h 134823"/>
                <a:gd name="connsiteX15" fmla="*/ 21059 w 142505"/>
                <a:gd name="connsiteY15" fmla="*/ 115033 h 134823"/>
                <a:gd name="connsiteX16" fmla="*/ 21839 w 142505"/>
                <a:gd name="connsiteY16" fmla="*/ 115481 h 134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2505" h="134823">
                  <a:moveTo>
                    <a:pt x="71554" y="33365"/>
                  </a:moveTo>
                  <a:lnTo>
                    <a:pt x="71554" y="33365"/>
                  </a:lnTo>
                  <a:cubicBezTo>
                    <a:pt x="81471" y="33268"/>
                    <a:pt x="91075" y="36869"/>
                    <a:pt x="98459" y="43486"/>
                  </a:cubicBezTo>
                  <a:cubicBezTo>
                    <a:pt x="111648" y="54989"/>
                    <a:pt x="112973" y="74997"/>
                    <a:pt x="101459" y="88154"/>
                  </a:cubicBezTo>
                  <a:cubicBezTo>
                    <a:pt x="100523" y="89225"/>
                    <a:pt x="99530" y="90217"/>
                    <a:pt x="98459" y="91151"/>
                  </a:cubicBezTo>
                  <a:cubicBezTo>
                    <a:pt x="83049" y="104815"/>
                    <a:pt x="59827" y="104815"/>
                    <a:pt x="44418" y="91151"/>
                  </a:cubicBezTo>
                  <a:cubicBezTo>
                    <a:pt x="37501" y="85157"/>
                    <a:pt x="33449" y="76515"/>
                    <a:pt x="33293" y="67368"/>
                  </a:cubicBezTo>
                  <a:cubicBezTo>
                    <a:pt x="34424" y="47456"/>
                    <a:pt x="51490" y="32236"/>
                    <a:pt x="71419" y="33365"/>
                  </a:cubicBezTo>
                  <a:lnTo>
                    <a:pt x="71554" y="33365"/>
                  </a:lnTo>
                  <a:moveTo>
                    <a:pt x="21839" y="115481"/>
                  </a:moveTo>
                  <a:cubicBezTo>
                    <a:pt x="35377" y="128015"/>
                    <a:pt x="53204" y="134925"/>
                    <a:pt x="71652" y="134808"/>
                  </a:cubicBezTo>
                  <a:cubicBezTo>
                    <a:pt x="109914" y="135625"/>
                    <a:pt x="141590" y="105360"/>
                    <a:pt x="142506" y="67153"/>
                  </a:cubicBezTo>
                  <a:cubicBezTo>
                    <a:pt x="142350" y="48975"/>
                    <a:pt x="134616" y="31691"/>
                    <a:pt x="121154" y="19488"/>
                  </a:cubicBezTo>
                  <a:cubicBezTo>
                    <a:pt x="92848" y="-6496"/>
                    <a:pt x="49346" y="-6496"/>
                    <a:pt x="21059" y="19488"/>
                  </a:cubicBezTo>
                  <a:cubicBezTo>
                    <a:pt x="-5358" y="43642"/>
                    <a:pt x="-7169" y="84612"/>
                    <a:pt x="17027" y="111004"/>
                  </a:cubicBezTo>
                  <a:cubicBezTo>
                    <a:pt x="18313" y="112405"/>
                    <a:pt x="19656" y="113749"/>
                    <a:pt x="21059" y="115033"/>
                  </a:cubicBezTo>
                  <a:lnTo>
                    <a:pt x="21839" y="115481"/>
                  </a:lnTo>
                  <a:close/>
                </a:path>
              </a:pathLst>
            </a:custGeom>
            <a:solidFill>
              <a:srgbClr val="0066B0"/>
            </a:solidFill>
            <a:ln w="6350"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34523B8E-A190-2C3B-897D-F93BEA4201CE}"/>
                </a:ext>
              </a:extLst>
            </p:cNvPr>
            <p:cNvSpPr/>
            <p:nvPr/>
          </p:nvSpPr>
          <p:spPr>
            <a:xfrm>
              <a:off x="11184200" y="951994"/>
              <a:ext cx="539539" cy="159903"/>
            </a:xfrm>
            <a:custGeom>
              <a:avLst/>
              <a:gdLst>
                <a:gd name="connsiteX0" fmla="*/ 532105 w 539539"/>
                <a:gd name="connsiteY0" fmla="*/ 3115 h 159903"/>
                <a:gd name="connsiteX1" fmla="*/ 522325 w 539539"/>
                <a:gd name="connsiteY1" fmla="*/ 1 h 159903"/>
                <a:gd name="connsiteX2" fmla="*/ 508863 w 539539"/>
                <a:gd name="connsiteY2" fmla="*/ 6891 h 159903"/>
                <a:gd name="connsiteX3" fmla="*/ 269419 w 539539"/>
                <a:gd name="connsiteY3" fmla="*/ 126551 h 159903"/>
                <a:gd name="connsiteX4" fmla="*/ 267860 w 539539"/>
                <a:gd name="connsiteY4" fmla="*/ 126551 h 159903"/>
                <a:gd name="connsiteX5" fmla="*/ 29973 w 539539"/>
                <a:gd name="connsiteY5" fmla="*/ 10998 h 159903"/>
                <a:gd name="connsiteX6" fmla="*/ 6733 w 539539"/>
                <a:gd name="connsiteY6" fmla="*/ 7553 h 159903"/>
                <a:gd name="connsiteX7" fmla="*/ 3226 w 539539"/>
                <a:gd name="connsiteY7" fmla="*/ 30714 h 159903"/>
                <a:gd name="connsiteX8" fmla="*/ 3284 w 539539"/>
                <a:gd name="connsiteY8" fmla="*/ 30772 h 159903"/>
                <a:gd name="connsiteX9" fmla="*/ 267743 w 539539"/>
                <a:gd name="connsiteY9" fmla="*/ 159892 h 159903"/>
                <a:gd name="connsiteX10" fmla="*/ 269536 w 539539"/>
                <a:gd name="connsiteY10" fmla="*/ 159892 h 159903"/>
                <a:gd name="connsiteX11" fmla="*/ 536449 w 539539"/>
                <a:gd name="connsiteY11" fmla="*/ 26549 h 159903"/>
                <a:gd name="connsiteX12" fmla="*/ 532610 w 539539"/>
                <a:gd name="connsiteY12" fmla="*/ 3465 h 159903"/>
                <a:gd name="connsiteX13" fmla="*/ 532105 w 539539"/>
                <a:gd name="connsiteY13" fmla="*/ 3115 h 1599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9539" h="159903">
                  <a:moveTo>
                    <a:pt x="532105" y="3115"/>
                  </a:moveTo>
                  <a:cubicBezTo>
                    <a:pt x="529259" y="1071"/>
                    <a:pt x="525832" y="-38"/>
                    <a:pt x="522325" y="1"/>
                  </a:cubicBezTo>
                  <a:cubicBezTo>
                    <a:pt x="516987" y="20"/>
                    <a:pt x="511980" y="2590"/>
                    <a:pt x="508863" y="6891"/>
                  </a:cubicBezTo>
                  <a:cubicBezTo>
                    <a:pt x="452718" y="82642"/>
                    <a:pt x="363765" y="127096"/>
                    <a:pt x="269419" y="126551"/>
                  </a:cubicBezTo>
                  <a:lnTo>
                    <a:pt x="267860" y="126551"/>
                  </a:lnTo>
                  <a:cubicBezTo>
                    <a:pt x="174798" y="127505"/>
                    <a:pt x="86703" y="84705"/>
                    <a:pt x="29973" y="10998"/>
                  </a:cubicBezTo>
                  <a:cubicBezTo>
                    <a:pt x="24499" y="3679"/>
                    <a:pt x="14115" y="2142"/>
                    <a:pt x="6733" y="7553"/>
                  </a:cubicBezTo>
                  <a:cubicBezTo>
                    <a:pt x="-631" y="12983"/>
                    <a:pt x="-2190" y="23357"/>
                    <a:pt x="3226" y="30714"/>
                  </a:cubicBezTo>
                  <a:cubicBezTo>
                    <a:pt x="3246" y="30733"/>
                    <a:pt x="3264" y="30753"/>
                    <a:pt x="3284" y="30772"/>
                  </a:cubicBezTo>
                  <a:cubicBezTo>
                    <a:pt x="66248" y="112927"/>
                    <a:pt x="164200" y="160748"/>
                    <a:pt x="267743" y="159892"/>
                  </a:cubicBezTo>
                  <a:lnTo>
                    <a:pt x="269536" y="159892"/>
                  </a:lnTo>
                  <a:cubicBezTo>
                    <a:pt x="374714" y="160612"/>
                    <a:pt x="473894" y="111058"/>
                    <a:pt x="536449" y="26549"/>
                  </a:cubicBezTo>
                  <a:cubicBezTo>
                    <a:pt x="541767" y="19114"/>
                    <a:pt x="540052" y="8779"/>
                    <a:pt x="532610" y="3465"/>
                  </a:cubicBezTo>
                  <a:cubicBezTo>
                    <a:pt x="532435" y="3349"/>
                    <a:pt x="532280" y="3232"/>
                    <a:pt x="532105" y="3115"/>
                  </a:cubicBezTo>
                </a:path>
              </a:pathLst>
            </a:custGeom>
            <a:solidFill>
              <a:srgbClr val="0066B0"/>
            </a:solidFill>
            <a:ln w="6350" cap="flat">
              <a:no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369A6948-6E97-60FF-D960-BC824A0723B9}"/>
                </a:ext>
              </a:extLst>
            </p:cNvPr>
            <p:cNvSpPr/>
            <p:nvPr/>
          </p:nvSpPr>
          <p:spPr>
            <a:xfrm>
              <a:off x="10675426" y="486784"/>
              <a:ext cx="141982" cy="134669"/>
            </a:xfrm>
            <a:custGeom>
              <a:avLst/>
              <a:gdLst>
                <a:gd name="connsiteX0" fmla="*/ 44186 w 141982"/>
                <a:gd name="connsiteY0" fmla="*/ 91771 h 134669"/>
                <a:gd name="connsiteX1" fmla="*/ 33063 w 141982"/>
                <a:gd name="connsiteY1" fmla="*/ 67986 h 134669"/>
                <a:gd name="connsiteX2" fmla="*/ 70759 w 141982"/>
                <a:gd name="connsiteY2" fmla="*/ 33654 h 134669"/>
                <a:gd name="connsiteX3" fmla="*/ 97681 w 141982"/>
                <a:gd name="connsiteY3" fmla="*/ 43774 h 134669"/>
                <a:gd name="connsiteX4" fmla="*/ 108806 w 141982"/>
                <a:gd name="connsiteY4" fmla="*/ 67559 h 134669"/>
                <a:gd name="connsiteX5" fmla="*/ 71110 w 141982"/>
                <a:gd name="connsiteY5" fmla="*/ 101892 h 134669"/>
                <a:gd name="connsiteX6" fmla="*/ 44186 w 141982"/>
                <a:gd name="connsiteY6" fmla="*/ 91771 h 134669"/>
                <a:gd name="connsiteX7" fmla="*/ 120924 w 141982"/>
                <a:gd name="connsiteY7" fmla="*/ 19328 h 134669"/>
                <a:gd name="connsiteX8" fmla="*/ 71110 w 141982"/>
                <a:gd name="connsiteY8" fmla="*/ 1 h 134669"/>
                <a:gd name="connsiteX9" fmla="*/ 21062 w 141982"/>
                <a:gd name="connsiteY9" fmla="*/ 19776 h 134669"/>
                <a:gd name="connsiteX10" fmla="*/ 17010 w 141982"/>
                <a:gd name="connsiteY10" fmla="*/ 111292 h 134669"/>
                <a:gd name="connsiteX11" fmla="*/ 21062 w 141982"/>
                <a:gd name="connsiteY11" fmla="*/ 115321 h 134669"/>
                <a:gd name="connsiteX12" fmla="*/ 70876 w 141982"/>
                <a:gd name="connsiteY12" fmla="*/ 134668 h 134669"/>
                <a:gd name="connsiteX13" fmla="*/ 120924 w 141982"/>
                <a:gd name="connsiteY13" fmla="*/ 114874 h 134669"/>
                <a:gd name="connsiteX14" fmla="*/ 124956 w 141982"/>
                <a:gd name="connsiteY14" fmla="*/ 23357 h 134669"/>
                <a:gd name="connsiteX15" fmla="*/ 120924 w 141982"/>
                <a:gd name="connsiteY15" fmla="*/ 19328 h 1346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1982" h="134669">
                  <a:moveTo>
                    <a:pt x="44186" y="91771"/>
                  </a:moveTo>
                  <a:cubicBezTo>
                    <a:pt x="37271" y="85776"/>
                    <a:pt x="33219" y="77134"/>
                    <a:pt x="33063" y="67986"/>
                  </a:cubicBezTo>
                  <a:cubicBezTo>
                    <a:pt x="34017" y="48134"/>
                    <a:pt x="50888" y="32777"/>
                    <a:pt x="70759" y="33654"/>
                  </a:cubicBezTo>
                  <a:cubicBezTo>
                    <a:pt x="80695" y="33556"/>
                    <a:pt x="90279" y="37157"/>
                    <a:pt x="97681" y="43774"/>
                  </a:cubicBezTo>
                  <a:cubicBezTo>
                    <a:pt x="104598" y="49769"/>
                    <a:pt x="108650" y="58411"/>
                    <a:pt x="108806" y="67559"/>
                  </a:cubicBezTo>
                  <a:cubicBezTo>
                    <a:pt x="107831" y="87411"/>
                    <a:pt x="90980" y="102768"/>
                    <a:pt x="71110" y="101892"/>
                  </a:cubicBezTo>
                  <a:cubicBezTo>
                    <a:pt x="61174" y="102009"/>
                    <a:pt x="51569" y="98408"/>
                    <a:pt x="44186" y="91771"/>
                  </a:cubicBezTo>
                  <a:moveTo>
                    <a:pt x="120924" y="19328"/>
                  </a:moveTo>
                  <a:cubicBezTo>
                    <a:pt x="107384" y="6794"/>
                    <a:pt x="89558" y="-116"/>
                    <a:pt x="71110" y="1"/>
                  </a:cubicBezTo>
                  <a:cubicBezTo>
                    <a:pt x="52505" y="-38"/>
                    <a:pt x="34601" y="7047"/>
                    <a:pt x="21062" y="19776"/>
                  </a:cubicBezTo>
                  <a:cubicBezTo>
                    <a:pt x="-5355" y="43930"/>
                    <a:pt x="-7166" y="84900"/>
                    <a:pt x="17010" y="111292"/>
                  </a:cubicBezTo>
                  <a:cubicBezTo>
                    <a:pt x="18296" y="112694"/>
                    <a:pt x="19659" y="114037"/>
                    <a:pt x="21062" y="115321"/>
                  </a:cubicBezTo>
                  <a:cubicBezTo>
                    <a:pt x="34601" y="127856"/>
                    <a:pt x="52407" y="134765"/>
                    <a:pt x="70876" y="134668"/>
                  </a:cubicBezTo>
                  <a:cubicBezTo>
                    <a:pt x="89481" y="134687"/>
                    <a:pt x="107384" y="127622"/>
                    <a:pt x="120924" y="114874"/>
                  </a:cubicBezTo>
                  <a:cubicBezTo>
                    <a:pt x="147340" y="90720"/>
                    <a:pt x="149152" y="49750"/>
                    <a:pt x="124956" y="23357"/>
                  </a:cubicBezTo>
                  <a:cubicBezTo>
                    <a:pt x="123670" y="21956"/>
                    <a:pt x="122326" y="20613"/>
                    <a:pt x="120924" y="19328"/>
                  </a:cubicBezTo>
                </a:path>
              </a:pathLst>
            </a:custGeom>
            <a:solidFill>
              <a:srgbClr val="DB2114"/>
            </a:solidFill>
            <a:ln w="6350" cap="flat">
              <a:noFill/>
              <a:prstDash val="solid"/>
              <a:miter/>
            </a:ln>
          </p:spPr>
          <p:txBody>
            <a:bodyPr rtlCol="0" anchor="ctr"/>
            <a:lstStyle/>
            <a:p>
              <a:endParaRPr lang="nl-NL"/>
            </a:p>
          </p:txBody>
        </p:sp>
        <p:sp>
          <p:nvSpPr>
            <p:cNvPr id="30" name="Vrije vorm 29">
              <a:extLst>
                <a:ext uri="{FF2B5EF4-FFF2-40B4-BE49-F238E27FC236}">
                  <a16:creationId xmlns:a16="http://schemas.microsoft.com/office/drawing/2014/main" id="{FBA7C1EC-1A6C-4743-B462-BD3FD4AB6C98}"/>
                </a:ext>
              </a:extLst>
            </p:cNvPr>
            <p:cNvSpPr/>
            <p:nvPr/>
          </p:nvSpPr>
          <p:spPr>
            <a:xfrm>
              <a:off x="10477249" y="445207"/>
              <a:ext cx="539083" cy="159907"/>
            </a:xfrm>
            <a:custGeom>
              <a:avLst/>
              <a:gdLst>
                <a:gd name="connsiteX0" fmla="*/ 536635 w 539083"/>
                <a:gd name="connsiteY0" fmla="*/ 129015 h 159907"/>
                <a:gd name="connsiteX1" fmla="*/ 272059 w 539083"/>
                <a:gd name="connsiteY1" fmla="*/ 13 h 159907"/>
                <a:gd name="connsiteX2" fmla="*/ 270286 w 539083"/>
                <a:gd name="connsiteY2" fmla="*/ 13 h 159907"/>
                <a:gd name="connsiteX3" fmla="*/ 3373 w 539083"/>
                <a:gd name="connsiteY3" fmla="*/ 133356 h 159907"/>
                <a:gd name="connsiteX4" fmla="*/ 6549 w 539083"/>
                <a:gd name="connsiteY4" fmla="*/ 156536 h 159907"/>
                <a:gd name="connsiteX5" fmla="*/ 16933 w 539083"/>
                <a:gd name="connsiteY5" fmla="*/ 159904 h 159907"/>
                <a:gd name="connsiteX6" fmla="*/ 30394 w 539083"/>
                <a:gd name="connsiteY6" fmla="*/ 153014 h 159907"/>
                <a:gd name="connsiteX7" fmla="*/ 270501 w 539083"/>
                <a:gd name="connsiteY7" fmla="*/ 33354 h 159907"/>
                <a:gd name="connsiteX8" fmla="*/ 272059 w 539083"/>
                <a:gd name="connsiteY8" fmla="*/ 33354 h 159907"/>
                <a:gd name="connsiteX9" fmla="*/ 509945 w 539083"/>
                <a:gd name="connsiteY9" fmla="*/ 148907 h 159907"/>
                <a:gd name="connsiteX10" fmla="*/ 533499 w 539083"/>
                <a:gd name="connsiteY10" fmla="*/ 150269 h 159907"/>
                <a:gd name="connsiteX11" fmla="*/ 536635 w 539083"/>
                <a:gd name="connsiteY11" fmla="*/ 129132 h 159907"/>
                <a:gd name="connsiteX12" fmla="*/ 536635 w 539083"/>
                <a:gd name="connsiteY12" fmla="*/ 129015 h 159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9083" h="159907">
                  <a:moveTo>
                    <a:pt x="536635" y="129015"/>
                  </a:moveTo>
                  <a:cubicBezTo>
                    <a:pt x="473633" y="46881"/>
                    <a:pt x="375641" y="-902"/>
                    <a:pt x="272059" y="13"/>
                  </a:cubicBezTo>
                  <a:lnTo>
                    <a:pt x="270286" y="13"/>
                  </a:lnTo>
                  <a:cubicBezTo>
                    <a:pt x="165087" y="-687"/>
                    <a:pt x="65908" y="48846"/>
                    <a:pt x="3373" y="133356"/>
                  </a:cubicBezTo>
                  <a:cubicBezTo>
                    <a:pt x="-2159" y="140635"/>
                    <a:pt x="-738" y="151029"/>
                    <a:pt x="6549" y="156536"/>
                  </a:cubicBezTo>
                  <a:cubicBezTo>
                    <a:pt x="9529" y="158814"/>
                    <a:pt x="13192" y="159981"/>
                    <a:pt x="16933" y="159904"/>
                  </a:cubicBezTo>
                  <a:cubicBezTo>
                    <a:pt x="22270" y="159885"/>
                    <a:pt x="27257" y="157335"/>
                    <a:pt x="30394" y="153014"/>
                  </a:cubicBezTo>
                  <a:cubicBezTo>
                    <a:pt x="86676" y="77068"/>
                    <a:pt x="175918" y="32595"/>
                    <a:pt x="270501" y="33354"/>
                  </a:cubicBezTo>
                  <a:lnTo>
                    <a:pt x="272059" y="33354"/>
                  </a:lnTo>
                  <a:cubicBezTo>
                    <a:pt x="365121" y="32380"/>
                    <a:pt x="453215" y="75180"/>
                    <a:pt x="509945" y="148907"/>
                  </a:cubicBezTo>
                  <a:cubicBezTo>
                    <a:pt x="516063" y="155777"/>
                    <a:pt x="526621" y="156381"/>
                    <a:pt x="533499" y="150269"/>
                  </a:cubicBezTo>
                  <a:cubicBezTo>
                    <a:pt x="539518" y="144917"/>
                    <a:pt x="540843" y="136003"/>
                    <a:pt x="536635" y="129132"/>
                  </a:cubicBezTo>
                  <a:lnTo>
                    <a:pt x="536635" y="129015"/>
                  </a:lnTo>
                  <a:close/>
                </a:path>
              </a:pathLst>
            </a:custGeom>
            <a:solidFill>
              <a:srgbClr val="DB2114"/>
            </a:solidFill>
            <a:ln w="6350" cap="flat">
              <a:noFill/>
              <a:prstDash val="solid"/>
              <a:miter/>
            </a:ln>
          </p:spPr>
          <p:txBody>
            <a:bodyPr rtlCol="0" anchor="ctr"/>
            <a:lstStyle/>
            <a:p>
              <a:endParaRPr lang="nl-NL"/>
            </a:p>
          </p:txBody>
        </p:sp>
        <p:sp>
          <p:nvSpPr>
            <p:cNvPr id="31" name="Vrije vorm 30">
              <a:extLst>
                <a:ext uri="{FF2B5EF4-FFF2-40B4-BE49-F238E27FC236}">
                  <a16:creationId xmlns:a16="http://schemas.microsoft.com/office/drawing/2014/main" id="{52F5468F-0352-41C2-CCF1-F1916901A657}"/>
                </a:ext>
              </a:extLst>
            </p:cNvPr>
            <p:cNvSpPr/>
            <p:nvPr/>
          </p:nvSpPr>
          <p:spPr>
            <a:xfrm>
              <a:off x="10482718" y="693547"/>
              <a:ext cx="178294" cy="190579"/>
            </a:xfrm>
            <a:custGeom>
              <a:avLst/>
              <a:gdLst>
                <a:gd name="connsiteX0" fmla="*/ 125899 w 178294"/>
                <a:gd name="connsiteY0" fmla="*/ 95006 h 190579"/>
                <a:gd name="connsiteX1" fmla="*/ 116451 w 178294"/>
                <a:gd name="connsiteY1" fmla="*/ 57675 h 190579"/>
                <a:gd name="connsiteX2" fmla="*/ 89314 w 178294"/>
                <a:gd name="connsiteY2" fmla="*/ 44129 h 190579"/>
                <a:gd name="connsiteX3" fmla="*/ 62060 w 178294"/>
                <a:gd name="connsiteY3" fmla="*/ 57675 h 190579"/>
                <a:gd name="connsiteX4" fmla="*/ 52397 w 178294"/>
                <a:gd name="connsiteY4" fmla="*/ 95006 h 190579"/>
                <a:gd name="connsiteX5" fmla="*/ 62060 w 178294"/>
                <a:gd name="connsiteY5" fmla="*/ 132667 h 190579"/>
                <a:gd name="connsiteX6" fmla="*/ 89314 w 178294"/>
                <a:gd name="connsiteY6" fmla="*/ 146564 h 190579"/>
                <a:gd name="connsiteX7" fmla="*/ 116334 w 178294"/>
                <a:gd name="connsiteY7" fmla="*/ 132667 h 190579"/>
                <a:gd name="connsiteX8" fmla="*/ 125354 w 178294"/>
                <a:gd name="connsiteY8" fmla="*/ 95006 h 190579"/>
                <a:gd name="connsiteX9" fmla="*/ 125899 w 178294"/>
                <a:gd name="connsiteY9" fmla="*/ 95006 h 190579"/>
                <a:gd name="connsiteX10" fmla="*/ 178285 w 178294"/>
                <a:gd name="connsiteY10" fmla="*/ 95006 h 190579"/>
                <a:gd name="connsiteX11" fmla="*/ 172051 w 178294"/>
                <a:gd name="connsiteY11" fmla="*/ 134010 h 190579"/>
                <a:gd name="connsiteX12" fmla="*/ 154148 w 178294"/>
                <a:gd name="connsiteY12" fmla="*/ 164237 h 190579"/>
                <a:gd name="connsiteX13" fmla="*/ 126016 w 178294"/>
                <a:gd name="connsiteY13" fmla="*/ 183681 h 190579"/>
                <a:gd name="connsiteX14" fmla="*/ 89314 w 178294"/>
                <a:gd name="connsiteY14" fmla="*/ 190570 h 190579"/>
                <a:gd name="connsiteX15" fmla="*/ 52942 w 178294"/>
                <a:gd name="connsiteY15" fmla="*/ 183681 h 190579"/>
                <a:gd name="connsiteX16" fmla="*/ 24811 w 178294"/>
                <a:gd name="connsiteY16" fmla="*/ 164237 h 190579"/>
                <a:gd name="connsiteX17" fmla="*/ 6576 w 178294"/>
                <a:gd name="connsiteY17" fmla="*/ 134010 h 190579"/>
                <a:gd name="connsiteX18" fmla="*/ 12 w 178294"/>
                <a:gd name="connsiteY18" fmla="*/ 95006 h 190579"/>
                <a:gd name="connsiteX19" fmla="*/ 6674 w 178294"/>
                <a:gd name="connsiteY19" fmla="*/ 56118 h 190579"/>
                <a:gd name="connsiteX20" fmla="*/ 25260 w 178294"/>
                <a:gd name="connsiteY20" fmla="*/ 26222 h 190579"/>
                <a:gd name="connsiteX21" fmla="*/ 53060 w 178294"/>
                <a:gd name="connsiteY21" fmla="*/ 7227 h 190579"/>
                <a:gd name="connsiteX22" fmla="*/ 89314 w 178294"/>
                <a:gd name="connsiteY22" fmla="*/ 6 h 190579"/>
                <a:gd name="connsiteX23" fmla="*/ 125354 w 178294"/>
                <a:gd name="connsiteY23" fmla="*/ 6896 h 190579"/>
                <a:gd name="connsiteX24" fmla="*/ 153485 w 178294"/>
                <a:gd name="connsiteY24" fmla="*/ 26126 h 190579"/>
                <a:gd name="connsiteX25" fmla="*/ 171720 w 178294"/>
                <a:gd name="connsiteY25" fmla="*/ 56001 h 190579"/>
                <a:gd name="connsiteX26" fmla="*/ 178285 w 178294"/>
                <a:gd name="connsiteY26" fmla="*/ 95006 h 19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78294" h="190579">
                  <a:moveTo>
                    <a:pt x="125899" y="95006"/>
                  </a:moveTo>
                  <a:cubicBezTo>
                    <a:pt x="126640" y="81887"/>
                    <a:pt x="123347" y="68867"/>
                    <a:pt x="116451" y="57675"/>
                  </a:cubicBezTo>
                  <a:cubicBezTo>
                    <a:pt x="110392" y="48741"/>
                    <a:pt x="100107" y="43603"/>
                    <a:pt x="89314" y="44129"/>
                  </a:cubicBezTo>
                  <a:cubicBezTo>
                    <a:pt x="78502" y="43662"/>
                    <a:pt x="68215" y="48780"/>
                    <a:pt x="62060" y="57675"/>
                  </a:cubicBezTo>
                  <a:cubicBezTo>
                    <a:pt x="55046" y="68808"/>
                    <a:pt x="51656" y="81868"/>
                    <a:pt x="52397" y="95006"/>
                  </a:cubicBezTo>
                  <a:cubicBezTo>
                    <a:pt x="51695" y="108260"/>
                    <a:pt x="55085" y="121398"/>
                    <a:pt x="62060" y="132667"/>
                  </a:cubicBezTo>
                  <a:cubicBezTo>
                    <a:pt x="68099" y="141737"/>
                    <a:pt x="78424" y="146992"/>
                    <a:pt x="89314" y="146564"/>
                  </a:cubicBezTo>
                  <a:cubicBezTo>
                    <a:pt x="100145" y="147012"/>
                    <a:pt x="110412" y="141737"/>
                    <a:pt x="116334" y="132667"/>
                  </a:cubicBezTo>
                  <a:cubicBezTo>
                    <a:pt x="123035" y="121301"/>
                    <a:pt x="126192" y="108182"/>
                    <a:pt x="125354" y="95006"/>
                  </a:cubicBezTo>
                  <a:lnTo>
                    <a:pt x="125899" y="95006"/>
                  </a:lnTo>
                  <a:close/>
                  <a:moveTo>
                    <a:pt x="178285" y="95006"/>
                  </a:moveTo>
                  <a:cubicBezTo>
                    <a:pt x="178421" y="108260"/>
                    <a:pt x="176317" y="121456"/>
                    <a:pt x="172051" y="134010"/>
                  </a:cubicBezTo>
                  <a:cubicBezTo>
                    <a:pt x="168271" y="145221"/>
                    <a:pt x="162174" y="155517"/>
                    <a:pt x="154148" y="164237"/>
                  </a:cubicBezTo>
                  <a:cubicBezTo>
                    <a:pt x="146277" y="172645"/>
                    <a:pt x="136672" y="179282"/>
                    <a:pt x="126016" y="183681"/>
                  </a:cubicBezTo>
                  <a:cubicBezTo>
                    <a:pt x="114367" y="188410"/>
                    <a:pt x="101878" y="190746"/>
                    <a:pt x="89314" y="190570"/>
                  </a:cubicBezTo>
                  <a:cubicBezTo>
                    <a:pt x="76846" y="190726"/>
                    <a:pt x="64495" y="188371"/>
                    <a:pt x="52942" y="183681"/>
                  </a:cubicBezTo>
                  <a:cubicBezTo>
                    <a:pt x="42286" y="179282"/>
                    <a:pt x="32682" y="172645"/>
                    <a:pt x="24811" y="164237"/>
                  </a:cubicBezTo>
                  <a:cubicBezTo>
                    <a:pt x="16766" y="155478"/>
                    <a:pt x="10571" y="145202"/>
                    <a:pt x="6576" y="134010"/>
                  </a:cubicBezTo>
                  <a:cubicBezTo>
                    <a:pt x="2077" y="121495"/>
                    <a:pt x="-144" y="108299"/>
                    <a:pt x="12" y="95006"/>
                  </a:cubicBezTo>
                  <a:cubicBezTo>
                    <a:pt x="-183" y="81751"/>
                    <a:pt x="2077" y="68555"/>
                    <a:pt x="6674" y="56118"/>
                  </a:cubicBezTo>
                  <a:cubicBezTo>
                    <a:pt x="10804" y="45005"/>
                    <a:pt x="17116" y="34845"/>
                    <a:pt x="25260" y="26222"/>
                  </a:cubicBezTo>
                  <a:cubicBezTo>
                    <a:pt x="33130" y="18087"/>
                    <a:pt x="42597" y="11625"/>
                    <a:pt x="53060" y="7227"/>
                  </a:cubicBezTo>
                  <a:cubicBezTo>
                    <a:pt x="64533" y="2380"/>
                    <a:pt x="76865" y="-72"/>
                    <a:pt x="89314" y="6"/>
                  </a:cubicBezTo>
                  <a:cubicBezTo>
                    <a:pt x="101664" y="-130"/>
                    <a:pt x="113919" y="2205"/>
                    <a:pt x="125354" y="6896"/>
                  </a:cubicBezTo>
                  <a:cubicBezTo>
                    <a:pt x="135971" y="11275"/>
                    <a:pt x="145555" y="17815"/>
                    <a:pt x="153485" y="26126"/>
                  </a:cubicBezTo>
                  <a:cubicBezTo>
                    <a:pt x="161511" y="34748"/>
                    <a:pt x="167725" y="44927"/>
                    <a:pt x="171720" y="56001"/>
                  </a:cubicBezTo>
                  <a:cubicBezTo>
                    <a:pt x="176239" y="68516"/>
                    <a:pt x="178460" y="81712"/>
                    <a:pt x="178285" y="95006"/>
                  </a:cubicBezTo>
                </a:path>
              </a:pathLst>
            </a:custGeom>
            <a:solidFill>
              <a:srgbClr val="0066B0"/>
            </a:solidFill>
            <a:ln w="6350" cap="flat">
              <a:noFill/>
              <a:prstDash val="solid"/>
              <a:miter/>
            </a:ln>
          </p:spPr>
          <p:txBody>
            <a:bodyPr rtlCol="0" anchor="ctr"/>
            <a:lstStyle/>
            <a:p>
              <a:endParaRPr lang="nl-NL"/>
            </a:p>
          </p:txBody>
        </p:sp>
        <p:sp>
          <p:nvSpPr>
            <p:cNvPr id="32" name="Vrije vorm 31">
              <a:extLst>
                <a:ext uri="{FF2B5EF4-FFF2-40B4-BE49-F238E27FC236}">
                  <a16:creationId xmlns:a16="http://schemas.microsoft.com/office/drawing/2014/main" id="{33E88581-1348-03F9-6331-B776555E3C3E}"/>
                </a:ext>
              </a:extLst>
            </p:cNvPr>
            <p:cNvSpPr/>
            <p:nvPr/>
          </p:nvSpPr>
          <p:spPr>
            <a:xfrm>
              <a:off x="10700144" y="694546"/>
              <a:ext cx="117900" cy="184791"/>
            </a:xfrm>
            <a:custGeom>
              <a:avLst/>
              <a:gdLst>
                <a:gd name="connsiteX0" fmla="*/ 109330 w 117900"/>
                <a:gd name="connsiteY0" fmla="*/ 49229 h 184791"/>
                <a:gd name="connsiteX1" fmla="*/ 93102 w 117900"/>
                <a:gd name="connsiteY1" fmla="*/ 45667 h 184791"/>
                <a:gd name="connsiteX2" fmla="*/ 73075 w 117900"/>
                <a:gd name="connsiteY2" fmla="*/ 43779 h 184791"/>
                <a:gd name="connsiteX3" fmla="*/ 61951 w 117900"/>
                <a:gd name="connsiteY3" fmla="*/ 44675 h 184791"/>
                <a:gd name="connsiteX4" fmla="*/ 51723 w 117900"/>
                <a:gd name="connsiteY4" fmla="*/ 46563 h 184791"/>
                <a:gd name="connsiteX5" fmla="*/ 51723 w 117900"/>
                <a:gd name="connsiteY5" fmla="*/ 184791 h 184791"/>
                <a:gd name="connsiteX6" fmla="*/ 0 w 117900"/>
                <a:gd name="connsiteY6" fmla="*/ 184791 h 184791"/>
                <a:gd name="connsiteX7" fmla="*/ 0 w 117900"/>
                <a:gd name="connsiteY7" fmla="*/ 13456 h 184791"/>
                <a:gd name="connsiteX8" fmla="*/ 32593 w 117900"/>
                <a:gd name="connsiteY8" fmla="*/ 4347 h 184791"/>
                <a:gd name="connsiteX9" fmla="*/ 74516 w 117900"/>
                <a:gd name="connsiteY9" fmla="*/ 7 h 184791"/>
                <a:gd name="connsiteX10" fmla="*/ 84530 w 117900"/>
                <a:gd name="connsiteY10" fmla="*/ 7 h 184791"/>
                <a:gd name="connsiteX11" fmla="*/ 96200 w 117900"/>
                <a:gd name="connsiteY11" fmla="*/ 1350 h 184791"/>
                <a:gd name="connsiteX12" fmla="*/ 107888 w 117900"/>
                <a:gd name="connsiteY12" fmla="*/ 3452 h 184791"/>
                <a:gd name="connsiteX13" fmla="*/ 117901 w 117900"/>
                <a:gd name="connsiteY13" fmla="*/ 6352 h 184791"/>
                <a:gd name="connsiteX14" fmla="*/ 109330 w 117900"/>
                <a:gd name="connsiteY14" fmla="*/ 49229 h 1847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7900" h="184791">
                  <a:moveTo>
                    <a:pt x="109330" y="49229"/>
                  </a:moveTo>
                  <a:cubicBezTo>
                    <a:pt x="104732" y="48120"/>
                    <a:pt x="99316" y="46932"/>
                    <a:pt x="93102" y="45667"/>
                  </a:cubicBezTo>
                  <a:cubicBezTo>
                    <a:pt x="86496" y="44383"/>
                    <a:pt x="79795" y="43740"/>
                    <a:pt x="73075" y="43779"/>
                  </a:cubicBezTo>
                  <a:cubicBezTo>
                    <a:pt x="69354" y="43857"/>
                    <a:pt x="65632" y="44169"/>
                    <a:pt x="61951" y="44675"/>
                  </a:cubicBezTo>
                  <a:cubicBezTo>
                    <a:pt x="58503" y="45044"/>
                    <a:pt x="55074" y="45687"/>
                    <a:pt x="51723" y="46563"/>
                  </a:cubicBezTo>
                  <a:lnTo>
                    <a:pt x="51723" y="184791"/>
                  </a:lnTo>
                  <a:lnTo>
                    <a:pt x="0" y="184791"/>
                  </a:lnTo>
                  <a:lnTo>
                    <a:pt x="0" y="13456"/>
                  </a:lnTo>
                  <a:cubicBezTo>
                    <a:pt x="10695" y="9836"/>
                    <a:pt x="21567" y="6780"/>
                    <a:pt x="32593" y="4347"/>
                  </a:cubicBezTo>
                  <a:cubicBezTo>
                    <a:pt x="46365" y="1330"/>
                    <a:pt x="60432" y="-110"/>
                    <a:pt x="74516" y="7"/>
                  </a:cubicBezTo>
                  <a:lnTo>
                    <a:pt x="84530" y="7"/>
                  </a:lnTo>
                  <a:cubicBezTo>
                    <a:pt x="88464" y="7"/>
                    <a:pt x="92361" y="454"/>
                    <a:pt x="96200" y="1350"/>
                  </a:cubicBezTo>
                  <a:cubicBezTo>
                    <a:pt x="100134" y="1933"/>
                    <a:pt x="104030" y="2634"/>
                    <a:pt x="107888" y="3452"/>
                  </a:cubicBezTo>
                  <a:cubicBezTo>
                    <a:pt x="111296" y="4094"/>
                    <a:pt x="114647" y="5067"/>
                    <a:pt x="117901" y="6352"/>
                  </a:cubicBezTo>
                  <a:lnTo>
                    <a:pt x="109330" y="49229"/>
                  </a:lnTo>
                  <a:close/>
                </a:path>
              </a:pathLst>
            </a:custGeom>
            <a:solidFill>
              <a:srgbClr val="0066B0"/>
            </a:solidFill>
            <a:ln w="6350" cap="flat">
              <a:noFill/>
              <a:prstDash val="solid"/>
              <a:miter/>
            </a:ln>
          </p:spPr>
          <p:txBody>
            <a:bodyPr rtlCol="0" anchor="ctr"/>
            <a:lstStyle/>
            <a:p>
              <a:endParaRPr lang="nl-NL"/>
            </a:p>
          </p:txBody>
        </p:sp>
        <p:sp>
          <p:nvSpPr>
            <p:cNvPr id="35" name="Vrije vorm 34">
              <a:extLst>
                <a:ext uri="{FF2B5EF4-FFF2-40B4-BE49-F238E27FC236}">
                  <a16:creationId xmlns:a16="http://schemas.microsoft.com/office/drawing/2014/main" id="{47287641-B45D-0FD9-CA81-A648B17CEAA9}"/>
                </a:ext>
              </a:extLst>
            </p:cNvPr>
            <p:cNvSpPr/>
            <p:nvPr/>
          </p:nvSpPr>
          <p:spPr>
            <a:xfrm>
              <a:off x="10833434" y="694422"/>
              <a:ext cx="165433" cy="249239"/>
            </a:xfrm>
            <a:custGeom>
              <a:avLst/>
              <a:gdLst>
                <a:gd name="connsiteX0" fmla="*/ 52656 w 165433"/>
                <a:gd name="connsiteY0" fmla="*/ 88570 h 249239"/>
                <a:gd name="connsiteX1" fmla="*/ 87470 w 165433"/>
                <a:gd name="connsiteY1" fmla="*/ 131584 h 249239"/>
                <a:gd name="connsiteX2" fmla="*/ 102256 w 165433"/>
                <a:gd name="connsiteY2" fmla="*/ 129462 h 249239"/>
                <a:gd name="connsiteX3" fmla="*/ 113945 w 165433"/>
                <a:gd name="connsiteY3" fmla="*/ 124694 h 249239"/>
                <a:gd name="connsiteX4" fmla="*/ 113945 w 165433"/>
                <a:gd name="connsiteY4" fmla="*/ 42909 h 249239"/>
                <a:gd name="connsiteX5" fmla="*/ 104924 w 165433"/>
                <a:gd name="connsiteY5" fmla="*/ 41683 h 249239"/>
                <a:gd name="connsiteX6" fmla="*/ 92807 w 165433"/>
                <a:gd name="connsiteY6" fmla="*/ 41683 h 249239"/>
                <a:gd name="connsiteX7" fmla="*/ 62456 w 165433"/>
                <a:gd name="connsiteY7" fmla="*/ 55132 h 249239"/>
                <a:gd name="connsiteX8" fmla="*/ 52656 w 165433"/>
                <a:gd name="connsiteY8" fmla="*/ 88570 h 249239"/>
                <a:gd name="connsiteX9" fmla="*/ 165434 w 165433"/>
                <a:gd name="connsiteY9" fmla="*/ 161908 h 249239"/>
                <a:gd name="connsiteX10" fmla="*/ 143186 w 165433"/>
                <a:gd name="connsiteY10" fmla="*/ 227791 h 249239"/>
                <a:gd name="connsiteX11" fmla="*/ 73345 w 165433"/>
                <a:gd name="connsiteY11" fmla="*/ 249240 h 249239"/>
                <a:gd name="connsiteX12" fmla="*/ 39993 w 165433"/>
                <a:gd name="connsiteY12" fmla="*/ 246359 h 249239"/>
                <a:gd name="connsiteX13" fmla="*/ 9291 w 165433"/>
                <a:gd name="connsiteY13" fmla="*/ 238574 h 249239"/>
                <a:gd name="connsiteX14" fmla="*/ 18291 w 165433"/>
                <a:gd name="connsiteY14" fmla="*/ 195579 h 249239"/>
                <a:gd name="connsiteX15" fmla="*/ 43655 w 165433"/>
                <a:gd name="connsiteY15" fmla="*/ 203131 h 249239"/>
                <a:gd name="connsiteX16" fmla="*/ 73793 w 165433"/>
                <a:gd name="connsiteY16" fmla="*/ 205914 h 249239"/>
                <a:gd name="connsiteX17" fmla="*/ 105041 w 165433"/>
                <a:gd name="connsiteY17" fmla="*/ 196241 h 249239"/>
                <a:gd name="connsiteX18" fmla="*/ 114159 w 165433"/>
                <a:gd name="connsiteY18" fmla="*/ 171464 h 249239"/>
                <a:gd name="connsiteX19" fmla="*/ 114159 w 165433"/>
                <a:gd name="connsiteY19" fmla="*/ 164905 h 249239"/>
                <a:gd name="connsiteX20" fmla="*/ 97034 w 165433"/>
                <a:gd name="connsiteY20" fmla="*/ 170569 h 249239"/>
                <a:gd name="connsiteX21" fmla="*/ 77806 w 165433"/>
                <a:gd name="connsiteY21" fmla="*/ 173021 h 249239"/>
                <a:gd name="connsiteX22" fmla="*/ 20180 w 165433"/>
                <a:gd name="connsiteY22" fmla="*/ 150794 h 249239"/>
                <a:gd name="connsiteX23" fmla="*/ 173 w 165433"/>
                <a:gd name="connsiteY23" fmla="*/ 88687 h 249239"/>
                <a:gd name="connsiteX24" fmla="*/ 6407 w 165433"/>
                <a:gd name="connsiteY24" fmla="*/ 52349 h 249239"/>
                <a:gd name="connsiteX25" fmla="*/ 24525 w 165433"/>
                <a:gd name="connsiteY25" fmla="*/ 24361 h 249239"/>
                <a:gd name="connsiteX26" fmla="*/ 53669 w 165433"/>
                <a:gd name="connsiteY26" fmla="*/ 6358 h 249239"/>
                <a:gd name="connsiteX27" fmla="*/ 92593 w 165433"/>
                <a:gd name="connsiteY27" fmla="*/ 12 h 249239"/>
                <a:gd name="connsiteX28" fmla="*/ 111723 w 165433"/>
                <a:gd name="connsiteY28" fmla="*/ 908 h 249239"/>
                <a:gd name="connsiteX29" fmla="*/ 131184 w 165433"/>
                <a:gd name="connsiteY29" fmla="*/ 3126 h 249239"/>
                <a:gd name="connsiteX30" fmla="*/ 149633 w 165433"/>
                <a:gd name="connsiteY30" fmla="*/ 6358 h 249239"/>
                <a:gd name="connsiteX31" fmla="*/ 165316 w 165433"/>
                <a:gd name="connsiteY31" fmla="*/ 10347 h 249239"/>
                <a:gd name="connsiteX32" fmla="*/ 165434 w 165433"/>
                <a:gd name="connsiteY32" fmla="*/ 161908 h 2492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65433" h="249239">
                  <a:moveTo>
                    <a:pt x="52656" y="88570"/>
                  </a:moveTo>
                  <a:cubicBezTo>
                    <a:pt x="52656" y="117239"/>
                    <a:pt x="64266" y="131584"/>
                    <a:pt x="87470" y="131584"/>
                  </a:cubicBezTo>
                  <a:cubicBezTo>
                    <a:pt x="92476" y="131584"/>
                    <a:pt x="97464" y="130883"/>
                    <a:pt x="102256" y="129462"/>
                  </a:cubicBezTo>
                  <a:cubicBezTo>
                    <a:pt x="106327" y="128314"/>
                    <a:pt x="110243" y="126718"/>
                    <a:pt x="113945" y="124694"/>
                  </a:cubicBezTo>
                  <a:lnTo>
                    <a:pt x="113945" y="42909"/>
                  </a:lnTo>
                  <a:cubicBezTo>
                    <a:pt x="111412" y="42461"/>
                    <a:pt x="108412" y="42053"/>
                    <a:pt x="104924" y="41683"/>
                  </a:cubicBezTo>
                  <a:cubicBezTo>
                    <a:pt x="101456" y="41313"/>
                    <a:pt x="97405" y="41313"/>
                    <a:pt x="92807" y="41683"/>
                  </a:cubicBezTo>
                  <a:cubicBezTo>
                    <a:pt x="81079" y="40846"/>
                    <a:pt x="69703" y="45887"/>
                    <a:pt x="62456" y="55132"/>
                  </a:cubicBezTo>
                  <a:cubicBezTo>
                    <a:pt x="55675" y="64942"/>
                    <a:pt x="52246" y="76659"/>
                    <a:pt x="52656" y="88570"/>
                  </a:cubicBezTo>
                  <a:moveTo>
                    <a:pt x="165434" y="161908"/>
                  </a:moveTo>
                  <a:cubicBezTo>
                    <a:pt x="165434" y="191531"/>
                    <a:pt x="158010" y="213505"/>
                    <a:pt x="143186" y="227791"/>
                  </a:cubicBezTo>
                  <a:cubicBezTo>
                    <a:pt x="128361" y="242096"/>
                    <a:pt x="105080" y="249240"/>
                    <a:pt x="73345" y="249240"/>
                  </a:cubicBezTo>
                  <a:cubicBezTo>
                    <a:pt x="62163" y="249259"/>
                    <a:pt x="51001" y="248286"/>
                    <a:pt x="39993" y="246359"/>
                  </a:cubicBezTo>
                  <a:cubicBezTo>
                    <a:pt x="29570" y="244549"/>
                    <a:pt x="19304" y="241941"/>
                    <a:pt x="9291" y="238574"/>
                  </a:cubicBezTo>
                  <a:lnTo>
                    <a:pt x="18291" y="195579"/>
                  </a:lnTo>
                  <a:cubicBezTo>
                    <a:pt x="26511" y="198830"/>
                    <a:pt x="35006" y="201360"/>
                    <a:pt x="43655" y="203131"/>
                  </a:cubicBezTo>
                  <a:cubicBezTo>
                    <a:pt x="53572" y="205077"/>
                    <a:pt x="63683" y="206012"/>
                    <a:pt x="73793" y="205914"/>
                  </a:cubicBezTo>
                  <a:cubicBezTo>
                    <a:pt x="85092" y="207063"/>
                    <a:pt x="96371" y="203579"/>
                    <a:pt x="105041" y="196241"/>
                  </a:cubicBezTo>
                  <a:cubicBezTo>
                    <a:pt x="111256" y="189507"/>
                    <a:pt x="114528" y="180612"/>
                    <a:pt x="114159" y="171464"/>
                  </a:cubicBezTo>
                  <a:lnTo>
                    <a:pt x="114159" y="164905"/>
                  </a:lnTo>
                  <a:cubicBezTo>
                    <a:pt x="108685" y="167416"/>
                    <a:pt x="102938" y="169323"/>
                    <a:pt x="97034" y="170569"/>
                  </a:cubicBezTo>
                  <a:cubicBezTo>
                    <a:pt x="90722" y="172067"/>
                    <a:pt x="84275" y="172885"/>
                    <a:pt x="77806" y="173021"/>
                  </a:cubicBezTo>
                  <a:cubicBezTo>
                    <a:pt x="56261" y="174423"/>
                    <a:pt x="35200" y="166287"/>
                    <a:pt x="20180" y="150794"/>
                  </a:cubicBezTo>
                  <a:cubicBezTo>
                    <a:pt x="5920" y="133355"/>
                    <a:pt x="-1230" y="111167"/>
                    <a:pt x="173" y="88687"/>
                  </a:cubicBezTo>
                  <a:cubicBezTo>
                    <a:pt x="18" y="76289"/>
                    <a:pt x="2121" y="63988"/>
                    <a:pt x="6407" y="52349"/>
                  </a:cubicBezTo>
                  <a:cubicBezTo>
                    <a:pt x="10342" y="41819"/>
                    <a:pt x="16538" y="32263"/>
                    <a:pt x="24525" y="24361"/>
                  </a:cubicBezTo>
                  <a:cubicBezTo>
                    <a:pt x="32844" y="16342"/>
                    <a:pt x="42779" y="10211"/>
                    <a:pt x="53669" y="6358"/>
                  </a:cubicBezTo>
                  <a:cubicBezTo>
                    <a:pt x="66157" y="1959"/>
                    <a:pt x="79345" y="-182"/>
                    <a:pt x="92593" y="12"/>
                  </a:cubicBezTo>
                  <a:cubicBezTo>
                    <a:pt x="98807" y="12"/>
                    <a:pt x="105196" y="324"/>
                    <a:pt x="111723" y="908"/>
                  </a:cubicBezTo>
                  <a:cubicBezTo>
                    <a:pt x="118248" y="1511"/>
                    <a:pt x="124736" y="2251"/>
                    <a:pt x="131184" y="3126"/>
                  </a:cubicBezTo>
                  <a:cubicBezTo>
                    <a:pt x="137634" y="4021"/>
                    <a:pt x="143790" y="5092"/>
                    <a:pt x="149633" y="6358"/>
                  </a:cubicBezTo>
                  <a:cubicBezTo>
                    <a:pt x="155498" y="7623"/>
                    <a:pt x="160719" y="8946"/>
                    <a:pt x="165316" y="10347"/>
                  </a:cubicBezTo>
                  <a:lnTo>
                    <a:pt x="165434" y="161908"/>
                  </a:lnTo>
                  <a:close/>
                </a:path>
              </a:pathLst>
            </a:custGeom>
            <a:solidFill>
              <a:srgbClr val="0066B0"/>
            </a:solidFill>
            <a:ln w="6350" cap="flat">
              <a:noFill/>
              <a:prstDash val="solid"/>
              <a:miter/>
            </a:ln>
          </p:spPr>
          <p:txBody>
            <a:bodyPr rtlCol="0" anchor="ctr"/>
            <a:lstStyle/>
            <a:p>
              <a:endParaRPr lang="nl-NL"/>
            </a:p>
          </p:txBody>
        </p:sp>
        <p:sp>
          <p:nvSpPr>
            <p:cNvPr id="36" name="Vrije vorm 35">
              <a:extLst>
                <a:ext uri="{FF2B5EF4-FFF2-40B4-BE49-F238E27FC236}">
                  <a16:creationId xmlns:a16="http://schemas.microsoft.com/office/drawing/2014/main" id="{E69F41BF-C696-CE6C-186B-D84850DA64A7}"/>
                </a:ext>
              </a:extLst>
            </p:cNvPr>
            <p:cNvSpPr/>
            <p:nvPr/>
          </p:nvSpPr>
          <p:spPr>
            <a:xfrm>
              <a:off x="11036244" y="635409"/>
              <a:ext cx="174226" cy="248700"/>
            </a:xfrm>
            <a:custGeom>
              <a:avLst/>
              <a:gdLst>
                <a:gd name="connsiteX0" fmla="*/ 79622 w 174226"/>
                <a:gd name="connsiteY0" fmla="*/ 203033 h 248700"/>
                <a:gd name="connsiteX1" fmla="*/ 98420 w 174226"/>
                <a:gd name="connsiteY1" fmla="*/ 201145 h 248700"/>
                <a:gd name="connsiteX2" fmla="*/ 110324 w 174226"/>
                <a:gd name="connsiteY2" fmla="*/ 196026 h 248700"/>
                <a:gd name="connsiteX3" fmla="*/ 116537 w 174226"/>
                <a:gd name="connsiteY3" fmla="*/ 188261 h 248700"/>
                <a:gd name="connsiteX4" fmla="*/ 118331 w 174226"/>
                <a:gd name="connsiteY4" fmla="*/ 178256 h 248700"/>
                <a:gd name="connsiteX5" fmla="*/ 107206 w 174226"/>
                <a:gd name="connsiteY5" fmla="*/ 158813 h 248700"/>
                <a:gd name="connsiteX6" fmla="*/ 69607 w 174226"/>
                <a:gd name="connsiteY6" fmla="*/ 142152 h 248700"/>
                <a:gd name="connsiteX7" fmla="*/ 46152 w 174226"/>
                <a:gd name="connsiteY7" fmla="*/ 132693 h 248700"/>
                <a:gd name="connsiteX8" fmla="*/ 25131 w 174226"/>
                <a:gd name="connsiteY8" fmla="*/ 119263 h 248700"/>
                <a:gd name="connsiteX9" fmla="*/ 9994 w 174226"/>
                <a:gd name="connsiteY9" fmla="*/ 99703 h 248700"/>
                <a:gd name="connsiteX10" fmla="*/ 4111 w 174226"/>
                <a:gd name="connsiteY10" fmla="*/ 71695 h 248700"/>
                <a:gd name="connsiteX11" fmla="*/ 10326 w 174226"/>
                <a:gd name="connsiteY11" fmla="*/ 41916 h 248700"/>
                <a:gd name="connsiteX12" fmla="*/ 27898 w 174226"/>
                <a:gd name="connsiteY12" fmla="*/ 19709 h 248700"/>
                <a:gd name="connsiteX13" fmla="*/ 55483 w 174226"/>
                <a:gd name="connsiteY13" fmla="*/ 5481 h 248700"/>
                <a:gd name="connsiteX14" fmla="*/ 91855 w 174226"/>
                <a:gd name="connsiteY14" fmla="*/ 31 h 248700"/>
                <a:gd name="connsiteX15" fmla="*/ 162592 w 174226"/>
                <a:gd name="connsiteY15" fmla="*/ 16594 h 248700"/>
                <a:gd name="connsiteX16" fmla="*/ 147026 w 174226"/>
                <a:gd name="connsiteY16" fmla="*/ 58927 h 248700"/>
                <a:gd name="connsiteX17" fmla="*/ 124778 w 174226"/>
                <a:gd name="connsiteY17" fmla="*/ 49818 h 248700"/>
                <a:gd name="connsiteX18" fmla="*/ 95304 w 174226"/>
                <a:gd name="connsiteY18" fmla="*/ 45809 h 248700"/>
                <a:gd name="connsiteX19" fmla="*/ 67504 w 174226"/>
                <a:gd name="connsiteY19" fmla="*/ 51142 h 248700"/>
                <a:gd name="connsiteX20" fmla="*/ 58483 w 174226"/>
                <a:gd name="connsiteY20" fmla="*/ 67471 h 248700"/>
                <a:gd name="connsiteX21" fmla="*/ 61600 w 174226"/>
                <a:gd name="connsiteY21" fmla="*/ 78585 h 248700"/>
                <a:gd name="connsiteX22" fmla="*/ 70386 w 174226"/>
                <a:gd name="connsiteY22" fmla="*/ 86701 h 248700"/>
                <a:gd name="connsiteX23" fmla="*/ 83517 w 174226"/>
                <a:gd name="connsiteY23" fmla="*/ 93260 h 248700"/>
                <a:gd name="connsiteX24" fmla="*/ 99861 w 174226"/>
                <a:gd name="connsiteY24" fmla="*/ 99255 h 248700"/>
                <a:gd name="connsiteX25" fmla="*/ 132338 w 174226"/>
                <a:gd name="connsiteY25" fmla="*/ 112821 h 248700"/>
                <a:gd name="connsiteX26" fmla="*/ 155247 w 174226"/>
                <a:gd name="connsiteY26" fmla="*/ 128469 h 248700"/>
                <a:gd name="connsiteX27" fmla="*/ 169702 w 174226"/>
                <a:gd name="connsiteY27" fmla="*/ 149373 h 248700"/>
                <a:gd name="connsiteX28" fmla="*/ 174144 w 174226"/>
                <a:gd name="connsiteY28" fmla="*/ 178587 h 248700"/>
                <a:gd name="connsiteX29" fmla="*/ 150688 w 174226"/>
                <a:gd name="connsiteY29" fmla="*/ 230359 h 248700"/>
                <a:gd name="connsiteX30" fmla="*/ 79622 w 174226"/>
                <a:gd name="connsiteY30" fmla="*/ 248694 h 248700"/>
                <a:gd name="connsiteX31" fmla="*/ 51041 w 174226"/>
                <a:gd name="connsiteY31" fmla="*/ 246806 h 248700"/>
                <a:gd name="connsiteX32" fmla="*/ 28794 w 174226"/>
                <a:gd name="connsiteY32" fmla="*/ 242135 h 248700"/>
                <a:gd name="connsiteX33" fmla="*/ 11884 w 174226"/>
                <a:gd name="connsiteY33" fmla="*/ 236257 h 248700"/>
                <a:gd name="connsiteX34" fmla="*/ 0 w 174226"/>
                <a:gd name="connsiteY34" fmla="*/ 230359 h 248700"/>
                <a:gd name="connsiteX35" fmla="*/ 14787 w 174226"/>
                <a:gd name="connsiteY35" fmla="*/ 187579 h 248700"/>
                <a:gd name="connsiteX36" fmla="*/ 41145 w 174226"/>
                <a:gd name="connsiteY36" fmla="*/ 198031 h 248700"/>
                <a:gd name="connsiteX37" fmla="*/ 79621 w 174226"/>
                <a:gd name="connsiteY37" fmla="*/ 203033 h 248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74226" h="248700">
                  <a:moveTo>
                    <a:pt x="79622" y="203033"/>
                  </a:moveTo>
                  <a:cubicBezTo>
                    <a:pt x="85933" y="203169"/>
                    <a:pt x="92244" y="202527"/>
                    <a:pt x="98420" y="201145"/>
                  </a:cubicBezTo>
                  <a:cubicBezTo>
                    <a:pt x="102667" y="200211"/>
                    <a:pt x="106699" y="198479"/>
                    <a:pt x="110324" y="196026"/>
                  </a:cubicBezTo>
                  <a:cubicBezTo>
                    <a:pt x="113109" y="194099"/>
                    <a:pt x="115271" y="191394"/>
                    <a:pt x="116537" y="188261"/>
                  </a:cubicBezTo>
                  <a:cubicBezTo>
                    <a:pt x="117746" y="185069"/>
                    <a:pt x="118349" y="181662"/>
                    <a:pt x="118331" y="178256"/>
                  </a:cubicBezTo>
                  <a:cubicBezTo>
                    <a:pt x="118233" y="170296"/>
                    <a:pt x="114025" y="162939"/>
                    <a:pt x="107206" y="158813"/>
                  </a:cubicBezTo>
                  <a:cubicBezTo>
                    <a:pt x="95459" y="151650"/>
                    <a:pt x="82815" y="146045"/>
                    <a:pt x="69607" y="142152"/>
                  </a:cubicBezTo>
                  <a:cubicBezTo>
                    <a:pt x="61834" y="139408"/>
                    <a:pt x="54003" y="136254"/>
                    <a:pt x="46152" y="132693"/>
                  </a:cubicBezTo>
                  <a:cubicBezTo>
                    <a:pt x="38515" y="129267"/>
                    <a:pt x="31443" y="124732"/>
                    <a:pt x="25131" y="119263"/>
                  </a:cubicBezTo>
                  <a:cubicBezTo>
                    <a:pt x="18859" y="113774"/>
                    <a:pt x="13715" y="107138"/>
                    <a:pt x="9994" y="99703"/>
                  </a:cubicBezTo>
                  <a:cubicBezTo>
                    <a:pt x="5845" y="90963"/>
                    <a:pt x="3839" y="81368"/>
                    <a:pt x="4111" y="71695"/>
                  </a:cubicBezTo>
                  <a:cubicBezTo>
                    <a:pt x="3955" y="61438"/>
                    <a:pt x="6079" y="51259"/>
                    <a:pt x="10326" y="41916"/>
                  </a:cubicBezTo>
                  <a:cubicBezTo>
                    <a:pt x="14436" y="33294"/>
                    <a:pt x="20455" y="25703"/>
                    <a:pt x="27898" y="19709"/>
                  </a:cubicBezTo>
                  <a:cubicBezTo>
                    <a:pt x="36099" y="13208"/>
                    <a:pt x="45451" y="8381"/>
                    <a:pt x="55483" y="5481"/>
                  </a:cubicBezTo>
                  <a:cubicBezTo>
                    <a:pt x="67270" y="1860"/>
                    <a:pt x="79524" y="31"/>
                    <a:pt x="91855" y="31"/>
                  </a:cubicBezTo>
                  <a:cubicBezTo>
                    <a:pt x="116440" y="-475"/>
                    <a:pt x="140773" y="5228"/>
                    <a:pt x="162592" y="16594"/>
                  </a:cubicBezTo>
                  <a:lnTo>
                    <a:pt x="147026" y="58927"/>
                  </a:lnTo>
                  <a:cubicBezTo>
                    <a:pt x="139857" y="55288"/>
                    <a:pt x="132414" y="52232"/>
                    <a:pt x="124778" y="49818"/>
                  </a:cubicBezTo>
                  <a:cubicBezTo>
                    <a:pt x="115213" y="46957"/>
                    <a:pt x="105277" y="45614"/>
                    <a:pt x="95304" y="45809"/>
                  </a:cubicBezTo>
                  <a:cubicBezTo>
                    <a:pt x="85719" y="45088"/>
                    <a:pt x="76133" y="46938"/>
                    <a:pt x="67504" y="51142"/>
                  </a:cubicBezTo>
                  <a:cubicBezTo>
                    <a:pt x="61678" y="54489"/>
                    <a:pt x="58210" y="60776"/>
                    <a:pt x="58483" y="67471"/>
                  </a:cubicBezTo>
                  <a:cubicBezTo>
                    <a:pt x="58347" y="71422"/>
                    <a:pt x="59438" y="75296"/>
                    <a:pt x="61600" y="78585"/>
                  </a:cubicBezTo>
                  <a:cubicBezTo>
                    <a:pt x="63958" y="81855"/>
                    <a:pt x="66958" y="84619"/>
                    <a:pt x="70386" y="86701"/>
                  </a:cubicBezTo>
                  <a:cubicBezTo>
                    <a:pt x="74556" y="89290"/>
                    <a:pt x="78939" y="91489"/>
                    <a:pt x="83517" y="93260"/>
                  </a:cubicBezTo>
                  <a:cubicBezTo>
                    <a:pt x="88485" y="95187"/>
                    <a:pt x="93939" y="97172"/>
                    <a:pt x="99861" y="99255"/>
                  </a:cubicBezTo>
                  <a:cubicBezTo>
                    <a:pt x="112252" y="103848"/>
                    <a:pt x="123064" y="108364"/>
                    <a:pt x="132338" y="112821"/>
                  </a:cubicBezTo>
                  <a:cubicBezTo>
                    <a:pt x="140773" y="116772"/>
                    <a:pt x="148506" y="122066"/>
                    <a:pt x="155247" y="128469"/>
                  </a:cubicBezTo>
                  <a:cubicBezTo>
                    <a:pt x="161579" y="134269"/>
                    <a:pt x="166527" y="141393"/>
                    <a:pt x="169702" y="149373"/>
                  </a:cubicBezTo>
                  <a:cubicBezTo>
                    <a:pt x="172897" y="158774"/>
                    <a:pt x="174397" y="168661"/>
                    <a:pt x="174144" y="178587"/>
                  </a:cubicBezTo>
                  <a:cubicBezTo>
                    <a:pt x="175176" y="198615"/>
                    <a:pt x="166429" y="217923"/>
                    <a:pt x="150688" y="230359"/>
                  </a:cubicBezTo>
                  <a:cubicBezTo>
                    <a:pt x="134810" y="242582"/>
                    <a:pt x="111121" y="248694"/>
                    <a:pt x="79622" y="248694"/>
                  </a:cubicBezTo>
                  <a:cubicBezTo>
                    <a:pt x="70055" y="248772"/>
                    <a:pt x="60509" y="248129"/>
                    <a:pt x="51041" y="246806"/>
                  </a:cubicBezTo>
                  <a:cubicBezTo>
                    <a:pt x="43541" y="245716"/>
                    <a:pt x="36099" y="244159"/>
                    <a:pt x="28794" y="242135"/>
                  </a:cubicBezTo>
                  <a:cubicBezTo>
                    <a:pt x="23027" y="240578"/>
                    <a:pt x="17378" y="238612"/>
                    <a:pt x="11884" y="236257"/>
                  </a:cubicBezTo>
                  <a:cubicBezTo>
                    <a:pt x="7831" y="234505"/>
                    <a:pt x="3858" y="232539"/>
                    <a:pt x="0" y="230359"/>
                  </a:cubicBezTo>
                  <a:lnTo>
                    <a:pt x="14787" y="187579"/>
                  </a:lnTo>
                  <a:cubicBezTo>
                    <a:pt x="23183" y="191978"/>
                    <a:pt x="32008" y="195481"/>
                    <a:pt x="41145" y="198031"/>
                  </a:cubicBezTo>
                  <a:cubicBezTo>
                    <a:pt x="53671" y="201515"/>
                    <a:pt x="66626" y="203189"/>
                    <a:pt x="79621" y="203033"/>
                  </a:cubicBezTo>
                </a:path>
              </a:pathLst>
            </a:custGeom>
            <a:solidFill>
              <a:srgbClr val="DB2114"/>
            </a:solidFill>
            <a:ln w="6350" cap="flat">
              <a:noFill/>
              <a:prstDash val="solid"/>
              <a:miter/>
            </a:ln>
          </p:spPr>
          <p:txBody>
            <a:bodyPr rtlCol="0" anchor="ctr"/>
            <a:lstStyle/>
            <a:p>
              <a:endParaRPr lang="nl-NL"/>
            </a:p>
          </p:txBody>
        </p:sp>
        <p:sp>
          <p:nvSpPr>
            <p:cNvPr id="37" name="Vrije vorm 36">
              <a:extLst>
                <a:ext uri="{FF2B5EF4-FFF2-40B4-BE49-F238E27FC236}">
                  <a16:creationId xmlns:a16="http://schemas.microsoft.com/office/drawing/2014/main" id="{2E9EF548-A7FF-5966-1C37-4D89093E9692}"/>
                </a:ext>
              </a:extLst>
            </p:cNvPr>
            <p:cNvSpPr/>
            <p:nvPr/>
          </p:nvSpPr>
          <p:spPr>
            <a:xfrm>
              <a:off x="11240064" y="693512"/>
              <a:ext cx="156063" cy="189405"/>
            </a:xfrm>
            <a:custGeom>
              <a:avLst/>
              <a:gdLst>
                <a:gd name="connsiteX0" fmla="*/ 81209 w 156063"/>
                <a:gd name="connsiteY0" fmla="*/ 150048 h 189405"/>
                <a:gd name="connsiteX1" fmla="*/ 95663 w 156063"/>
                <a:gd name="connsiteY1" fmla="*/ 150048 h 189405"/>
                <a:gd name="connsiteX2" fmla="*/ 106788 w 156063"/>
                <a:gd name="connsiteY2" fmla="*/ 149036 h 189405"/>
                <a:gd name="connsiteX3" fmla="*/ 106788 w 156063"/>
                <a:gd name="connsiteY3" fmla="*/ 110148 h 189405"/>
                <a:gd name="connsiteX4" fmla="*/ 97456 w 156063"/>
                <a:gd name="connsiteY4" fmla="*/ 108825 h 189405"/>
                <a:gd name="connsiteX5" fmla="*/ 86332 w 156063"/>
                <a:gd name="connsiteY5" fmla="*/ 108163 h 189405"/>
                <a:gd name="connsiteX6" fmla="*/ 72656 w 156063"/>
                <a:gd name="connsiteY6" fmla="*/ 109039 h 189405"/>
                <a:gd name="connsiteX7" fmla="*/ 61532 w 156063"/>
                <a:gd name="connsiteY7" fmla="*/ 112270 h 189405"/>
                <a:gd name="connsiteX8" fmla="*/ 53974 w 156063"/>
                <a:gd name="connsiteY8" fmla="*/ 118829 h 189405"/>
                <a:gd name="connsiteX9" fmla="*/ 51188 w 156063"/>
                <a:gd name="connsiteY9" fmla="*/ 129144 h 189405"/>
                <a:gd name="connsiteX10" fmla="*/ 59311 w 156063"/>
                <a:gd name="connsiteY10" fmla="*/ 145824 h 189405"/>
                <a:gd name="connsiteX11" fmla="*/ 81326 w 156063"/>
                <a:gd name="connsiteY11" fmla="*/ 150048 h 189405"/>
                <a:gd name="connsiteX12" fmla="*/ 81209 w 156063"/>
                <a:gd name="connsiteY12" fmla="*/ 150048 h 189405"/>
                <a:gd name="connsiteX13" fmla="*/ 77098 w 156063"/>
                <a:gd name="connsiteY13" fmla="*/ 44 h 189405"/>
                <a:gd name="connsiteX14" fmla="*/ 115027 w 156063"/>
                <a:gd name="connsiteY14" fmla="*/ 5163 h 189405"/>
                <a:gd name="connsiteX15" fmla="*/ 139379 w 156063"/>
                <a:gd name="connsiteY15" fmla="*/ 19936 h 189405"/>
                <a:gd name="connsiteX16" fmla="*/ 152276 w 156063"/>
                <a:gd name="connsiteY16" fmla="*/ 43272 h 189405"/>
                <a:gd name="connsiteX17" fmla="*/ 156056 w 156063"/>
                <a:gd name="connsiteY17" fmla="*/ 73829 h 189405"/>
                <a:gd name="connsiteX18" fmla="*/ 156056 w 156063"/>
                <a:gd name="connsiteY18" fmla="*/ 180488 h 189405"/>
                <a:gd name="connsiteX19" fmla="*/ 125373 w 156063"/>
                <a:gd name="connsiteY19" fmla="*/ 186152 h 189405"/>
                <a:gd name="connsiteX20" fmla="*/ 77761 w 156063"/>
                <a:gd name="connsiteY20" fmla="*/ 189383 h 189405"/>
                <a:gd name="connsiteX21" fmla="*/ 45850 w 156063"/>
                <a:gd name="connsiteY21" fmla="*/ 186269 h 189405"/>
                <a:gd name="connsiteX22" fmla="*/ 21498 w 156063"/>
                <a:gd name="connsiteY22" fmla="*/ 176382 h 189405"/>
                <a:gd name="connsiteX23" fmla="*/ 5582 w 156063"/>
                <a:gd name="connsiteY23" fmla="*/ 157931 h 189405"/>
                <a:gd name="connsiteX24" fmla="*/ 29 w 156063"/>
                <a:gd name="connsiteY24" fmla="*/ 130040 h 189405"/>
                <a:gd name="connsiteX25" fmla="*/ 6361 w 156063"/>
                <a:gd name="connsiteY25" fmla="*/ 103258 h 189405"/>
                <a:gd name="connsiteX26" fmla="*/ 23486 w 156063"/>
                <a:gd name="connsiteY26" fmla="*/ 85702 h 189405"/>
                <a:gd name="connsiteX27" fmla="*/ 47954 w 156063"/>
                <a:gd name="connsiteY27" fmla="*/ 76262 h 189405"/>
                <a:gd name="connsiteX28" fmla="*/ 76532 w 156063"/>
                <a:gd name="connsiteY28" fmla="*/ 73382 h 189405"/>
                <a:gd name="connsiteX29" fmla="*/ 94338 w 156063"/>
                <a:gd name="connsiteY29" fmla="*/ 74258 h 189405"/>
                <a:gd name="connsiteX30" fmla="*/ 106904 w 156063"/>
                <a:gd name="connsiteY30" fmla="*/ 76496 h 189405"/>
                <a:gd name="connsiteX31" fmla="*/ 106904 w 156063"/>
                <a:gd name="connsiteY31" fmla="*/ 71708 h 189405"/>
                <a:gd name="connsiteX32" fmla="*/ 99345 w 156063"/>
                <a:gd name="connsiteY32" fmla="*/ 50590 h 189405"/>
                <a:gd name="connsiteX33" fmla="*/ 71760 w 156063"/>
                <a:gd name="connsiteY33" fmla="*/ 42708 h 189405"/>
                <a:gd name="connsiteX34" fmla="*/ 45850 w 156063"/>
                <a:gd name="connsiteY34" fmla="*/ 44596 h 189405"/>
                <a:gd name="connsiteX35" fmla="*/ 23602 w 156063"/>
                <a:gd name="connsiteY35" fmla="*/ 49929 h 189405"/>
                <a:gd name="connsiteX36" fmla="*/ 17037 w 156063"/>
                <a:gd name="connsiteY36" fmla="*/ 8705 h 189405"/>
                <a:gd name="connsiteX37" fmla="*/ 28161 w 156063"/>
                <a:gd name="connsiteY37" fmla="*/ 5825 h 189405"/>
                <a:gd name="connsiteX38" fmla="*/ 42849 w 156063"/>
                <a:gd name="connsiteY38" fmla="*/ 3042 h 189405"/>
                <a:gd name="connsiteX39" fmla="*/ 59525 w 156063"/>
                <a:gd name="connsiteY39" fmla="*/ 940 h 189405"/>
                <a:gd name="connsiteX40" fmla="*/ 77098 w 156063"/>
                <a:gd name="connsiteY40" fmla="*/ 44 h 18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56063" h="189405">
                  <a:moveTo>
                    <a:pt x="81209" y="150048"/>
                  </a:moveTo>
                  <a:lnTo>
                    <a:pt x="95663" y="150048"/>
                  </a:lnTo>
                  <a:cubicBezTo>
                    <a:pt x="99384" y="149912"/>
                    <a:pt x="103105" y="149581"/>
                    <a:pt x="106788" y="149036"/>
                  </a:cubicBezTo>
                  <a:lnTo>
                    <a:pt x="106788" y="110148"/>
                  </a:lnTo>
                  <a:cubicBezTo>
                    <a:pt x="104722" y="109700"/>
                    <a:pt x="101606" y="109272"/>
                    <a:pt x="97456" y="108825"/>
                  </a:cubicBezTo>
                  <a:cubicBezTo>
                    <a:pt x="93754" y="108396"/>
                    <a:pt x="90053" y="108182"/>
                    <a:pt x="86332" y="108163"/>
                  </a:cubicBezTo>
                  <a:cubicBezTo>
                    <a:pt x="81754" y="108143"/>
                    <a:pt x="77176" y="108435"/>
                    <a:pt x="72656" y="109039"/>
                  </a:cubicBezTo>
                  <a:cubicBezTo>
                    <a:pt x="68798" y="109506"/>
                    <a:pt x="65039" y="110596"/>
                    <a:pt x="61532" y="112270"/>
                  </a:cubicBezTo>
                  <a:cubicBezTo>
                    <a:pt x="58473" y="113749"/>
                    <a:pt x="55863" y="116007"/>
                    <a:pt x="53974" y="118829"/>
                  </a:cubicBezTo>
                  <a:cubicBezTo>
                    <a:pt x="52025" y="121904"/>
                    <a:pt x="51052" y="125505"/>
                    <a:pt x="51188" y="129144"/>
                  </a:cubicBezTo>
                  <a:cubicBezTo>
                    <a:pt x="50505" y="135801"/>
                    <a:pt x="53642" y="142263"/>
                    <a:pt x="59311" y="145824"/>
                  </a:cubicBezTo>
                  <a:cubicBezTo>
                    <a:pt x="66168" y="149075"/>
                    <a:pt x="73746" y="150534"/>
                    <a:pt x="81326" y="150048"/>
                  </a:cubicBezTo>
                  <a:lnTo>
                    <a:pt x="81209" y="150048"/>
                  </a:lnTo>
                  <a:close/>
                  <a:moveTo>
                    <a:pt x="77098" y="44"/>
                  </a:moveTo>
                  <a:cubicBezTo>
                    <a:pt x="89937" y="-306"/>
                    <a:pt x="102735" y="1426"/>
                    <a:pt x="115027" y="5163"/>
                  </a:cubicBezTo>
                  <a:cubicBezTo>
                    <a:pt x="124222" y="8024"/>
                    <a:pt x="132581" y="13104"/>
                    <a:pt x="139379" y="19936"/>
                  </a:cubicBezTo>
                  <a:cubicBezTo>
                    <a:pt x="145555" y="26514"/>
                    <a:pt x="149977" y="34533"/>
                    <a:pt x="152276" y="43272"/>
                  </a:cubicBezTo>
                  <a:cubicBezTo>
                    <a:pt x="154906" y="53237"/>
                    <a:pt x="156172" y="63514"/>
                    <a:pt x="156056" y="73829"/>
                  </a:cubicBezTo>
                  <a:lnTo>
                    <a:pt x="156056" y="180488"/>
                  </a:lnTo>
                  <a:cubicBezTo>
                    <a:pt x="148653" y="182123"/>
                    <a:pt x="138405" y="184011"/>
                    <a:pt x="125373" y="186152"/>
                  </a:cubicBezTo>
                  <a:cubicBezTo>
                    <a:pt x="109612" y="188507"/>
                    <a:pt x="93696" y="189578"/>
                    <a:pt x="77761" y="189383"/>
                  </a:cubicBezTo>
                  <a:cubicBezTo>
                    <a:pt x="67045" y="189480"/>
                    <a:pt x="56350" y="188429"/>
                    <a:pt x="45850" y="186269"/>
                  </a:cubicBezTo>
                  <a:cubicBezTo>
                    <a:pt x="37181" y="184556"/>
                    <a:pt x="28900" y="181189"/>
                    <a:pt x="21498" y="176382"/>
                  </a:cubicBezTo>
                  <a:cubicBezTo>
                    <a:pt x="14641" y="171749"/>
                    <a:pt x="9147" y="165385"/>
                    <a:pt x="5582" y="157931"/>
                  </a:cubicBezTo>
                  <a:cubicBezTo>
                    <a:pt x="1646" y="149172"/>
                    <a:pt x="-262" y="139635"/>
                    <a:pt x="29" y="130040"/>
                  </a:cubicBezTo>
                  <a:cubicBezTo>
                    <a:pt x="-283" y="120717"/>
                    <a:pt x="1920" y="111472"/>
                    <a:pt x="6361" y="103258"/>
                  </a:cubicBezTo>
                  <a:cubicBezTo>
                    <a:pt x="10492" y="96057"/>
                    <a:pt x="16394" y="90023"/>
                    <a:pt x="23486" y="85702"/>
                  </a:cubicBezTo>
                  <a:cubicBezTo>
                    <a:pt x="31064" y="81206"/>
                    <a:pt x="39324" y="78014"/>
                    <a:pt x="47954" y="76262"/>
                  </a:cubicBezTo>
                  <a:cubicBezTo>
                    <a:pt x="57364" y="74316"/>
                    <a:pt x="66947" y="73343"/>
                    <a:pt x="76532" y="73382"/>
                  </a:cubicBezTo>
                  <a:cubicBezTo>
                    <a:pt x="82474" y="73343"/>
                    <a:pt x="88417" y="73655"/>
                    <a:pt x="94338" y="74258"/>
                  </a:cubicBezTo>
                  <a:cubicBezTo>
                    <a:pt x="98586" y="74667"/>
                    <a:pt x="102775" y="75406"/>
                    <a:pt x="106904" y="76496"/>
                  </a:cubicBezTo>
                  <a:lnTo>
                    <a:pt x="106904" y="71708"/>
                  </a:lnTo>
                  <a:cubicBezTo>
                    <a:pt x="107391" y="63923"/>
                    <a:pt x="104664" y="56293"/>
                    <a:pt x="99345" y="50590"/>
                  </a:cubicBezTo>
                  <a:cubicBezTo>
                    <a:pt x="91514" y="44518"/>
                    <a:pt x="81618" y="41696"/>
                    <a:pt x="71760" y="42708"/>
                  </a:cubicBezTo>
                  <a:cubicBezTo>
                    <a:pt x="63090" y="42708"/>
                    <a:pt x="54422" y="43331"/>
                    <a:pt x="45850" y="44596"/>
                  </a:cubicBezTo>
                  <a:cubicBezTo>
                    <a:pt x="38271" y="45608"/>
                    <a:pt x="30810" y="47399"/>
                    <a:pt x="23602" y="49929"/>
                  </a:cubicBezTo>
                  <a:lnTo>
                    <a:pt x="17037" y="8705"/>
                  </a:lnTo>
                  <a:cubicBezTo>
                    <a:pt x="20017" y="7830"/>
                    <a:pt x="23718" y="6856"/>
                    <a:pt x="28161" y="5825"/>
                  </a:cubicBezTo>
                  <a:cubicBezTo>
                    <a:pt x="32622" y="4794"/>
                    <a:pt x="37511" y="3859"/>
                    <a:pt x="42849" y="3042"/>
                  </a:cubicBezTo>
                  <a:cubicBezTo>
                    <a:pt x="48109" y="2225"/>
                    <a:pt x="53662" y="1524"/>
                    <a:pt x="59525" y="940"/>
                  </a:cubicBezTo>
                  <a:cubicBezTo>
                    <a:pt x="65389" y="336"/>
                    <a:pt x="71234" y="44"/>
                    <a:pt x="77098" y="44"/>
                  </a:cubicBezTo>
                </a:path>
              </a:pathLst>
            </a:custGeom>
            <a:solidFill>
              <a:srgbClr val="DB2114"/>
            </a:solidFill>
            <a:ln w="6350" cap="flat">
              <a:noFill/>
              <a:prstDash val="solid"/>
              <a:miter/>
            </a:ln>
          </p:spPr>
          <p:txBody>
            <a:bodyPr rtlCol="0" anchor="ctr"/>
            <a:lstStyle/>
            <a:p>
              <a:endParaRPr lang="nl-NL"/>
            </a:p>
          </p:txBody>
        </p:sp>
        <p:sp>
          <p:nvSpPr>
            <p:cNvPr id="38" name="Vrije vorm 37">
              <a:extLst>
                <a:ext uri="{FF2B5EF4-FFF2-40B4-BE49-F238E27FC236}">
                  <a16:creationId xmlns:a16="http://schemas.microsoft.com/office/drawing/2014/main" id="{21ABC98B-333A-12BD-E0F3-348E887AF371}"/>
                </a:ext>
              </a:extLst>
            </p:cNvPr>
            <p:cNvSpPr/>
            <p:nvPr/>
          </p:nvSpPr>
          <p:spPr>
            <a:xfrm>
              <a:off x="11430575" y="693512"/>
              <a:ext cx="156393" cy="189405"/>
            </a:xfrm>
            <a:custGeom>
              <a:avLst/>
              <a:gdLst>
                <a:gd name="connsiteX0" fmla="*/ 81540 w 156393"/>
                <a:gd name="connsiteY0" fmla="*/ 150048 h 189405"/>
                <a:gd name="connsiteX1" fmla="*/ 95994 w 156393"/>
                <a:gd name="connsiteY1" fmla="*/ 150048 h 189405"/>
                <a:gd name="connsiteX2" fmla="*/ 107119 w 156393"/>
                <a:gd name="connsiteY2" fmla="*/ 149036 h 189405"/>
                <a:gd name="connsiteX3" fmla="*/ 107119 w 156393"/>
                <a:gd name="connsiteY3" fmla="*/ 110148 h 189405"/>
                <a:gd name="connsiteX4" fmla="*/ 97787 w 156393"/>
                <a:gd name="connsiteY4" fmla="*/ 108825 h 189405"/>
                <a:gd name="connsiteX5" fmla="*/ 86663 w 156393"/>
                <a:gd name="connsiteY5" fmla="*/ 108163 h 189405"/>
                <a:gd name="connsiteX6" fmla="*/ 72987 w 156393"/>
                <a:gd name="connsiteY6" fmla="*/ 109039 h 189405"/>
                <a:gd name="connsiteX7" fmla="*/ 61863 w 156393"/>
                <a:gd name="connsiteY7" fmla="*/ 112270 h 189405"/>
                <a:gd name="connsiteX8" fmla="*/ 54305 w 156393"/>
                <a:gd name="connsiteY8" fmla="*/ 118829 h 189405"/>
                <a:gd name="connsiteX9" fmla="*/ 51519 w 156393"/>
                <a:gd name="connsiteY9" fmla="*/ 129144 h 189405"/>
                <a:gd name="connsiteX10" fmla="*/ 59643 w 156393"/>
                <a:gd name="connsiteY10" fmla="*/ 145824 h 189405"/>
                <a:gd name="connsiteX11" fmla="*/ 81540 w 156393"/>
                <a:gd name="connsiteY11" fmla="*/ 150048 h 189405"/>
                <a:gd name="connsiteX12" fmla="*/ 77429 w 156393"/>
                <a:gd name="connsiteY12" fmla="*/ 44 h 189405"/>
                <a:gd name="connsiteX13" fmla="*/ 115359 w 156393"/>
                <a:gd name="connsiteY13" fmla="*/ 5163 h 189405"/>
                <a:gd name="connsiteX14" fmla="*/ 139710 w 156393"/>
                <a:gd name="connsiteY14" fmla="*/ 19936 h 189405"/>
                <a:gd name="connsiteX15" fmla="*/ 152607 w 156393"/>
                <a:gd name="connsiteY15" fmla="*/ 43272 h 189405"/>
                <a:gd name="connsiteX16" fmla="*/ 156386 w 156393"/>
                <a:gd name="connsiteY16" fmla="*/ 73829 h 189405"/>
                <a:gd name="connsiteX17" fmla="*/ 156386 w 156393"/>
                <a:gd name="connsiteY17" fmla="*/ 180488 h 189405"/>
                <a:gd name="connsiteX18" fmla="*/ 125684 w 156393"/>
                <a:gd name="connsiteY18" fmla="*/ 186152 h 189405"/>
                <a:gd name="connsiteX19" fmla="*/ 78092 w 156393"/>
                <a:gd name="connsiteY19" fmla="*/ 189383 h 189405"/>
                <a:gd name="connsiteX20" fmla="*/ 46181 w 156393"/>
                <a:gd name="connsiteY20" fmla="*/ 186269 h 189405"/>
                <a:gd name="connsiteX21" fmla="*/ 21479 w 156393"/>
                <a:gd name="connsiteY21" fmla="*/ 176148 h 189405"/>
                <a:gd name="connsiteX22" fmla="*/ 5582 w 156393"/>
                <a:gd name="connsiteY22" fmla="*/ 157716 h 189405"/>
                <a:gd name="connsiteX23" fmla="*/ 29 w 156393"/>
                <a:gd name="connsiteY23" fmla="*/ 129826 h 189405"/>
                <a:gd name="connsiteX24" fmla="*/ 6361 w 156393"/>
                <a:gd name="connsiteY24" fmla="*/ 103044 h 189405"/>
                <a:gd name="connsiteX25" fmla="*/ 23484 w 156393"/>
                <a:gd name="connsiteY25" fmla="*/ 85488 h 189405"/>
                <a:gd name="connsiteX26" fmla="*/ 47954 w 156393"/>
                <a:gd name="connsiteY26" fmla="*/ 76049 h 189405"/>
                <a:gd name="connsiteX27" fmla="*/ 76532 w 156393"/>
                <a:gd name="connsiteY27" fmla="*/ 73149 h 189405"/>
                <a:gd name="connsiteX28" fmla="*/ 94339 w 156393"/>
                <a:gd name="connsiteY28" fmla="*/ 74044 h 189405"/>
                <a:gd name="connsiteX29" fmla="*/ 106903 w 156393"/>
                <a:gd name="connsiteY29" fmla="*/ 76262 h 189405"/>
                <a:gd name="connsiteX30" fmla="*/ 106903 w 156393"/>
                <a:gd name="connsiteY30" fmla="*/ 71494 h 189405"/>
                <a:gd name="connsiteX31" fmla="*/ 98995 w 156393"/>
                <a:gd name="connsiteY31" fmla="*/ 50493 h 189405"/>
                <a:gd name="connsiteX32" fmla="*/ 71428 w 156393"/>
                <a:gd name="connsiteY32" fmla="*/ 42591 h 189405"/>
                <a:gd name="connsiteX33" fmla="*/ 45519 w 156393"/>
                <a:gd name="connsiteY33" fmla="*/ 44479 h 189405"/>
                <a:gd name="connsiteX34" fmla="*/ 23270 w 156393"/>
                <a:gd name="connsiteY34" fmla="*/ 49812 h 189405"/>
                <a:gd name="connsiteX35" fmla="*/ 16706 w 156393"/>
                <a:gd name="connsiteY35" fmla="*/ 8589 h 189405"/>
                <a:gd name="connsiteX36" fmla="*/ 27829 w 156393"/>
                <a:gd name="connsiteY36" fmla="*/ 5708 h 189405"/>
                <a:gd name="connsiteX37" fmla="*/ 42499 w 156393"/>
                <a:gd name="connsiteY37" fmla="*/ 2925 h 189405"/>
                <a:gd name="connsiteX38" fmla="*/ 59194 w 156393"/>
                <a:gd name="connsiteY38" fmla="*/ 823 h 189405"/>
                <a:gd name="connsiteX39" fmla="*/ 77429 w 156393"/>
                <a:gd name="connsiteY39" fmla="*/ 44 h 1894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56393" h="189405">
                  <a:moveTo>
                    <a:pt x="81540" y="150048"/>
                  </a:moveTo>
                  <a:lnTo>
                    <a:pt x="95994" y="150048"/>
                  </a:lnTo>
                  <a:cubicBezTo>
                    <a:pt x="99715" y="149912"/>
                    <a:pt x="103436" y="149581"/>
                    <a:pt x="107119" y="149036"/>
                  </a:cubicBezTo>
                  <a:lnTo>
                    <a:pt x="107119" y="110148"/>
                  </a:lnTo>
                  <a:cubicBezTo>
                    <a:pt x="105053" y="109700"/>
                    <a:pt x="101937" y="109272"/>
                    <a:pt x="97787" y="108825"/>
                  </a:cubicBezTo>
                  <a:cubicBezTo>
                    <a:pt x="94085" y="108396"/>
                    <a:pt x="90384" y="108182"/>
                    <a:pt x="86663" y="108163"/>
                  </a:cubicBezTo>
                  <a:cubicBezTo>
                    <a:pt x="82085" y="108143"/>
                    <a:pt x="77507" y="108435"/>
                    <a:pt x="72987" y="109039"/>
                  </a:cubicBezTo>
                  <a:cubicBezTo>
                    <a:pt x="69130" y="109506"/>
                    <a:pt x="65370" y="110596"/>
                    <a:pt x="61863" y="112270"/>
                  </a:cubicBezTo>
                  <a:cubicBezTo>
                    <a:pt x="58804" y="113749"/>
                    <a:pt x="56194" y="116007"/>
                    <a:pt x="54305" y="118829"/>
                  </a:cubicBezTo>
                  <a:cubicBezTo>
                    <a:pt x="52356" y="121904"/>
                    <a:pt x="51382" y="125505"/>
                    <a:pt x="51519" y="129144"/>
                  </a:cubicBezTo>
                  <a:cubicBezTo>
                    <a:pt x="50818" y="135801"/>
                    <a:pt x="53973" y="142263"/>
                    <a:pt x="59643" y="145824"/>
                  </a:cubicBezTo>
                  <a:cubicBezTo>
                    <a:pt x="66460" y="149055"/>
                    <a:pt x="74000" y="150515"/>
                    <a:pt x="81540" y="150048"/>
                  </a:cubicBezTo>
                  <a:moveTo>
                    <a:pt x="77429" y="44"/>
                  </a:moveTo>
                  <a:cubicBezTo>
                    <a:pt x="90267" y="-306"/>
                    <a:pt x="103066" y="1426"/>
                    <a:pt x="115359" y="5163"/>
                  </a:cubicBezTo>
                  <a:cubicBezTo>
                    <a:pt x="124553" y="8024"/>
                    <a:pt x="132911" y="13104"/>
                    <a:pt x="139710" y="19936"/>
                  </a:cubicBezTo>
                  <a:cubicBezTo>
                    <a:pt x="145886" y="26514"/>
                    <a:pt x="150308" y="34533"/>
                    <a:pt x="152607" y="43272"/>
                  </a:cubicBezTo>
                  <a:cubicBezTo>
                    <a:pt x="155237" y="53237"/>
                    <a:pt x="156503" y="63514"/>
                    <a:pt x="156386" y="73829"/>
                  </a:cubicBezTo>
                  <a:lnTo>
                    <a:pt x="156386" y="180488"/>
                  </a:lnTo>
                  <a:cubicBezTo>
                    <a:pt x="148984" y="182123"/>
                    <a:pt x="138736" y="184011"/>
                    <a:pt x="125684" y="186152"/>
                  </a:cubicBezTo>
                  <a:cubicBezTo>
                    <a:pt x="109943" y="188507"/>
                    <a:pt x="94027" y="189578"/>
                    <a:pt x="78092" y="189383"/>
                  </a:cubicBezTo>
                  <a:cubicBezTo>
                    <a:pt x="67376" y="189480"/>
                    <a:pt x="56682" y="188429"/>
                    <a:pt x="46181" y="186269"/>
                  </a:cubicBezTo>
                  <a:cubicBezTo>
                    <a:pt x="37375" y="184517"/>
                    <a:pt x="28978" y="181092"/>
                    <a:pt x="21479" y="176148"/>
                  </a:cubicBezTo>
                  <a:cubicBezTo>
                    <a:pt x="14641" y="171535"/>
                    <a:pt x="9147" y="165151"/>
                    <a:pt x="5582" y="157716"/>
                  </a:cubicBezTo>
                  <a:cubicBezTo>
                    <a:pt x="1647" y="148958"/>
                    <a:pt x="-263" y="139421"/>
                    <a:pt x="29" y="129826"/>
                  </a:cubicBezTo>
                  <a:cubicBezTo>
                    <a:pt x="-282" y="120483"/>
                    <a:pt x="1919" y="111257"/>
                    <a:pt x="6361" y="103044"/>
                  </a:cubicBezTo>
                  <a:cubicBezTo>
                    <a:pt x="10491" y="95843"/>
                    <a:pt x="16393" y="89790"/>
                    <a:pt x="23484" y="85488"/>
                  </a:cubicBezTo>
                  <a:cubicBezTo>
                    <a:pt x="31044" y="80973"/>
                    <a:pt x="39323" y="77781"/>
                    <a:pt x="47954" y="76049"/>
                  </a:cubicBezTo>
                  <a:cubicBezTo>
                    <a:pt x="57363" y="74083"/>
                    <a:pt x="66929" y="73110"/>
                    <a:pt x="76532" y="73149"/>
                  </a:cubicBezTo>
                  <a:cubicBezTo>
                    <a:pt x="82475" y="73129"/>
                    <a:pt x="88416" y="73421"/>
                    <a:pt x="94339" y="74044"/>
                  </a:cubicBezTo>
                  <a:cubicBezTo>
                    <a:pt x="98566" y="74453"/>
                    <a:pt x="102773" y="75192"/>
                    <a:pt x="106903" y="76262"/>
                  </a:cubicBezTo>
                  <a:lnTo>
                    <a:pt x="106903" y="71494"/>
                  </a:lnTo>
                  <a:cubicBezTo>
                    <a:pt x="107274" y="63709"/>
                    <a:pt x="104410" y="56098"/>
                    <a:pt x="98995" y="50493"/>
                  </a:cubicBezTo>
                  <a:cubicBezTo>
                    <a:pt x="91162" y="44401"/>
                    <a:pt x="81286" y="41579"/>
                    <a:pt x="71428" y="42591"/>
                  </a:cubicBezTo>
                  <a:cubicBezTo>
                    <a:pt x="62759" y="42591"/>
                    <a:pt x="54089" y="43233"/>
                    <a:pt x="45519" y="44479"/>
                  </a:cubicBezTo>
                  <a:cubicBezTo>
                    <a:pt x="37940" y="45491"/>
                    <a:pt x="30478" y="47282"/>
                    <a:pt x="23270" y="49812"/>
                  </a:cubicBezTo>
                  <a:lnTo>
                    <a:pt x="16706" y="8589"/>
                  </a:lnTo>
                  <a:cubicBezTo>
                    <a:pt x="19667" y="7713"/>
                    <a:pt x="23387" y="6740"/>
                    <a:pt x="27829" y="5708"/>
                  </a:cubicBezTo>
                  <a:cubicBezTo>
                    <a:pt x="32271" y="4677"/>
                    <a:pt x="37161" y="3742"/>
                    <a:pt x="42499" y="2925"/>
                  </a:cubicBezTo>
                  <a:cubicBezTo>
                    <a:pt x="47778" y="2108"/>
                    <a:pt x="53330" y="1407"/>
                    <a:pt x="59194" y="823"/>
                  </a:cubicBezTo>
                  <a:cubicBezTo>
                    <a:pt x="65038" y="239"/>
                    <a:pt x="71116" y="-34"/>
                    <a:pt x="77429" y="44"/>
                  </a:cubicBezTo>
                </a:path>
              </a:pathLst>
            </a:custGeom>
            <a:solidFill>
              <a:srgbClr val="DB2114"/>
            </a:solidFill>
            <a:ln w="6350" cap="flat">
              <a:noFill/>
              <a:prstDash val="solid"/>
              <a:miter/>
            </a:ln>
          </p:spPr>
          <p:txBody>
            <a:bodyPr rtlCol="0" anchor="ctr"/>
            <a:lstStyle/>
            <a:p>
              <a:endParaRPr lang="nl-NL"/>
            </a:p>
          </p:txBody>
        </p:sp>
        <p:sp>
          <p:nvSpPr>
            <p:cNvPr id="39" name="Vrije vorm 38">
              <a:extLst>
                <a:ext uri="{FF2B5EF4-FFF2-40B4-BE49-F238E27FC236}">
                  <a16:creationId xmlns:a16="http://schemas.microsoft.com/office/drawing/2014/main" id="{B68A9097-5F36-78D9-1406-1140461F7D63}"/>
                </a:ext>
              </a:extLst>
            </p:cNvPr>
            <p:cNvSpPr/>
            <p:nvPr/>
          </p:nvSpPr>
          <p:spPr>
            <a:xfrm>
              <a:off x="11633450" y="694170"/>
              <a:ext cx="250390" cy="185709"/>
            </a:xfrm>
            <a:custGeom>
              <a:avLst/>
              <a:gdLst>
                <a:gd name="connsiteX0" fmla="*/ 247783 w 250390"/>
                <a:gd name="connsiteY0" fmla="*/ 49272 h 185709"/>
                <a:gd name="connsiteX1" fmla="*/ 236658 w 250390"/>
                <a:gd name="connsiteY1" fmla="*/ 23172 h 185709"/>
                <a:gd name="connsiteX2" fmla="*/ 214412 w 250390"/>
                <a:gd name="connsiteY2" fmla="*/ 6161 h 185709"/>
                <a:gd name="connsiteX3" fmla="*/ 178722 w 250390"/>
                <a:gd name="connsiteY3" fmla="*/ 166 h 185709"/>
                <a:gd name="connsiteX4" fmla="*/ 126999 w 250390"/>
                <a:gd name="connsiteY4" fmla="*/ 17061 h 185709"/>
                <a:gd name="connsiteX5" fmla="*/ 106328 w 250390"/>
                <a:gd name="connsiteY5" fmla="*/ 5052 h 185709"/>
                <a:gd name="connsiteX6" fmla="*/ 74399 w 250390"/>
                <a:gd name="connsiteY6" fmla="*/ 50 h 185709"/>
                <a:gd name="connsiteX7" fmla="*/ 54042 w 250390"/>
                <a:gd name="connsiteY7" fmla="*/ 945 h 185709"/>
                <a:gd name="connsiteX8" fmla="*/ 33917 w 250390"/>
                <a:gd name="connsiteY8" fmla="*/ 3378 h 185709"/>
                <a:gd name="connsiteX9" fmla="*/ 15351 w 250390"/>
                <a:gd name="connsiteY9" fmla="*/ 6823 h 185709"/>
                <a:gd name="connsiteX10" fmla="*/ 0 w 250390"/>
                <a:gd name="connsiteY10" fmla="*/ 10385 h 185709"/>
                <a:gd name="connsiteX11" fmla="*/ 0 w 250390"/>
                <a:gd name="connsiteY11" fmla="*/ 185165 h 185709"/>
                <a:gd name="connsiteX12" fmla="*/ 51372 w 250390"/>
                <a:gd name="connsiteY12" fmla="*/ 185165 h 185709"/>
                <a:gd name="connsiteX13" fmla="*/ 51372 w 250390"/>
                <a:gd name="connsiteY13" fmla="*/ 45496 h 185709"/>
                <a:gd name="connsiteX14" fmla="*/ 61385 w 250390"/>
                <a:gd name="connsiteY14" fmla="*/ 44270 h 185709"/>
                <a:gd name="connsiteX15" fmla="*/ 71400 w 250390"/>
                <a:gd name="connsiteY15" fmla="*/ 44270 h 185709"/>
                <a:gd name="connsiteX16" fmla="*/ 93646 w 250390"/>
                <a:gd name="connsiteY16" fmla="*/ 54605 h 185709"/>
                <a:gd name="connsiteX17" fmla="*/ 99978 w 250390"/>
                <a:gd name="connsiteY17" fmla="*/ 89717 h 185709"/>
                <a:gd name="connsiteX18" fmla="*/ 99978 w 250390"/>
                <a:gd name="connsiteY18" fmla="*/ 185710 h 185709"/>
                <a:gd name="connsiteX19" fmla="*/ 150805 w 250390"/>
                <a:gd name="connsiteY19" fmla="*/ 185710 h 185709"/>
                <a:gd name="connsiteX20" fmla="*/ 150805 w 250390"/>
                <a:gd name="connsiteY20" fmla="*/ 86486 h 185709"/>
                <a:gd name="connsiteX21" fmla="*/ 150143 w 250390"/>
                <a:gd name="connsiteY21" fmla="*/ 67723 h 185709"/>
                <a:gd name="connsiteX22" fmla="*/ 147025 w 250390"/>
                <a:gd name="connsiteY22" fmla="*/ 51043 h 185709"/>
                <a:gd name="connsiteX23" fmla="*/ 159260 w 250390"/>
                <a:gd name="connsiteY23" fmla="*/ 45944 h 185709"/>
                <a:gd name="connsiteX24" fmla="*/ 170383 w 250390"/>
                <a:gd name="connsiteY24" fmla="*/ 43822 h 185709"/>
                <a:gd name="connsiteX25" fmla="*/ 192631 w 250390"/>
                <a:gd name="connsiteY25" fmla="*/ 54157 h 185709"/>
                <a:gd name="connsiteX26" fmla="*/ 198962 w 250390"/>
                <a:gd name="connsiteY26" fmla="*/ 89269 h 185709"/>
                <a:gd name="connsiteX27" fmla="*/ 198962 w 250390"/>
                <a:gd name="connsiteY27" fmla="*/ 155931 h 185709"/>
                <a:gd name="connsiteX28" fmla="*/ 250335 w 250390"/>
                <a:gd name="connsiteY28" fmla="*/ 185281 h 185709"/>
                <a:gd name="connsiteX29" fmla="*/ 250335 w 250390"/>
                <a:gd name="connsiteY29" fmla="*/ 83060 h 185709"/>
                <a:gd name="connsiteX30" fmla="*/ 247783 w 250390"/>
                <a:gd name="connsiteY30" fmla="*/ 49272 h 1857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50390" h="185709">
                  <a:moveTo>
                    <a:pt x="247783" y="49272"/>
                  </a:moveTo>
                  <a:cubicBezTo>
                    <a:pt x="246069" y="39852"/>
                    <a:pt x="242270" y="30938"/>
                    <a:pt x="236658" y="23172"/>
                  </a:cubicBezTo>
                  <a:cubicBezTo>
                    <a:pt x="230873" y="15640"/>
                    <a:pt x="223197" y="9762"/>
                    <a:pt x="214412" y="6161"/>
                  </a:cubicBezTo>
                  <a:cubicBezTo>
                    <a:pt x="203033" y="1782"/>
                    <a:pt x="190897" y="-242"/>
                    <a:pt x="178722" y="166"/>
                  </a:cubicBezTo>
                  <a:cubicBezTo>
                    <a:pt x="160214" y="712"/>
                    <a:pt x="142252" y="6570"/>
                    <a:pt x="126999" y="17061"/>
                  </a:cubicBezTo>
                  <a:cubicBezTo>
                    <a:pt x="120823" y="11922"/>
                    <a:pt x="113830" y="7874"/>
                    <a:pt x="106328" y="5052"/>
                  </a:cubicBezTo>
                  <a:cubicBezTo>
                    <a:pt x="96102" y="1373"/>
                    <a:pt x="85269" y="-320"/>
                    <a:pt x="74399" y="50"/>
                  </a:cubicBezTo>
                  <a:cubicBezTo>
                    <a:pt x="67737" y="50"/>
                    <a:pt x="60938" y="341"/>
                    <a:pt x="54042" y="945"/>
                  </a:cubicBezTo>
                  <a:cubicBezTo>
                    <a:pt x="47145" y="1529"/>
                    <a:pt x="40444" y="2346"/>
                    <a:pt x="33917" y="3378"/>
                  </a:cubicBezTo>
                  <a:cubicBezTo>
                    <a:pt x="27391" y="4429"/>
                    <a:pt x="21216" y="5577"/>
                    <a:pt x="15351" y="6823"/>
                  </a:cubicBezTo>
                  <a:cubicBezTo>
                    <a:pt x="9487" y="8088"/>
                    <a:pt x="4383" y="9275"/>
                    <a:pt x="0" y="10385"/>
                  </a:cubicBezTo>
                  <a:lnTo>
                    <a:pt x="0" y="185165"/>
                  </a:lnTo>
                  <a:lnTo>
                    <a:pt x="51372" y="185165"/>
                  </a:lnTo>
                  <a:lnTo>
                    <a:pt x="51372" y="45496"/>
                  </a:lnTo>
                  <a:lnTo>
                    <a:pt x="61385" y="44270"/>
                  </a:lnTo>
                  <a:lnTo>
                    <a:pt x="71400" y="44270"/>
                  </a:lnTo>
                  <a:cubicBezTo>
                    <a:pt x="80166" y="43316"/>
                    <a:pt x="88738" y="47306"/>
                    <a:pt x="93646" y="54605"/>
                  </a:cubicBezTo>
                  <a:cubicBezTo>
                    <a:pt x="98732" y="65582"/>
                    <a:pt x="100914" y="77669"/>
                    <a:pt x="99978" y="89717"/>
                  </a:cubicBezTo>
                  <a:lnTo>
                    <a:pt x="99978" y="185710"/>
                  </a:lnTo>
                  <a:lnTo>
                    <a:pt x="150805" y="185710"/>
                  </a:lnTo>
                  <a:lnTo>
                    <a:pt x="150805" y="86486"/>
                  </a:lnTo>
                  <a:cubicBezTo>
                    <a:pt x="150805" y="79830"/>
                    <a:pt x="150591" y="73562"/>
                    <a:pt x="150143" y="67723"/>
                  </a:cubicBezTo>
                  <a:cubicBezTo>
                    <a:pt x="149713" y="62060"/>
                    <a:pt x="148662" y="56474"/>
                    <a:pt x="147025" y="51043"/>
                  </a:cubicBezTo>
                  <a:cubicBezTo>
                    <a:pt x="150824" y="48747"/>
                    <a:pt x="154955" y="47034"/>
                    <a:pt x="159260" y="45944"/>
                  </a:cubicBezTo>
                  <a:cubicBezTo>
                    <a:pt x="162865" y="44776"/>
                    <a:pt x="166604" y="44075"/>
                    <a:pt x="170383" y="43822"/>
                  </a:cubicBezTo>
                  <a:cubicBezTo>
                    <a:pt x="179130" y="42869"/>
                    <a:pt x="187702" y="46859"/>
                    <a:pt x="192631" y="54157"/>
                  </a:cubicBezTo>
                  <a:cubicBezTo>
                    <a:pt x="197716" y="65135"/>
                    <a:pt x="199898" y="77221"/>
                    <a:pt x="198962" y="89269"/>
                  </a:cubicBezTo>
                  <a:lnTo>
                    <a:pt x="198962" y="155931"/>
                  </a:lnTo>
                  <a:cubicBezTo>
                    <a:pt x="198962" y="171833"/>
                    <a:pt x="221873" y="184717"/>
                    <a:pt x="250335" y="185281"/>
                  </a:cubicBezTo>
                  <a:lnTo>
                    <a:pt x="250335" y="83060"/>
                  </a:lnTo>
                  <a:cubicBezTo>
                    <a:pt x="250627" y="71733"/>
                    <a:pt x="249770" y="60425"/>
                    <a:pt x="247783" y="49272"/>
                  </a:cubicBezTo>
                </a:path>
              </a:pathLst>
            </a:custGeom>
            <a:solidFill>
              <a:srgbClr val="E32112"/>
            </a:solidFill>
            <a:ln w="6350" cap="flat">
              <a:noFill/>
              <a:prstDash val="solid"/>
              <a:miter/>
            </a:ln>
          </p:spPr>
          <p:txBody>
            <a:bodyPr rtlCol="0" anchor="ctr"/>
            <a:lstStyle/>
            <a:p>
              <a:endParaRPr lang="nl-NL"/>
            </a:p>
          </p:txBody>
        </p:sp>
        <p:sp>
          <p:nvSpPr>
            <p:cNvPr id="40" name="Vrije vorm 39">
              <a:extLst>
                <a:ext uri="{FF2B5EF4-FFF2-40B4-BE49-F238E27FC236}">
                  <a16:creationId xmlns:a16="http://schemas.microsoft.com/office/drawing/2014/main" id="{C1754E87-62D9-FB50-8EE5-63414DE40399}"/>
                </a:ext>
              </a:extLst>
            </p:cNvPr>
            <p:cNvSpPr/>
            <p:nvPr/>
          </p:nvSpPr>
          <p:spPr>
            <a:xfrm>
              <a:off x="10271764" y="640993"/>
              <a:ext cx="187935" cy="238327"/>
            </a:xfrm>
            <a:custGeom>
              <a:avLst/>
              <a:gdLst>
                <a:gd name="connsiteX0" fmla="*/ 66724 w 187935"/>
                <a:gd name="connsiteY0" fmla="*/ 193114 h 238327"/>
                <a:gd name="connsiteX1" fmla="*/ 94971 w 187935"/>
                <a:gd name="connsiteY1" fmla="*/ 149789 h 238327"/>
                <a:gd name="connsiteX2" fmla="*/ 127115 w 187935"/>
                <a:gd name="connsiteY2" fmla="*/ 105335 h 238327"/>
                <a:gd name="connsiteX3" fmla="*/ 158480 w 187935"/>
                <a:gd name="connsiteY3" fmla="*/ 66000 h 238327"/>
                <a:gd name="connsiteX4" fmla="*/ 184156 w 187935"/>
                <a:gd name="connsiteY4" fmla="*/ 37564 h 238327"/>
                <a:gd name="connsiteX5" fmla="*/ 184156 w 187935"/>
                <a:gd name="connsiteY5" fmla="*/ 0 h 238327"/>
                <a:gd name="connsiteX6" fmla="*/ 5552 w 187935"/>
                <a:gd name="connsiteY6" fmla="*/ 0 h 238327"/>
                <a:gd name="connsiteX7" fmla="*/ 34910 w 187935"/>
                <a:gd name="connsiteY7" fmla="*/ 45116 h 238327"/>
                <a:gd name="connsiteX8" fmla="*/ 112757 w 187935"/>
                <a:gd name="connsiteY8" fmla="*/ 45116 h 238327"/>
                <a:gd name="connsiteX9" fmla="*/ 83633 w 187935"/>
                <a:gd name="connsiteY9" fmla="*/ 81998 h 238327"/>
                <a:gd name="connsiteX10" fmla="*/ 52813 w 187935"/>
                <a:gd name="connsiteY10" fmla="*/ 124000 h 238327"/>
                <a:gd name="connsiteX11" fmla="*/ 23689 w 187935"/>
                <a:gd name="connsiteY11" fmla="*/ 167345 h 238327"/>
                <a:gd name="connsiteX12" fmla="*/ 0 w 187935"/>
                <a:gd name="connsiteY12" fmla="*/ 206330 h 238327"/>
                <a:gd name="connsiteX13" fmla="*/ 0 w 187935"/>
                <a:gd name="connsiteY13" fmla="*/ 238328 h 238327"/>
                <a:gd name="connsiteX14" fmla="*/ 187936 w 187935"/>
                <a:gd name="connsiteY14" fmla="*/ 238328 h 238327"/>
                <a:gd name="connsiteX15" fmla="*/ 187936 w 187935"/>
                <a:gd name="connsiteY15" fmla="*/ 193114 h 238327"/>
                <a:gd name="connsiteX16" fmla="*/ 66724 w 187935"/>
                <a:gd name="connsiteY16" fmla="*/ 193114 h 2383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87935" h="238327">
                  <a:moveTo>
                    <a:pt x="66724" y="193114"/>
                  </a:moveTo>
                  <a:cubicBezTo>
                    <a:pt x="75023" y="179334"/>
                    <a:pt x="84451" y="164893"/>
                    <a:pt x="94971" y="149789"/>
                  </a:cubicBezTo>
                  <a:cubicBezTo>
                    <a:pt x="105491" y="134666"/>
                    <a:pt x="116205" y="119855"/>
                    <a:pt x="127115" y="105335"/>
                  </a:cubicBezTo>
                  <a:cubicBezTo>
                    <a:pt x="137927" y="91107"/>
                    <a:pt x="148389" y="78009"/>
                    <a:pt x="158480" y="66000"/>
                  </a:cubicBezTo>
                  <a:cubicBezTo>
                    <a:pt x="168552" y="54011"/>
                    <a:pt x="177124" y="44532"/>
                    <a:pt x="184156" y="37564"/>
                  </a:cubicBezTo>
                  <a:lnTo>
                    <a:pt x="184156" y="0"/>
                  </a:lnTo>
                  <a:lnTo>
                    <a:pt x="5552" y="0"/>
                  </a:lnTo>
                  <a:cubicBezTo>
                    <a:pt x="5552" y="25010"/>
                    <a:pt x="19014" y="45116"/>
                    <a:pt x="34910" y="45116"/>
                  </a:cubicBezTo>
                  <a:lnTo>
                    <a:pt x="112757" y="45116"/>
                  </a:lnTo>
                  <a:cubicBezTo>
                    <a:pt x="103796" y="55860"/>
                    <a:pt x="94075" y="68160"/>
                    <a:pt x="83633" y="81998"/>
                  </a:cubicBezTo>
                  <a:cubicBezTo>
                    <a:pt x="73172" y="95856"/>
                    <a:pt x="62905" y="109850"/>
                    <a:pt x="52813" y="124000"/>
                  </a:cubicBezTo>
                  <a:cubicBezTo>
                    <a:pt x="42664" y="138812"/>
                    <a:pt x="32943" y="153273"/>
                    <a:pt x="23689" y="167345"/>
                  </a:cubicBezTo>
                  <a:cubicBezTo>
                    <a:pt x="14415" y="181417"/>
                    <a:pt x="6526" y="194418"/>
                    <a:pt x="0" y="206330"/>
                  </a:cubicBezTo>
                  <a:lnTo>
                    <a:pt x="0" y="238328"/>
                  </a:lnTo>
                  <a:lnTo>
                    <a:pt x="187936" y="238328"/>
                  </a:lnTo>
                  <a:lnTo>
                    <a:pt x="187936" y="193114"/>
                  </a:lnTo>
                  <a:lnTo>
                    <a:pt x="66724" y="193114"/>
                  </a:lnTo>
                  <a:close/>
                </a:path>
              </a:pathLst>
            </a:custGeom>
            <a:solidFill>
              <a:srgbClr val="0066B0"/>
            </a:solidFill>
            <a:ln w="6350" cap="flat">
              <a:noFill/>
              <a:prstDash val="solid"/>
              <a:miter/>
            </a:ln>
          </p:spPr>
          <p:txBody>
            <a:bodyPr rtlCol="0" anchor="ctr"/>
            <a:lstStyle/>
            <a:p>
              <a:endParaRPr lang="nl-NL"/>
            </a:p>
          </p:txBody>
        </p:sp>
      </p:grpSp>
      <p:sp>
        <p:nvSpPr>
          <p:cNvPr id="50" name="Vrije vorm 49">
            <a:extLst>
              <a:ext uri="{FF2B5EF4-FFF2-40B4-BE49-F238E27FC236}">
                <a16:creationId xmlns:a16="http://schemas.microsoft.com/office/drawing/2014/main" id="{CB64C89A-8B32-DFC9-ED6E-46A52F06D5C7}"/>
              </a:ext>
            </a:extLst>
          </p:cNvPr>
          <p:cNvSpPr/>
          <p:nvPr/>
        </p:nvSpPr>
        <p:spPr>
          <a:xfrm>
            <a:off x="5994595" y="2774412"/>
            <a:ext cx="2462658" cy="4080415"/>
          </a:xfrm>
          <a:custGeom>
            <a:avLst/>
            <a:gdLst>
              <a:gd name="connsiteX0" fmla="*/ 2462658 w 2462658"/>
              <a:gd name="connsiteY0" fmla="*/ 4080416 h 4080415"/>
              <a:gd name="connsiteX1" fmla="*/ 1869060 w 2462658"/>
              <a:gd name="connsiteY1" fmla="*/ 4080416 h 4080415"/>
              <a:gd name="connsiteX2" fmla="*/ 559690 w 2462658"/>
              <a:gd name="connsiteY2" fmla="*/ 2478650 h 4080415"/>
              <a:gd name="connsiteX3" fmla="*/ 145669 w 2462658"/>
              <a:gd name="connsiteY3" fmla="*/ 1381180 h 4080415"/>
              <a:gd name="connsiteX4" fmla="*/ 0 w 2462658"/>
              <a:gd name="connsiteY4" fmla="*/ 179792 h 4080415"/>
              <a:gd name="connsiteX5" fmla="*/ 180023 w 2462658"/>
              <a:gd name="connsiteY5" fmla="*/ 0 h 4080415"/>
              <a:gd name="connsiteX6" fmla="*/ 359982 w 2462658"/>
              <a:gd name="connsiteY6" fmla="*/ 179792 h 4080415"/>
              <a:gd name="connsiteX7" fmla="*/ 495173 w 2462658"/>
              <a:gd name="connsiteY7" fmla="*/ 1294963 h 4080415"/>
              <a:gd name="connsiteX8" fmla="*/ 879285 w 2462658"/>
              <a:gd name="connsiteY8" fmla="*/ 2313069 h 4080415"/>
              <a:gd name="connsiteX9" fmla="*/ 2267014 w 2462658"/>
              <a:gd name="connsiteY9" fmla="*/ 3933359 h 4080415"/>
              <a:gd name="connsiteX10" fmla="*/ 2268411 w 2462658"/>
              <a:gd name="connsiteY10" fmla="*/ 3934437 h 4080415"/>
              <a:gd name="connsiteX11" fmla="*/ 2462658 w 2462658"/>
              <a:gd name="connsiteY11" fmla="*/ 4080416 h 408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58" h="4080415">
                <a:moveTo>
                  <a:pt x="2462658" y="4080416"/>
                </a:moveTo>
                <a:lnTo>
                  <a:pt x="1869060" y="4080416"/>
                </a:lnTo>
                <a:cubicBezTo>
                  <a:pt x="1328230" y="3642100"/>
                  <a:pt x="878206" y="3092381"/>
                  <a:pt x="559690" y="2478650"/>
                </a:cubicBezTo>
                <a:cubicBezTo>
                  <a:pt x="378905" y="2130294"/>
                  <a:pt x="239586" y="1761066"/>
                  <a:pt x="145669" y="1381180"/>
                </a:cubicBezTo>
                <a:cubicBezTo>
                  <a:pt x="49022" y="990191"/>
                  <a:pt x="0" y="586007"/>
                  <a:pt x="0" y="179792"/>
                </a:cubicBezTo>
                <a:cubicBezTo>
                  <a:pt x="0" y="80507"/>
                  <a:pt x="80582" y="0"/>
                  <a:pt x="180023" y="0"/>
                </a:cubicBezTo>
                <a:cubicBezTo>
                  <a:pt x="279400" y="0"/>
                  <a:pt x="359982" y="80507"/>
                  <a:pt x="359982" y="179792"/>
                </a:cubicBezTo>
                <a:cubicBezTo>
                  <a:pt x="359982" y="556951"/>
                  <a:pt x="405448" y="932143"/>
                  <a:pt x="495173" y="1294963"/>
                </a:cubicBezTo>
                <a:cubicBezTo>
                  <a:pt x="582295" y="1647316"/>
                  <a:pt x="711518" y="1989899"/>
                  <a:pt x="879285" y="2313069"/>
                </a:cubicBezTo>
                <a:cubicBezTo>
                  <a:pt x="1208088" y="2946656"/>
                  <a:pt x="1687958" y="3506970"/>
                  <a:pt x="2267014" y="3933359"/>
                </a:cubicBezTo>
                <a:lnTo>
                  <a:pt x="2268411" y="3934437"/>
                </a:lnTo>
                <a:lnTo>
                  <a:pt x="2462658" y="4080416"/>
                </a:lnTo>
                <a:close/>
              </a:path>
            </a:pathLst>
          </a:custGeom>
          <a:solidFill>
            <a:srgbClr val="DB2114"/>
          </a:solidFill>
          <a:ln w="6350" cap="flat">
            <a:noFill/>
            <a:prstDash val="solid"/>
            <a:miter/>
          </a:ln>
        </p:spPr>
        <p:txBody>
          <a:bodyPr rtlCol="0" anchor="ctr"/>
          <a:lstStyle/>
          <a:p>
            <a:endParaRPr lang="nl-NL"/>
          </a:p>
        </p:txBody>
      </p:sp>
    </p:spTree>
    <p:extLst>
      <p:ext uri="{BB962C8B-B14F-4D97-AF65-F5344CB8AC3E}">
        <p14:creationId xmlns:p14="http://schemas.microsoft.com/office/powerpoint/2010/main" val="273654837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kst en beeld slide basic">
    <p:bg>
      <p:bgPr>
        <a:solidFill>
          <a:srgbClr val="C7E8F1"/>
        </a:solidFill>
        <a:effectLst/>
      </p:bgPr>
    </p:bg>
    <p:spTree>
      <p:nvGrpSpPr>
        <p:cNvPr id="1" name=""/>
        <p:cNvGrpSpPr/>
        <p:nvPr/>
      </p:nvGrpSpPr>
      <p:grpSpPr>
        <a:xfrm>
          <a:off x="0" y="0"/>
          <a:ext cx="0" cy="0"/>
          <a:chOff x="0" y="0"/>
          <a:chExt cx="0" cy="0"/>
        </a:xfrm>
      </p:grpSpPr>
      <p:sp>
        <p:nvSpPr>
          <p:cNvPr id="28" name="Vrije vorm 27">
            <a:extLst>
              <a:ext uri="{FF2B5EF4-FFF2-40B4-BE49-F238E27FC236}">
                <a16:creationId xmlns:a16="http://schemas.microsoft.com/office/drawing/2014/main" id="{8F95FB96-058A-27B1-D674-9DA6F48B6204}"/>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5" name="Tijdelijke aanduiding voor afbeelding 24">
            <a:extLst>
              <a:ext uri="{FF2B5EF4-FFF2-40B4-BE49-F238E27FC236}">
                <a16:creationId xmlns:a16="http://schemas.microsoft.com/office/drawing/2014/main" id="{DDA2CDC9-205A-EC99-A8B8-9F2D8B54B3FB}"/>
              </a:ext>
            </a:extLst>
          </p:cNvPr>
          <p:cNvSpPr>
            <a:spLocks noGrp="1"/>
          </p:cNvSpPr>
          <p:nvPr>
            <p:ph type="pic" sz="quarter" idx="13" hasCustomPrompt="1"/>
          </p:nvPr>
        </p:nvSpPr>
        <p:spPr>
          <a:xfrm>
            <a:off x="6546273" y="-1"/>
            <a:ext cx="5648824" cy="6858001"/>
          </a:xfrm>
          <a:custGeom>
            <a:avLst/>
            <a:gdLst>
              <a:gd name="connsiteX0" fmla="*/ 4066993 w 5648824"/>
              <a:gd name="connsiteY0" fmla="*/ 1 h 6858001"/>
              <a:gd name="connsiteX1" fmla="*/ 4060220 w 5648824"/>
              <a:gd name="connsiteY1" fmla="*/ 27738 h 6858001"/>
              <a:gd name="connsiteX2" fmla="*/ 4047385 w 5648824"/>
              <a:gd name="connsiteY2" fmla="*/ 187852 h 6858001"/>
              <a:gd name="connsiteX3" fmla="*/ 5041742 w 5648824"/>
              <a:gd name="connsiteY3" fmla="*/ 1182990 h 6858001"/>
              <a:gd name="connsiteX4" fmla="*/ 5513479 w 5648824"/>
              <a:gd name="connsiteY4" fmla="*/ 1064025 h 6858001"/>
              <a:gd name="connsiteX5" fmla="*/ 5645726 w 5648824"/>
              <a:gd name="connsiteY5" fmla="*/ 978236 h 6858001"/>
              <a:gd name="connsiteX6" fmla="*/ 5645726 w 5648824"/>
              <a:gd name="connsiteY6" fmla="*/ 1 h 6858001"/>
              <a:gd name="connsiteX7" fmla="*/ 6928 w 5648824"/>
              <a:gd name="connsiteY7" fmla="*/ 0 h 6858001"/>
              <a:gd name="connsiteX8" fmla="*/ 3456708 w 5648824"/>
              <a:gd name="connsiteY8" fmla="*/ 0 h 6858001"/>
              <a:gd name="connsiteX9" fmla="*/ 5640965 w 5648824"/>
              <a:gd name="connsiteY9" fmla="*/ 0 h 6858001"/>
              <a:gd name="connsiteX10" fmla="*/ 5645728 w 5648824"/>
              <a:gd name="connsiteY10" fmla="*/ 0 h 6858001"/>
              <a:gd name="connsiteX11" fmla="*/ 5645728 w 5648824"/>
              <a:gd name="connsiteY11" fmla="*/ 1 h 6858001"/>
              <a:gd name="connsiteX12" fmla="*/ 5648824 w 5648824"/>
              <a:gd name="connsiteY12" fmla="*/ 1 h 6858001"/>
              <a:gd name="connsiteX13" fmla="*/ 5648824 w 5648824"/>
              <a:gd name="connsiteY13" fmla="*/ 2216728 h 6858001"/>
              <a:gd name="connsiteX14" fmla="*/ 5645728 w 5648824"/>
              <a:gd name="connsiteY14" fmla="*/ 2216728 h 6858001"/>
              <a:gd name="connsiteX15" fmla="*/ 5645728 w 5648824"/>
              <a:gd name="connsiteY15" fmla="*/ 6858001 h 6858001"/>
              <a:gd name="connsiteX16" fmla="*/ 6928 w 5648824"/>
              <a:gd name="connsiteY16" fmla="*/ 6858001 h 6858001"/>
              <a:gd name="connsiteX17" fmla="*/ 6928 w 5648824"/>
              <a:gd name="connsiteY17" fmla="*/ 3692679 h 6858001"/>
              <a:gd name="connsiteX18" fmla="*/ 0 w 5648824"/>
              <a:gd name="connsiteY18" fmla="*/ 3672638 h 6858001"/>
              <a:gd name="connsiteX19" fmla="*/ 0 w 5648824"/>
              <a:gd name="connsiteY19" fmla="*/ 1 h 6858001"/>
              <a:gd name="connsiteX20" fmla="*/ 6928 w 5648824"/>
              <a:gd name="connsiteY20"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8824" h="6858001">
                <a:moveTo>
                  <a:pt x="4066993" y="1"/>
                </a:moveTo>
                <a:lnTo>
                  <a:pt x="4060220" y="27738"/>
                </a:lnTo>
                <a:cubicBezTo>
                  <a:pt x="4051779" y="79861"/>
                  <a:pt x="4047385" y="133342"/>
                  <a:pt x="4047385" y="187852"/>
                </a:cubicBezTo>
                <a:cubicBezTo>
                  <a:pt x="4047385" y="737452"/>
                  <a:pt x="4492574" y="1182990"/>
                  <a:pt x="5041742" y="1182990"/>
                </a:cubicBezTo>
                <a:cubicBezTo>
                  <a:pt x="5212467" y="1182990"/>
                  <a:pt x="5373117" y="1139900"/>
                  <a:pt x="5513479" y="1064025"/>
                </a:cubicBezTo>
                <a:lnTo>
                  <a:pt x="5645726" y="978236"/>
                </a:lnTo>
                <a:lnTo>
                  <a:pt x="5645726" y="1"/>
                </a:lnTo>
                <a:close/>
                <a:moveTo>
                  <a:pt x="6928" y="0"/>
                </a:moveTo>
                <a:lnTo>
                  <a:pt x="3456708" y="0"/>
                </a:lnTo>
                <a:lnTo>
                  <a:pt x="5640965" y="0"/>
                </a:lnTo>
                <a:lnTo>
                  <a:pt x="5645728" y="0"/>
                </a:lnTo>
                <a:lnTo>
                  <a:pt x="5645728" y="1"/>
                </a:lnTo>
                <a:lnTo>
                  <a:pt x="5648824" y="1"/>
                </a:lnTo>
                <a:lnTo>
                  <a:pt x="5648824" y="2216728"/>
                </a:lnTo>
                <a:lnTo>
                  <a:pt x="5645728" y="2216728"/>
                </a:lnTo>
                <a:lnTo>
                  <a:pt x="5645728" y="6858001"/>
                </a:lnTo>
                <a:lnTo>
                  <a:pt x="6928" y="6858001"/>
                </a:lnTo>
                <a:lnTo>
                  <a:pt x="6928" y="3692679"/>
                </a:lnTo>
                <a:lnTo>
                  <a:pt x="0" y="3672638"/>
                </a:lnTo>
                <a:lnTo>
                  <a:pt x="0" y="1"/>
                </a:lnTo>
                <a:lnTo>
                  <a:pt x="6928" y="1"/>
                </a:lnTo>
                <a:close/>
              </a:path>
            </a:pathLst>
          </a:custGeom>
          <a:solidFill>
            <a:srgbClr val="EFF2F5"/>
          </a:solidFill>
        </p:spPr>
        <p:txBody>
          <a:bodyPr wrap="square" anchor="ctr">
            <a:noAutofit/>
          </a:bodyPr>
          <a:lstStyle>
            <a:lvl1pPr marL="0" indent="0" algn="ctr">
              <a:buNone/>
              <a:defRPr sz="1400">
                <a:solidFill>
                  <a:schemeClr val="bg1"/>
                </a:solidFill>
              </a:defRPr>
            </a:lvl1pPr>
          </a:lstStyle>
          <a:p>
            <a:r>
              <a:rPr lang="nl-NL"/>
              <a:t>Voeg hier een afbeelding toe</a:t>
            </a:r>
          </a:p>
        </p:txBody>
      </p:sp>
      <p:sp>
        <p:nvSpPr>
          <p:cNvPr id="101" name="Vrije vorm 100">
            <a:extLst>
              <a:ext uri="{FF2B5EF4-FFF2-40B4-BE49-F238E27FC236}">
                <a16:creationId xmlns:a16="http://schemas.microsoft.com/office/drawing/2014/main" id="{E9FDC7F3-4971-DD2A-9A83-8816475A4011}"/>
              </a:ext>
            </a:extLst>
          </p:cNvPr>
          <p:cNvSpPr/>
          <p:nvPr userDrawn="1"/>
        </p:nvSpPr>
        <p:spPr>
          <a:xfrm>
            <a:off x="-1309255" y="4353791"/>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4666800" cy="555068"/>
          </a:xfrm>
        </p:spPr>
        <p:txBody>
          <a:bodyPr>
            <a:normAutofit/>
          </a:bodyPr>
          <a:lstStyle>
            <a:lvl1pPr>
              <a:defRPr sz="2800" b="1">
                <a:solidFill>
                  <a:srgbClr val="002B5F"/>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F0ED79D4-77A5-1140-05B7-DA9AF2FD66D3}"/>
              </a:ext>
            </a:extLst>
          </p:cNvPr>
          <p:cNvSpPr>
            <a:spLocks noGrp="1"/>
          </p:cNvSpPr>
          <p:nvPr>
            <p:ph sz="half" idx="1"/>
          </p:nvPr>
        </p:nvSpPr>
        <p:spPr>
          <a:xfrm>
            <a:off x="1330036" y="1664066"/>
            <a:ext cx="4689764"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3" name="Vrije vorm 102">
            <a:extLst>
              <a:ext uri="{FF2B5EF4-FFF2-40B4-BE49-F238E27FC236}">
                <a16:creationId xmlns:a16="http://schemas.microsoft.com/office/drawing/2014/main" id="{29C92FC2-60FE-AC07-73E0-F055F9CE34A7}"/>
              </a:ext>
            </a:extLst>
          </p:cNvPr>
          <p:cNvSpPr/>
          <p:nvPr userDrawn="1"/>
        </p:nvSpPr>
        <p:spPr>
          <a:xfrm>
            <a:off x="4033019" y="-878032"/>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55" name="Graphic 10">
            <a:extLst>
              <a:ext uri="{FF2B5EF4-FFF2-40B4-BE49-F238E27FC236}">
                <a16:creationId xmlns:a16="http://schemas.microsoft.com/office/drawing/2014/main" id="{4B9C35A5-759B-2B9B-42BB-D65C14903E19}"/>
              </a:ext>
            </a:extLst>
          </p:cNvPr>
          <p:cNvGrpSpPr/>
          <p:nvPr userDrawn="1"/>
        </p:nvGrpSpPr>
        <p:grpSpPr>
          <a:xfrm>
            <a:off x="10903435" y="299495"/>
            <a:ext cx="1082602" cy="448481"/>
            <a:chOff x="10903435" y="299495"/>
            <a:chExt cx="1082602" cy="448481"/>
          </a:xfrm>
        </p:grpSpPr>
        <p:sp>
          <p:nvSpPr>
            <p:cNvPr id="56" name="Vrije vorm 55">
              <a:extLst>
                <a:ext uri="{FF2B5EF4-FFF2-40B4-BE49-F238E27FC236}">
                  <a16:creationId xmlns:a16="http://schemas.microsoft.com/office/drawing/2014/main" id="{E50A9EA1-E08C-FC9A-B2FC-C569A83F9EDB}"/>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57" name="Vrije vorm 56">
              <a:extLst>
                <a:ext uri="{FF2B5EF4-FFF2-40B4-BE49-F238E27FC236}">
                  <a16:creationId xmlns:a16="http://schemas.microsoft.com/office/drawing/2014/main" id="{9E73DC94-A893-612E-3E08-DC802E505F1C}"/>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58" name="Vrije vorm 57">
              <a:extLst>
                <a:ext uri="{FF2B5EF4-FFF2-40B4-BE49-F238E27FC236}">
                  <a16:creationId xmlns:a16="http://schemas.microsoft.com/office/drawing/2014/main" id="{B4CEBCA2-3AE5-D269-6564-ED9350E6436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59" name="Vrije vorm 58">
              <a:extLst>
                <a:ext uri="{FF2B5EF4-FFF2-40B4-BE49-F238E27FC236}">
                  <a16:creationId xmlns:a16="http://schemas.microsoft.com/office/drawing/2014/main" id="{B3F2B598-27B2-6E39-EF5C-90FE492A88F3}"/>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60" name="Vrije vorm 59">
              <a:extLst>
                <a:ext uri="{FF2B5EF4-FFF2-40B4-BE49-F238E27FC236}">
                  <a16:creationId xmlns:a16="http://schemas.microsoft.com/office/drawing/2014/main" id="{F0EEB757-C40E-3A7C-7EA4-321257854ED6}"/>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61" name="Vrije vorm 60">
              <a:extLst>
                <a:ext uri="{FF2B5EF4-FFF2-40B4-BE49-F238E27FC236}">
                  <a16:creationId xmlns:a16="http://schemas.microsoft.com/office/drawing/2014/main" id="{DF4E3D32-A7E5-C5EB-A56D-27F61B1AF724}"/>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62" name="Vrije vorm 61">
              <a:extLst>
                <a:ext uri="{FF2B5EF4-FFF2-40B4-BE49-F238E27FC236}">
                  <a16:creationId xmlns:a16="http://schemas.microsoft.com/office/drawing/2014/main" id="{7C78819C-F95F-1DB4-D596-CA0E84FC7F9F}"/>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63" name="Vrije vorm 62">
              <a:extLst>
                <a:ext uri="{FF2B5EF4-FFF2-40B4-BE49-F238E27FC236}">
                  <a16:creationId xmlns:a16="http://schemas.microsoft.com/office/drawing/2014/main" id="{D4D22AB5-2194-763B-9D28-26774316842D}"/>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64" name="Vrije vorm 63">
              <a:extLst>
                <a:ext uri="{FF2B5EF4-FFF2-40B4-BE49-F238E27FC236}">
                  <a16:creationId xmlns:a16="http://schemas.microsoft.com/office/drawing/2014/main" id="{7E6F465A-8DD2-A198-6EC9-D06FD5E38E48}"/>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65" name="Vrije vorm 64">
              <a:extLst>
                <a:ext uri="{FF2B5EF4-FFF2-40B4-BE49-F238E27FC236}">
                  <a16:creationId xmlns:a16="http://schemas.microsoft.com/office/drawing/2014/main" id="{AD984525-5B69-6C8B-5CC3-C384D6CB94CC}"/>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66" name="Vrije vorm 65">
              <a:extLst>
                <a:ext uri="{FF2B5EF4-FFF2-40B4-BE49-F238E27FC236}">
                  <a16:creationId xmlns:a16="http://schemas.microsoft.com/office/drawing/2014/main" id="{F4B02C1E-7555-114F-8E23-B260259F3395}"/>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67" name="Vrije vorm 66">
              <a:extLst>
                <a:ext uri="{FF2B5EF4-FFF2-40B4-BE49-F238E27FC236}">
                  <a16:creationId xmlns:a16="http://schemas.microsoft.com/office/drawing/2014/main" id="{3A1017EF-FA11-9BE1-7C76-46EA9583B969}"/>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1280526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kst en beeld slide basic B">
    <p:bg>
      <p:bgPr>
        <a:solidFill>
          <a:srgbClr val="C7E8F1"/>
        </a:solidFill>
        <a:effectLst/>
      </p:bgPr>
    </p:bg>
    <p:spTree>
      <p:nvGrpSpPr>
        <p:cNvPr id="1" name=""/>
        <p:cNvGrpSpPr/>
        <p:nvPr/>
      </p:nvGrpSpPr>
      <p:grpSpPr>
        <a:xfrm>
          <a:off x="0" y="0"/>
          <a:ext cx="0" cy="0"/>
          <a:chOff x="0" y="0"/>
          <a:chExt cx="0" cy="0"/>
        </a:xfrm>
      </p:grpSpPr>
      <p:sp>
        <p:nvSpPr>
          <p:cNvPr id="28" name="Vrije vorm 27">
            <a:extLst>
              <a:ext uri="{FF2B5EF4-FFF2-40B4-BE49-F238E27FC236}">
                <a16:creationId xmlns:a16="http://schemas.microsoft.com/office/drawing/2014/main" id="{8F95FB96-058A-27B1-D674-9DA6F48B6204}"/>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9" name="Tijdelijke aanduiding voor afbeelding 8">
            <a:extLst>
              <a:ext uri="{FF2B5EF4-FFF2-40B4-BE49-F238E27FC236}">
                <a16:creationId xmlns:a16="http://schemas.microsoft.com/office/drawing/2014/main" id="{FA42F229-9366-9D65-AACA-D12796C0F505}"/>
              </a:ext>
            </a:extLst>
          </p:cNvPr>
          <p:cNvSpPr>
            <a:spLocks noGrp="1"/>
          </p:cNvSpPr>
          <p:nvPr>
            <p:ph type="pic" sz="quarter" idx="13" hasCustomPrompt="1"/>
          </p:nvPr>
        </p:nvSpPr>
        <p:spPr>
          <a:xfrm>
            <a:off x="0" y="-1"/>
            <a:ext cx="5648824" cy="6858001"/>
          </a:xfrm>
          <a:custGeom>
            <a:avLst/>
            <a:gdLst>
              <a:gd name="connsiteX0" fmla="*/ 6928 w 5648824"/>
              <a:gd name="connsiteY0" fmla="*/ 0 h 6858001"/>
              <a:gd name="connsiteX1" fmla="*/ 2526164 w 5648824"/>
              <a:gd name="connsiteY1" fmla="*/ 0 h 6858001"/>
              <a:gd name="connsiteX2" fmla="*/ 3456708 w 5648824"/>
              <a:gd name="connsiteY2" fmla="*/ 0 h 6858001"/>
              <a:gd name="connsiteX3" fmla="*/ 5640965 w 5648824"/>
              <a:gd name="connsiteY3" fmla="*/ 0 h 6858001"/>
              <a:gd name="connsiteX4" fmla="*/ 5645728 w 5648824"/>
              <a:gd name="connsiteY4" fmla="*/ 0 h 6858001"/>
              <a:gd name="connsiteX5" fmla="*/ 5648824 w 5648824"/>
              <a:gd name="connsiteY5" fmla="*/ 0 h 6858001"/>
              <a:gd name="connsiteX6" fmla="*/ 5648824 w 5648824"/>
              <a:gd name="connsiteY6" fmla="*/ 1 h 6858001"/>
              <a:gd name="connsiteX7" fmla="*/ 5648824 w 5648824"/>
              <a:gd name="connsiteY7" fmla="*/ 2216728 h 6858001"/>
              <a:gd name="connsiteX8" fmla="*/ 5648824 w 5648824"/>
              <a:gd name="connsiteY8" fmla="*/ 3246121 h 6858001"/>
              <a:gd name="connsiteX9" fmla="*/ 5645728 w 5648824"/>
              <a:gd name="connsiteY9" fmla="*/ 3246121 h 6858001"/>
              <a:gd name="connsiteX10" fmla="*/ 5645728 w 5648824"/>
              <a:gd name="connsiteY10" fmla="*/ 6858001 h 6858001"/>
              <a:gd name="connsiteX11" fmla="*/ 6928 w 5648824"/>
              <a:gd name="connsiteY11" fmla="*/ 6858001 h 6858001"/>
              <a:gd name="connsiteX12" fmla="*/ 6928 w 5648824"/>
              <a:gd name="connsiteY12" fmla="*/ 3692679 h 6858001"/>
              <a:gd name="connsiteX13" fmla="*/ 0 w 5648824"/>
              <a:gd name="connsiteY13" fmla="*/ 3672638 h 6858001"/>
              <a:gd name="connsiteX14" fmla="*/ 0 w 5648824"/>
              <a:gd name="connsiteY14" fmla="*/ 1 h 6858001"/>
              <a:gd name="connsiteX15" fmla="*/ 6928 w 5648824"/>
              <a:gd name="connsiteY15"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48824" h="6858001">
                <a:moveTo>
                  <a:pt x="6928" y="0"/>
                </a:moveTo>
                <a:lnTo>
                  <a:pt x="2526164" y="0"/>
                </a:lnTo>
                <a:lnTo>
                  <a:pt x="3456708" y="0"/>
                </a:lnTo>
                <a:lnTo>
                  <a:pt x="5640965" y="0"/>
                </a:lnTo>
                <a:lnTo>
                  <a:pt x="5645728" y="0"/>
                </a:lnTo>
                <a:lnTo>
                  <a:pt x="5648824" y="0"/>
                </a:lnTo>
                <a:lnTo>
                  <a:pt x="5648824" y="1"/>
                </a:lnTo>
                <a:lnTo>
                  <a:pt x="5648824" y="2216728"/>
                </a:lnTo>
                <a:lnTo>
                  <a:pt x="5648824" y="3246121"/>
                </a:lnTo>
                <a:lnTo>
                  <a:pt x="5645728" y="3246121"/>
                </a:lnTo>
                <a:lnTo>
                  <a:pt x="5645728" y="6858001"/>
                </a:lnTo>
                <a:lnTo>
                  <a:pt x="6928" y="6858001"/>
                </a:lnTo>
                <a:lnTo>
                  <a:pt x="6928" y="3692679"/>
                </a:lnTo>
                <a:lnTo>
                  <a:pt x="0" y="3672638"/>
                </a:lnTo>
                <a:lnTo>
                  <a:pt x="0" y="1"/>
                </a:lnTo>
                <a:lnTo>
                  <a:pt x="6928" y="1"/>
                </a:lnTo>
                <a:close/>
              </a:path>
            </a:pathLst>
          </a:custGeom>
          <a:solidFill>
            <a:srgbClr val="EFF2F5"/>
          </a:solidFill>
        </p:spPr>
        <p:txBody>
          <a:bodyPr wrap="square" anchor="ctr">
            <a:noAutofit/>
          </a:bodyPr>
          <a:lstStyle>
            <a:lvl1pPr marL="0" indent="0" algn="ctr">
              <a:buNone/>
              <a:defRPr sz="1200">
                <a:solidFill>
                  <a:schemeClr val="bg1"/>
                </a:solidFill>
              </a:defRPr>
            </a:lvl1pPr>
          </a:lstStyle>
          <a:p>
            <a:r>
              <a:rPr lang="nl-NL"/>
              <a:t>Voeg hier een afbeelding toe</a:t>
            </a:r>
          </a:p>
        </p:txBody>
      </p:sp>
      <p:sp>
        <p:nvSpPr>
          <p:cNvPr id="101" name="Vrije vorm 100">
            <a:extLst>
              <a:ext uri="{FF2B5EF4-FFF2-40B4-BE49-F238E27FC236}">
                <a16:creationId xmlns:a16="http://schemas.microsoft.com/office/drawing/2014/main" id="{E9FDC7F3-4971-DD2A-9A83-8816475A4011}"/>
              </a:ext>
            </a:extLst>
          </p:cNvPr>
          <p:cNvSpPr/>
          <p:nvPr userDrawn="1"/>
        </p:nvSpPr>
        <p:spPr>
          <a:xfrm>
            <a:off x="10327738" y="4353791"/>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6236635" y="792530"/>
            <a:ext cx="4666800" cy="555068"/>
          </a:xfrm>
        </p:spPr>
        <p:txBody>
          <a:bodyPr>
            <a:normAutofit/>
          </a:bodyPr>
          <a:lstStyle>
            <a:lvl1pPr>
              <a:defRPr sz="2800" b="1">
                <a:solidFill>
                  <a:srgbClr val="002B5F"/>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F0ED79D4-77A5-1140-05B7-DA9AF2FD66D3}"/>
              </a:ext>
            </a:extLst>
          </p:cNvPr>
          <p:cNvSpPr>
            <a:spLocks noGrp="1"/>
          </p:cNvSpPr>
          <p:nvPr>
            <p:ph sz="half" idx="1"/>
          </p:nvPr>
        </p:nvSpPr>
        <p:spPr>
          <a:xfrm>
            <a:off x="6213671" y="1664066"/>
            <a:ext cx="4689764"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3" name="Vrije vorm 102">
            <a:extLst>
              <a:ext uri="{FF2B5EF4-FFF2-40B4-BE49-F238E27FC236}">
                <a16:creationId xmlns:a16="http://schemas.microsoft.com/office/drawing/2014/main" id="{29C92FC2-60FE-AC07-73E0-F055F9CE34A7}"/>
              </a:ext>
            </a:extLst>
          </p:cNvPr>
          <p:cNvSpPr/>
          <p:nvPr userDrawn="1"/>
        </p:nvSpPr>
        <p:spPr>
          <a:xfrm>
            <a:off x="5021770" y="-878032"/>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55" name="Graphic 10">
            <a:extLst>
              <a:ext uri="{FF2B5EF4-FFF2-40B4-BE49-F238E27FC236}">
                <a16:creationId xmlns:a16="http://schemas.microsoft.com/office/drawing/2014/main" id="{4B9C35A5-759B-2B9B-42BB-D65C14903E19}"/>
              </a:ext>
            </a:extLst>
          </p:cNvPr>
          <p:cNvGrpSpPr/>
          <p:nvPr userDrawn="1"/>
        </p:nvGrpSpPr>
        <p:grpSpPr>
          <a:xfrm>
            <a:off x="10903435" y="299495"/>
            <a:ext cx="1082602" cy="448481"/>
            <a:chOff x="10903435" y="299495"/>
            <a:chExt cx="1082602" cy="448481"/>
          </a:xfrm>
        </p:grpSpPr>
        <p:sp>
          <p:nvSpPr>
            <p:cNvPr id="56" name="Vrije vorm 55">
              <a:extLst>
                <a:ext uri="{FF2B5EF4-FFF2-40B4-BE49-F238E27FC236}">
                  <a16:creationId xmlns:a16="http://schemas.microsoft.com/office/drawing/2014/main" id="{E50A9EA1-E08C-FC9A-B2FC-C569A83F9EDB}"/>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57" name="Vrije vorm 56">
              <a:extLst>
                <a:ext uri="{FF2B5EF4-FFF2-40B4-BE49-F238E27FC236}">
                  <a16:creationId xmlns:a16="http://schemas.microsoft.com/office/drawing/2014/main" id="{9E73DC94-A893-612E-3E08-DC802E505F1C}"/>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58" name="Vrije vorm 57">
              <a:extLst>
                <a:ext uri="{FF2B5EF4-FFF2-40B4-BE49-F238E27FC236}">
                  <a16:creationId xmlns:a16="http://schemas.microsoft.com/office/drawing/2014/main" id="{B4CEBCA2-3AE5-D269-6564-ED9350E6436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59" name="Vrije vorm 58">
              <a:extLst>
                <a:ext uri="{FF2B5EF4-FFF2-40B4-BE49-F238E27FC236}">
                  <a16:creationId xmlns:a16="http://schemas.microsoft.com/office/drawing/2014/main" id="{B3F2B598-27B2-6E39-EF5C-90FE492A88F3}"/>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60" name="Vrije vorm 59">
              <a:extLst>
                <a:ext uri="{FF2B5EF4-FFF2-40B4-BE49-F238E27FC236}">
                  <a16:creationId xmlns:a16="http://schemas.microsoft.com/office/drawing/2014/main" id="{F0EEB757-C40E-3A7C-7EA4-321257854ED6}"/>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61" name="Vrije vorm 60">
              <a:extLst>
                <a:ext uri="{FF2B5EF4-FFF2-40B4-BE49-F238E27FC236}">
                  <a16:creationId xmlns:a16="http://schemas.microsoft.com/office/drawing/2014/main" id="{DF4E3D32-A7E5-C5EB-A56D-27F61B1AF724}"/>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62" name="Vrije vorm 61">
              <a:extLst>
                <a:ext uri="{FF2B5EF4-FFF2-40B4-BE49-F238E27FC236}">
                  <a16:creationId xmlns:a16="http://schemas.microsoft.com/office/drawing/2014/main" id="{7C78819C-F95F-1DB4-D596-CA0E84FC7F9F}"/>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63" name="Vrije vorm 62">
              <a:extLst>
                <a:ext uri="{FF2B5EF4-FFF2-40B4-BE49-F238E27FC236}">
                  <a16:creationId xmlns:a16="http://schemas.microsoft.com/office/drawing/2014/main" id="{D4D22AB5-2194-763B-9D28-26774316842D}"/>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64" name="Vrije vorm 63">
              <a:extLst>
                <a:ext uri="{FF2B5EF4-FFF2-40B4-BE49-F238E27FC236}">
                  <a16:creationId xmlns:a16="http://schemas.microsoft.com/office/drawing/2014/main" id="{7E6F465A-8DD2-A198-6EC9-D06FD5E38E48}"/>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65" name="Vrije vorm 64">
              <a:extLst>
                <a:ext uri="{FF2B5EF4-FFF2-40B4-BE49-F238E27FC236}">
                  <a16:creationId xmlns:a16="http://schemas.microsoft.com/office/drawing/2014/main" id="{AD984525-5B69-6C8B-5CC3-C384D6CB94CC}"/>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66" name="Vrije vorm 65">
              <a:extLst>
                <a:ext uri="{FF2B5EF4-FFF2-40B4-BE49-F238E27FC236}">
                  <a16:creationId xmlns:a16="http://schemas.microsoft.com/office/drawing/2014/main" id="{F4B02C1E-7555-114F-8E23-B260259F3395}"/>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67" name="Vrije vorm 66">
              <a:extLst>
                <a:ext uri="{FF2B5EF4-FFF2-40B4-BE49-F238E27FC236}">
                  <a16:creationId xmlns:a16="http://schemas.microsoft.com/office/drawing/2014/main" id="{3A1017EF-FA11-9BE1-7C76-46EA9583B969}"/>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15041539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kst en beeld slide basic C">
    <p:bg>
      <p:bgPr>
        <a:solidFill>
          <a:schemeClr val="bg1"/>
        </a:solidFill>
        <a:effectLst/>
      </p:bgPr>
    </p:bg>
    <p:spTree>
      <p:nvGrpSpPr>
        <p:cNvPr id="1" name=""/>
        <p:cNvGrpSpPr/>
        <p:nvPr/>
      </p:nvGrpSpPr>
      <p:grpSpPr>
        <a:xfrm>
          <a:off x="0" y="0"/>
          <a:ext cx="0" cy="0"/>
          <a:chOff x="0" y="0"/>
          <a:chExt cx="0" cy="0"/>
        </a:xfrm>
      </p:grpSpPr>
      <p:sp>
        <p:nvSpPr>
          <p:cNvPr id="28" name="Vrije vorm 27">
            <a:extLst>
              <a:ext uri="{FF2B5EF4-FFF2-40B4-BE49-F238E27FC236}">
                <a16:creationId xmlns:a16="http://schemas.microsoft.com/office/drawing/2014/main" id="{8F95FB96-058A-27B1-D674-9DA6F48B6204}"/>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5" name="Tijdelijke aanduiding voor afbeelding 24">
            <a:extLst>
              <a:ext uri="{FF2B5EF4-FFF2-40B4-BE49-F238E27FC236}">
                <a16:creationId xmlns:a16="http://schemas.microsoft.com/office/drawing/2014/main" id="{DDA2CDC9-205A-EC99-A8B8-9F2D8B54B3FB}"/>
              </a:ext>
            </a:extLst>
          </p:cNvPr>
          <p:cNvSpPr>
            <a:spLocks noGrp="1"/>
          </p:cNvSpPr>
          <p:nvPr>
            <p:ph type="pic" sz="quarter" idx="13" hasCustomPrompt="1"/>
          </p:nvPr>
        </p:nvSpPr>
        <p:spPr>
          <a:xfrm>
            <a:off x="6546273" y="-1"/>
            <a:ext cx="5648824" cy="6858001"/>
          </a:xfrm>
          <a:custGeom>
            <a:avLst/>
            <a:gdLst>
              <a:gd name="connsiteX0" fmla="*/ 4066993 w 5648824"/>
              <a:gd name="connsiteY0" fmla="*/ 1 h 6858001"/>
              <a:gd name="connsiteX1" fmla="*/ 4060220 w 5648824"/>
              <a:gd name="connsiteY1" fmla="*/ 27738 h 6858001"/>
              <a:gd name="connsiteX2" fmla="*/ 4047385 w 5648824"/>
              <a:gd name="connsiteY2" fmla="*/ 187852 h 6858001"/>
              <a:gd name="connsiteX3" fmla="*/ 5041742 w 5648824"/>
              <a:gd name="connsiteY3" fmla="*/ 1182990 h 6858001"/>
              <a:gd name="connsiteX4" fmla="*/ 5513479 w 5648824"/>
              <a:gd name="connsiteY4" fmla="*/ 1064025 h 6858001"/>
              <a:gd name="connsiteX5" fmla="*/ 5645726 w 5648824"/>
              <a:gd name="connsiteY5" fmla="*/ 978236 h 6858001"/>
              <a:gd name="connsiteX6" fmla="*/ 5645726 w 5648824"/>
              <a:gd name="connsiteY6" fmla="*/ 1 h 6858001"/>
              <a:gd name="connsiteX7" fmla="*/ 6928 w 5648824"/>
              <a:gd name="connsiteY7" fmla="*/ 0 h 6858001"/>
              <a:gd name="connsiteX8" fmla="*/ 3456708 w 5648824"/>
              <a:gd name="connsiteY8" fmla="*/ 0 h 6858001"/>
              <a:gd name="connsiteX9" fmla="*/ 5640965 w 5648824"/>
              <a:gd name="connsiteY9" fmla="*/ 0 h 6858001"/>
              <a:gd name="connsiteX10" fmla="*/ 5645728 w 5648824"/>
              <a:gd name="connsiteY10" fmla="*/ 0 h 6858001"/>
              <a:gd name="connsiteX11" fmla="*/ 5645728 w 5648824"/>
              <a:gd name="connsiteY11" fmla="*/ 1 h 6858001"/>
              <a:gd name="connsiteX12" fmla="*/ 5648824 w 5648824"/>
              <a:gd name="connsiteY12" fmla="*/ 1 h 6858001"/>
              <a:gd name="connsiteX13" fmla="*/ 5648824 w 5648824"/>
              <a:gd name="connsiteY13" fmla="*/ 2216728 h 6858001"/>
              <a:gd name="connsiteX14" fmla="*/ 5645728 w 5648824"/>
              <a:gd name="connsiteY14" fmla="*/ 2216728 h 6858001"/>
              <a:gd name="connsiteX15" fmla="*/ 5645728 w 5648824"/>
              <a:gd name="connsiteY15" fmla="*/ 6858001 h 6858001"/>
              <a:gd name="connsiteX16" fmla="*/ 6928 w 5648824"/>
              <a:gd name="connsiteY16" fmla="*/ 6858001 h 6858001"/>
              <a:gd name="connsiteX17" fmla="*/ 6928 w 5648824"/>
              <a:gd name="connsiteY17" fmla="*/ 3692679 h 6858001"/>
              <a:gd name="connsiteX18" fmla="*/ 0 w 5648824"/>
              <a:gd name="connsiteY18" fmla="*/ 3672638 h 6858001"/>
              <a:gd name="connsiteX19" fmla="*/ 0 w 5648824"/>
              <a:gd name="connsiteY19" fmla="*/ 1 h 6858001"/>
              <a:gd name="connsiteX20" fmla="*/ 6928 w 5648824"/>
              <a:gd name="connsiteY20"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8824" h="6858001">
                <a:moveTo>
                  <a:pt x="4066993" y="1"/>
                </a:moveTo>
                <a:lnTo>
                  <a:pt x="4060220" y="27738"/>
                </a:lnTo>
                <a:cubicBezTo>
                  <a:pt x="4051779" y="79861"/>
                  <a:pt x="4047385" y="133342"/>
                  <a:pt x="4047385" y="187852"/>
                </a:cubicBezTo>
                <a:cubicBezTo>
                  <a:pt x="4047385" y="737452"/>
                  <a:pt x="4492574" y="1182990"/>
                  <a:pt x="5041742" y="1182990"/>
                </a:cubicBezTo>
                <a:cubicBezTo>
                  <a:pt x="5212467" y="1182990"/>
                  <a:pt x="5373117" y="1139900"/>
                  <a:pt x="5513479" y="1064025"/>
                </a:cubicBezTo>
                <a:lnTo>
                  <a:pt x="5645726" y="978236"/>
                </a:lnTo>
                <a:lnTo>
                  <a:pt x="5645726" y="1"/>
                </a:lnTo>
                <a:close/>
                <a:moveTo>
                  <a:pt x="6928" y="0"/>
                </a:moveTo>
                <a:lnTo>
                  <a:pt x="3456708" y="0"/>
                </a:lnTo>
                <a:lnTo>
                  <a:pt x="5640965" y="0"/>
                </a:lnTo>
                <a:lnTo>
                  <a:pt x="5645728" y="0"/>
                </a:lnTo>
                <a:lnTo>
                  <a:pt x="5645728" y="1"/>
                </a:lnTo>
                <a:lnTo>
                  <a:pt x="5648824" y="1"/>
                </a:lnTo>
                <a:lnTo>
                  <a:pt x="5648824" y="2216728"/>
                </a:lnTo>
                <a:lnTo>
                  <a:pt x="5645728" y="2216728"/>
                </a:lnTo>
                <a:lnTo>
                  <a:pt x="5645728" y="6858001"/>
                </a:lnTo>
                <a:lnTo>
                  <a:pt x="6928" y="6858001"/>
                </a:lnTo>
                <a:lnTo>
                  <a:pt x="6928" y="3692679"/>
                </a:lnTo>
                <a:lnTo>
                  <a:pt x="0" y="3672638"/>
                </a:lnTo>
                <a:lnTo>
                  <a:pt x="0" y="1"/>
                </a:lnTo>
                <a:lnTo>
                  <a:pt x="6928" y="1"/>
                </a:lnTo>
                <a:close/>
              </a:path>
            </a:pathLst>
          </a:custGeom>
          <a:solidFill>
            <a:srgbClr val="EFF2F5"/>
          </a:solidFill>
        </p:spPr>
        <p:txBody>
          <a:bodyPr wrap="square" anchor="ctr">
            <a:noAutofit/>
          </a:bodyPr>
          <a:lstStyle>
            <a:lvl1pPr marL="0" indent="0" algn="ctr">
              <a:buNone/>
              <a:defRPr sz="1400">
                <a:solidFill>
                  <a:schemeClr val="bg1"/>
                </a:solidFill>
              </a:defRPr>
            </a:lvl1pPr>
          </a:lstStyle>
          <a:p>
            <a:r>
              <a:rPr lang="nl-NL"/>
              <a:t>Voeg hier een afbeelding toe</a:t>
            </a:r>
          </a:p>
        </p:txBody>
      </p:sp>
      <p:sp>
        <p:nvSpPr>
          <p:cNvPr id="101" name="Vrije vorm 100">
            <a:extLst>
              <a:ext uri="{FF2B5EF4-FFF2-40B4-BE49-F238E27FC236}">
                <a16:creationId xmlns:a16="http://schemas.microsoft.com/office/drawing/2014/main" id="{E9FDC7F3-4971-DD2A-9A83-8816475A4011}"/>
              </a:ext>
            </a:extLst>
          </p:cNvPr>
          <p:cNvSpPr/>
          <p:nvPr userDrawn="1"/>
        </p:nvSpPr>
        <p:spPr>
          <a:xfrm>
            <a:off x="-1309255" y="4365666"/>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4666800" cy="555068"/>
          </a:xfrm>
        </p:spPr>
        <p:txBody>
          <a:bodyPr>
            <a:normAutofit/>
          </a:bodyPr>
          <a:lstStyle>
            <a:lvl1pPr>
              <a:defRPr sz="2800" b="1">
                <a:solidFill>
                  <a:srgbClr val="002B5F"/>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F0ED79D4-77A5-1140-05B7-DA9AF2FD66D3}"/>
              </a:ext>
            </a:extLst>
          </p:cNvPr>
          <p:cNvSpPr>
            <a:spLocks noGrp="1"/>
          </p:cNvSpPr>
          <p:nvPr>
            <p:ph sz="half" idx="1"/>
          </p:nvPr>
        </p:nvSpPr>
        <p:spPr>
          <a:xfrm>
            <a:off x="1330036" y="1664066"/>
            <a:ext cx="4689764"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103" name="Vrije vorm 102">
            <a:extLst>
              <a:ext uri="{FF2B5EF4-FFF2-40B4-BE49-F238E27FC236}">
                <a16:creationId xmlns:a16="http://schemas.microsoft.com/office/drawing/2014/main" id="{29C92FC2-60FE-AC07-73E0-F055F9CE34A7}"/>
              </a:ext>
            </a:extLst>
          </p:cNvPr>
          <p:cNvSpPr/>
          <p:nvPr userDrawn="1"/>
        </p:nvSpPr>
        <p:spPr>
          <a:xfrm>
            <a:off x="4001667" y="-866157"/>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55" name="Graphic 10">
            <a:extLst>
              <a:ext uri="{FF2B5EF4-FFF2-40B4-BE49-F238E27FC236}">
                <a16:creationId xmlns:a16="http://schemas.microsoft.com/office/drawing/2014/main" id="{4B9C35A5-759B-2B9B-42BB-D65C14903E19}"/>
              </a:ext>
            </a:extLst>
          </p:cNvPr>
          <p:cNvGrpSpPr/>
          <p:nvPr userDrawn="1"/>
        </p:nvGrpSpPr>
        <p:grpSpPr>
          <a:xfrm>
            <a:off x="10903435" y="299495"/>
            <a:ext cx="1082602" cy="448481"/>
            <a:chOff x="10903435" y="299495"/>
            <a:chExt cx="1082602" cy="448481"/>
          </a:xfrm>
        </p:grpSpPr>
        <p:sp>
          <p:nvSpPr>
            <p:cNvPr id="56" name="Vrije vorm 55">
              <a:extLst>
                <a:ext uri="{FF2B5EF4-FFF2-40B4-BE49-F238E27FC236}">
                  <a16:creationId xmlns:a16="http://schemas.microsoft.com/office/drawing/2014/main" id="{E50A9EA1-E08C-FC9A-B2FC-C569A83F9EDB}"/>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57" name="Vrije vorm 56">
              <a:extLst>
                <a:ext uri="{FF2B5EF4-FFF2-40B4-BE49-F238E27FC236}">
                  <a16:creationId xmlns:a16="http://schemas.microsoft.com/office/drawing/2014/main" id="{9E73DC94-A893-612E-3E08-DC802E505F1C}"/>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58" name="Vrije vorm 57">
              <a:extLst>
                <a:ext uri="{FF2B5EF4-FFF2-40B4-BE49-F238E27FC236}">
                  <a16:creationId xmlns:a16="http://schemas.microsoft.com/office/drawing/2014/main" id="{B4CEBCA2-3AE5-D269-6564-ED9350E6436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59" name="Vrije vorm 58">
              <a:extLst>
                <a:ext uri="{FF2B5EF4-FFF2-40B4-BE49-F238E27FC236}">
                  <a16:creationId xmlns:a16="http://schemas.microsoft.com/office/drawing/2014/main" id="{B3F2B598-27B2-6E39-EF5C-90FE492A88F3}"/>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60" name="Vrije vorm 59">
              <a:extLst>
                <a:ext uri="{FF2B5EF4-FFF2-40B4-BE49-F238E27FC236}">
                  <a16:creationId xmlns:a16="http://schemas.microsoft.com/office/drawing/2014/main" id="{F0EEB757-C40E-3A7C-7EA4-321257854ED6}"/>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61" name="Vrije vorm 60">
              <a:extLst>
                <a:ext uri="{FF2B5EF4-FFF2-40B4-BE49-F238E27FC236}">
                  <a16:creationId xmlns:a16="http://schemas.microsoft.com/office/drawing/2014/main" id="{DF4E3D32-A7E5-C5EB-A56D-27F61B1AF724}"/>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62" name="Vrije vorm 61">
              <a:extLst>
                <a:ext uri="{FF2B5EF4-FFF2-40B4-BE49-F238E27FC236}">
                  <a16:creationId xmlns:a16="http://schemas.microsoft.com/office/drawing/2014/main" id="{7C78819C-F95F-1DB4-D596-CA0E84FC7F9F}"/>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63" name="Vrije vorm 62">
              <a:extLst>
                <a:ext uri="{FF2B5EF4-FFF2-40B4-BE49-F238E27FC236}">
                  <a16:creationId xmlns:a16="http://schemas.microsoft.com/office/drawing/2014/main" id="{D4D22AB5-2194-763B-9D28-26774316842D}"/>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64" name="Vrije vorm 63">
              <a:extLst>
                <a:ext uri="{FF2B5EF4-FFF2-40B4-BE49-F238E27FC236}">
                  <a16:creationId xmlns:a16="http://schemas.microsoft.com/office/drawing/2014/main" id="{7E6F465A-8DD2-A198-6EC9-D06FD5E38E48}"/>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65" name="Vrije vorm 64">
              <a:extLst>
                <a:ext uri="{FF2B5EF4-FFF2-40B4-BE49-F238E27FC236}">
                  <a16:creationId xmlns:a16="http://schemas.microsoft.com/office/drawing/2014/main" id="{AD984525-5B69-6C8B-5CC3-C384D6CB94CC}"/>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66" name="Vrije vorm 65">
              <a:extLst>
                <a:ext uri="{FF2B5EF4-FFF2-40B4-BE49-F238E27FC236}">
                  <a16:creationId xmlns:a16="http://schemas.microsoft.com/office/drawing/2014/main" id="{F4B02C1E-7555-114F-8E23-B260259F3395}"/>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67" name="Vrije vorm 66">
              <a:extLst>
                <a:ext uri="{FF2B5EF4-FFF2-40B4-BE49-F238E27FC236}">
                  <a16:creationId xmlns:a16="http://schemas.microsoft.com/office/drawing/2014/main" id="{3A1017EF-FA11-9BE1-7C76-46EA9583B969}"/>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35337450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kst en beeld slide basic D">
    <p:bg>
      <p:bgPr>
        <a:solidFill>
          <a:schemeClr val="bg1"/>
        </a:solidFill>
        <a:effectLst/>
      </p:bgPr>
    </p:bg>
    <p:spTree>
      <p:nvGrpSpPr>
        <p:cNvPr id="1" name=""/>
        <p:cNvGrpSpPr/>
        <p:nvPr/>
      </p:nvGrpSpPr>
      <p:grpSpPr>
        <a:xfrm>
          <a:off x="0" y="0"/>
          <a:ext cx="0" cy="0"/>
          <a:chOff x="0" y="0"/>
          <a:chExt cx="0" cy="0"/>
        </a:xfrm>
      </p:grpSpPr>
      <p:sp>
        <p:nvSpPr>
          <p:cNvPr id="103" name="Vrije vorm 102">
            <a:extLst>
              <a:ext uri="{FF2B5EF4-FFF2-40B4-BE49-F238E27FC236}">
                <a16:creationId xmlns:a16="http://schemas.microsoft.com/office/drawing/2014/main" id="{29C92FC2-60FE-AC07-73E0-F055F9CE34A7}"/>
              </a:ext>
            </a:extLst>
          </p:cNvPr>
          <p:cNvSpPr/>
          <p:nvPr userDrawn="1"/>
        </p:nvSpPr>
        <p:spPr>
          <a:xfrm>
            <a:off x="5077334" y="-878032"/>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8" name="Vrije vorm 27">
            <a:extLst>
              <a:ext uri="{FF2B5EF4-FFF2-40B4-BE49-F238E27FC236}">
                <a16:creationId xmlns:a16="http://schemas.microsoft.com/office/drawing/2014/main" id="{8F95FB96-058A-27B1-D674-9DA6F48B6204}"/>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9" name="Tijdelijke aanduiding voor afbeelding 8">
            <a:extLst>
              <a:ext uri="{FF2B5EF4-FFF2-40B4-BE49-F238E27FC236}">
                <a16:creationId xmlns:a16="http://schemas.microsoft.com/office/drawing/2014/main" id="{FA42F229-9366-9D65-AACA-D12796C0F505}"/>
              </a:ext>
            </a:extLst>
          </p:cNvPr>
          <p:cNvSpPr>
            <a:spLocks noGrp="1"/>
          </p:cNvSpPr>
          <p:nvPr>
            <p:ph type="pic" sz="quarter" idx="13" hasCustomPrompt="1"/>
          </p:nvPr>
        </p:nvSpPr>
        <p:spPr>
          <a:xfrm>
            <a:off x="0" y="-1"/>
            <a:ext cx="5648824" cy="6858001"/>
          </a:xfrm>
          <a:custGeom>
            <a:avLst/>
            <a:gdLst>
              <a:gd name="connsiteX0" fmla="*/ 6928 w 5648824"/>
              <a:gd name="connsiteY0" fmla="*/ 0 h 6858001"/>
              <a:gd name="connsiteX1" fmla="*/ 2526164 w 5648824"/>
              <a:gd name="connsiteY1" fmla="*/ 0 h 6858001"/>
              <a:gd name="connsiteX2" fmla="*/ 3456708 w 5648824"/>
              <a:gd name="connsiteY2" fmla="*/ 0 h 6858001"/>
              <a:gd name="connsiteX3" fmla="*/ 5640965 w 5648824"/>
              <a:gd name="connsiteY3" fmla="*/ 0 h 6858001"/>
              <a:gd name="connsiteX4" fmla="*/ 5645728 w 5648824"/>
              <a:gd name="connsiteY4" fmla="*/ 0 h 6858001"/>
              <a:gd name="connsiteX5" fmla="*/ 5648824 w 5648824"/>
              <a:gd name="connsiteY5" fmla="*/ 0 h 6858001"/>
              <a:gd name="connsiteX6" fmla="*/ 5648824 w 5648824"/>
              <a:gd name="connsiteY6" fmla="*/ 1 h 6858001"/>
              <a:gd name="connsiteX7" fmla="*/ 5648824 w 5648824"/>
              <a:gd name="connsiteY7" fmla="*/ 2216728 h 6858001"/>
              <a:gd name="connsiteX8" fmla="*/ 5648824 w 5648824"/>
              <a:gd name="connsiteY8" fmla="*/ 3246121 h 6858001"/>
              <a:gd name="connsiteX9" fmla="*/ 5645728 w 5648824"/>
              <a:gd name="connsiteY9" fmla="*/ 3246121 h 6858001"/>
              <a:gd name="connsiteX10" fmla="*/ 5645728 w 5648824"/>
              <a:gd name="connsiteY10" fmla="*/ 6858001 h 6858001"/>
              <a:gd name="connsiteX11" fmla="*/ 6928 w 5648824"/>
              <a:gd name="connsiteY11" fmla="*/ 6858001 h 6858001"/>
              <a:gd name="connsiteX12" fmla="*/ 6928 w 5648824"/>
              <a:gd name="connsiteY12" fmla="*/ 3692679 h 6858001"/>
              <a:gd name="connsiteX13" fmla="*/ 0 w 5648824"/>
              <a:gd name="connsiteY13" fmla="*/ 3672638 h 6858001"/>
              <a:gd name="connsiteX14" fmla="*/ 0 w 5648824"/>
              <a:gd name="connsiteY14" fmla="*/ 1 h 6858001"/>
              <a:gd name="connsiteX15" fmla="*/ 6928 w 5648824"/>
              <a:gd name="connsiteY15"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48824" h="6858001">
                <a:moveTo>
                  <a:pt x="6928" y="0"/>
                </a:moveTo>
                <a:lnTo>
                  <a:pt x="2526164" y="0"/>
                </a:lnTo>
                <a:lnTo>
                  <a:pt x="3456708" y="0"/>
                </a:lnTo>
                <a:lnTo>
                  <a:pt x="5640965" y="0"/>
                </a:lnTo>
                <a:lnTo>
                  <a:pt x="5645728" y="0"/>
                </a:lnTo>
                <a:lnTo>
                  <a:pt x="5648824" y="0"/>
                </a:lnTo>
                <a:lnTo>
                  <a:pt x="5648824" y="1"/>
                </a:lnTo>
                <a:lnTo>
                  <a:pt x="5648824" y="2216728"/>
                </a:lnTo>
                <a:lnTo>
                  <a:pt x="5648824" y="3246121"/>
                </a:lnTo>
                <a:lnTo>
                  <a:pt x="5645728" y="3246121"/>
                </a:lnTo>
                <a:lnTo>
                  <a:pt x="5645728" y="6858001"/>
                </a:lnTo>
                <a:lnTo>
                  <a:pt x="6928" y="6858001"/>
                </a:lnTo>
                <a:lnTo>
                  <a:pt x="6928" y="3692679"/>
                </a:lnTo>
                <a:lnTo>
                  <a:pt x="0" y="3672638"/>
                </a:lnTo>
                <a:lnTo>
                  <a:pt x="0" y="1"/>
                </a:lnTo>
                <a:lnTo>
                  <a:pt x="6928" y="1"/>
                </a:lnTo>
                <a:close/>
              </a:path>
            </a:pathLst>
          </a:custGeom>
          <a:solidFill>
            <a:srgbClr val="EFF2F5"/>
          </a:solidFill>
        </p:spPr>
        <p:txBody>
          <a:bodyPr wrap="square" anchor="ctr">
            <a:noAutofit/>
          </a:bodyPr>
          <a:lstStyle>
            <a:lvl1pPr marL="0" indent="0" algn="ctr">
              <a:buNone/>
              <a:defRPr sz="1200">
                <a:solidFill>
                  <a:schemeClr val="bg1"/>
                </a:solidFill>
              </a:defRPr>
            </a:lvl1pPr>
          </a:lstStyle>
          <a:p>
            <a:r>
              <a:rPr lang="nl-NL"/>
              <a:t>Voeg hier een afbeelding toe</a:t>
            </a:r>
          </a:p>
        </p:txBody>
      </p:sp>
      <p:sp>
        <p:nvSpPr>
          <p:cNvPr id="101" name="Vrije vorm 100">
            <a:extLst>
              <a:ext uri="{FF2B5EF4-FFF2-40B4-BE49-F238E27FC236}">
                <a16:creationId xmlns:a16="http://schemas.microsoft.com/office/drawing/2014/main" id="{E9FDC7F3-4971-DD2A-9A83-8816475A4011}"/>
              </a:ext>
            </a:extLst>
          </p:cNvPr>
          <p:cNvSpPr/>
          <p:nvPr userDrawn="1"/>
        </p:nvSpPr>
        <p:spPr>
          <a:xfrm>
            <a:off x="10327738" y="4353791"/>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6236635" y="792530"/>
            <a:ext cx="4666800" cy="555068"/>
          </a:xfrm>
        </p:spPr>
        <p:txBody>
          <a:bodyPr>
            <a:normAutofit/>
          </a:bodyPr>
          <a:lstStyle>
            <a:lvl1pPr>
              <a:defRPr sz="2800" b="1">
                <a:solidFill>
                  <a:srgbClr val="002B5F"/>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F0ED79D4-77A5-1140-05B7-DA9AF2FD66D3}"/>
              </a:ext>
            </a:extLst>
          </p:cNvPr>
          <p:cNvSpPr>
            <a:spLocks noGrp="1"/>
          </p:cNvSpPr>
          <p:nvPr>
            <p:ph sz="half" idx="1"/>
          </p:nvPr>
        </p:nvSpPr>
        <p:spPr>
          <a:xfrm>
            <a:off x="6213671" y="1664066"/>
            <a:ext cx="4689764"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grpSp>
        <p:nvGrpSpPr>
          <p:cNvPr id="55" name="Graphic 10">
            <a:extLst>
              <a:ext uri="{FF2B5EF4-FFF2-40B4-BE49-F238E27FC236}">
                <a16:creationId xmlns:a16="http://schemas.microsoft.com/office/drawing/2014/main" id="{4B9C35A5-759B-2B9B-42BB-D65C14903E19}"/>
              </a:ext>
            </a:extLst>
          </p:cNvPr>
          <p:cNvGrpSpPr/>
          <p:nvPr userDrawn="1"/>
        </p:nvGrpSpPr>
        <p:grpSpPr>
          <a:xfrm>
            <a:off x="10903435" y="299495"/>
            <a:ext cx="1082602" cy="448481"/>
            <a:chOff x="10903435" y="299495"/>
            <a:chExt cx="1082602" cy="448481"/>
          </a:xfrm>
        </p:grpSpPr>
        <p:sp>
          <p:nvSpPr>
            <p:cNvPr id="56" name="Vrije vorm 55">
              <a:extLst>
                <a:ext uri="{FF2B5EF4-FFF2-40B4-BE49-F238E27FC236}">
                  <a16:creationId xmlns:a16="http://schemas.microsoft.com/office/drawing/2014/main" id="{E50A9EA1-E08C-FC9A-B2FC-C569A83F9EDB}"/>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57" name="Vrije vorm 56">
              <a:extLst>
                <a:ext uri="{FF2B5EF4-FFF2-40B4-BE49-F238E27FC236}">
                  <a16:creationId xmlns:a16="http://schemas.microsoft.com/office/drawing/2014/main" id="{9E73DC94-A893-612E-3E08-DC802E505F1C}"/>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58" name="Vrije vorm 57">
              <a:extLst>
                <a:ext uri="{FF2B5EF4-FFF2-40B4-BE49-F238E27FC236}">
                  <a16:creationId xmlns:a16="http://schemas.microsoft.com/office/drawing/2014/main" id="{B4CEBCA2-3AE5-D269-6564-ED9350E6436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59" name="Vrije vorm 58">
              <a:extLst>
                <a:ext uri="{FF2B5EF4-FFF2-40B4-BE49-F238E27FC236}">
                  <a16:creationId xmlns:a16="http://schemas.microsoft.com/office/drawing/2014/main" id="{B3F2B598-27B2-6E39-EF5C-90FE492A88F3}"/>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60" name="Vrije vorm 59">
              <a:extLst>
                <a:ext uri="{FF2B5EF4-FFF2-40B4-BE49-F238E27FC236}">
                  <a16:creationId xmlns:a16="http://schemas.microsoft.com/office/drawing/2014/main" id="{F0EEB757-C40E-3A7C-7EA4-321257854ED6}"/>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61" name="Vrije vorm 60">
              <a:extLst>
                <a:ext uri="{FF2B5EF4-FFF2-40B4-BE49-F238E27FC236}">
                  <a16:creationId xmlns:a16="http://schemas.microsoft.com/office/drawing/2014/main" id="{DF4E3D32-A7E5-C5EB-A56D-27F61B1AF724}"/>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62" name="Vrije vorm 61">
              <a:extLst>
                <a:ext uri="{FF2B5EF4-FFF2-40B4-BE49-F238E27FC236}">
                  <a16:creationId xmlns:a16="http://schemas.microsoft.com/office/drawing/2014/main" id="{7C78819C-F95F-1DB4-D596-CA0E84FC7F9F}"/>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63" name="Vrije vorm 62">
              <a:extLst>
                <a:ext uri="{FF2B5EF4-FFF2-40B4-BE49-F238E27FC236}">
                  <a16:creationId xmlns:a16="http://schemas.microsoft.com/office/drawing/2014/main" id="{D4D22AB5-2194-763B-9D28-26774316842D}"/>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64" name="Vrije vorm 63">
              <a:extLst>
                <a:ext uri="{FF2B5EF4-FFF2-40B4-BE49-F238E27FC236}">
                  <a16:creationId xmlns:a16="http://schemas.microsoft.com/office/drawing/2014/main" id="{7E6F465A-8DD2-A198-6EC9-D06FD5E38E48}"/>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65" name="Vrije vorm 64">
              <a:extLst>
                <a:ext uri="{FF2B5EF4-FFF2-40B4-BE49-F238E27FC236}">
                  <a16:creationId xmlns:a16="http://schemas.microsoft.com/office/drawing/2014/main" id="{AD984525-5B69-6C8B-5CC3-C384D6CB94CC}"/>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66" name="Vrije vorm 65">
              <a:extLst>
                <a:ext uri="{FF2B5EF4-FFF2-40B4-BE49-F238E27FC236}">
                  <a16:creationId xmlns:a16="http://schemas.microsoft.com/office/drawing/2014/main" id="{F4B02C1E-7555-114F-8E23-B260259F3395}"/>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67" name="Vrije vorm 66">
              <a:extLst>
                <a:ext uri="{FF2B5EF4-FFF2-40B4-BE49-F238E27FC236}">
                  <a16:creationId xmlns:a16="http://schemas.microsoft.com/office/drawing/2014/main" id="{3A1017EF-FA11-9BE1-7C76-46EA9583B969}"/>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10131867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co slide A">
    <p:bg>
      <p:bgPr>
        <a:solidFill>
          <a:srgbClr val="C7E8F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11" name="Vrije vorm 10">
            <a:extLst>
              <a:ext uri="{FF2B5EF4-FFF2-40B4-BE49-F238E27FC236}">
                <a16:creationId xmlns:a16="http://schemas.microsoft.com/office/drawing/2014/main" id="{F5AC79FB-3904-C6F5-37F3-D357A9502233}"/>
              </a:ext>
            </a:extLst>
          </p:cNvPr>
          <p:cNvSpPr/>
          <p:nvPr userDrawn="1"/>
        </p:nvSpPr>
        <p:spPr>
          <a:xfrm>
            <a:off x="-1272887" y="4882794"/>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2" name="Vrije vorm 11">
            <a:extLst>
              <a:ext uri="{FF2B5EF4-FFF2-40B4-BE49-F238E27FC236}">
                <a16:creationId xmlns:a16="http://schemas.microsoft.com/office/drawing/2014/main" id="{BA0CCB69-264F-4C43-602B-70AEFD117A55}"/>
              </a:ext>
            </a:extLst>
          </p:cNvPr>
          <p:cNvSpPr/>
          <p:nvPr userDrawn="1"/>
        </p:nvSpPr>
        <p:spPr>
          <a:xfrm>
            <a:off x="4173835" y="-98729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3" name="Vrije vorm 12">
            <a:extLst>
              <a:ext uri="{FF2B5EF4-FFF2-40B4-BE49-F238E27FC236}">
                <a16:creationId xmlns:a16="http://schemas.microsoft.com/office/drawing/2014/main" id="{94AAE606-E546-3957-A816-DE2162F260A7}"/>
              </a:ext>
            </a:extLst>
          </p:cNvPr>
          <p:cNvSpPr/>
          <p:nvPr userDrawn="1"/>
        </p:nvSpPr>
        <p:spPr>
          <a:xfrm>
            <a:off x="11601479" y="3894005"/>
            <a:ext cx="1271001" cy="1271001"/>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Vrije vorm 2">
            <a:extLst>
              <a:ext uri="{FF2B5EF4-FFF2-40B4-BE49-F238E27FC236}">
                <a16:creationId xmlns:a16="http://schemas.microsoft.com/office/drawing/2014/main" id="{42FFDCDF-D515-74E6-AD02-DABF2BEA827E}"/>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4" name="Graphic 10">
            <a:extLst>
              <a:ext uri="{FF2B5EF4-FFF2-40B4-BE49-F238E27FC236}">
                <a16:creationId xmlns:a16="http://schemas.microsoft.com/office/drawing/2014/main" id="{D75D5894-594D-7234-35F6-0356317B33A6}"/>
              </a:ext>
            </a:extLst>
          </p:cNvPr>
          <p:cNvGrpSpPr/>
          <p:nvPr userDrawn="1"/>
        </p:nvGrpSpPr>
        <p:grpSpPr>
          <a:xfrm>
            <a:off x="10903435" y="299495"/>
            <a:ext cx="1082602" cy="448481"/>
            <a:chOff x="10903435" y="299495"/>
            <a:chExt cx="1082602" cy="448481"/>
          </a:xfrm>
        </p:grpSpPr>
        <p:sp>
          <p:nvSpPr>
            <p:cNvPr id="10" name="Vrije vorm 9">
              <a:extLst>
                <a:ext uri="{FF2B5EF4-FFF2-40B4-BE49-F238E27FC236}">
                  <a16:creationId xmlns:a16="http://schemas.microsoft.com/office/drawing/2014/main" id="{646BBE9C-FC77-F824-7C6C-79AC44BD06E8}"/>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50EC3C4-4D78-667D-CD4D-3A3B15DB445E}"/>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F58ECE37-E9E0-872A-AC34-83B9D872C1A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2ABE7D88-6889-E15C-D553-662AC4C554DA}"/>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B42AA8DD-B65F-90CC-806E-6F09E5AC3175}"/>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6071F953-5182-452F-5930-806AD18C3C3D}"/>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9EC14986-0696-C564-55C7-C925AC8A75D5}"/>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3E858564-AD44-8D67-A653-B538039ECF28}"/>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05F2512-0236-7127-94D6-35062776DC33}"/>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C276683F-56C4-03FE-1ACA-82FB30ADA559}"/>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ECFD4896-88D4-51DF-CA86-ED9DFDA444CD}"/>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78B475E7-AC32-5AA2-2FC4-3AB262F18C14}"/>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2001785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co slide B">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11" name="Vrije vorm 10">
            <a:extLst>
              <a:ext uri="{FF2B5EF4-FFF2-40B4-BE49-F238E27FC236}">
                <a16:creationId xmlns:a16="http://schemas.microsoft.com/office/drawing/2014/main" id="{F5AC79FB-3904-C6F5-37F3-D357A9502233}"/>
              </a:ext>
            </a:extLst>
          </p:cNvPr>
          <p:cNvSpPr/>
          <p:nvPr userDrawn="1"/>
        </p:nvSpPr>
        <p:spPr>
          <a:xfrm>
            <a:off x="-1272887" y="4882794"/>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2" name="Vrije vorm 11">
            <a:extLst>
              <a:ext uri="{FF2B5EF4-FFF2-40B4-BE49-F238E27FC236}">
                <a16:creationId xmlns:a16="http://schemas.microsoft.com/office/drawing/2014/main" id="{BA0CCB69-264F-4C43-602B-70AEFD117A55}"/>
              </a:ext>
            </a:extLst>
          </p:cNvPr>
          <p:cNvSpPr/>
          <p:nvPr userDrawn="1"/>
        </p:nvSpPr>
        <p:spPr>
          <a:xfrm>
            <a:off x="4173835" y="-98729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3" name="Vrije vorm 12">
            <a:extLst>
              <a:ext uri="{FF2B5EF4-FFF2-40B4-BE49-F238E27FC236}">
                <a16:creationId xmlns:a16="http://schemas.microsoft.com/office/drawing/2014/main" id="{94AAE606-E546-3957-A816-DE2162F260A7}"/>
              </a:ext>
            </a:extLst>
          </p:cNvPr>
          <p:cNvSpPr/>
          <p:nvPr userDrawn="1"/>
        </p:nvSpPr>
        <p:spPr>
          <a:xfrm>
            <a:off x="11601479" y="3894005"/>
            <a:ext cx="1271001" cy="1271001"/>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Vrije vorm 2">
            <a:extLst>
              <a:ext uri="{FF2B5EF4-FFF2-40B4-BE49-F238E27FC236}">
                <a16:creationId xmlns:a16="http://schemas.microsoft.com/office/drawing/2014/main" id="{42FFDCDF-D515-74E6-AD02-DABF2BEA827E}"/>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4" name="Graphic 10">
            <a:extLst>
              <a:ext uri="{FF2B5EF4-FFF2-40B4-BE49-F238E27FC236}">
                <a16:creationId xmlns:a16="http://schemas.microsoft.com/office/drawing/2014/main" id="{D75D5894-594D-7234-35F6-0356317B33A6}"/>
              </a:ext>
            </a:extLst>
          </p:cNvPr>
          <p:cNvGrpSpPr/>
          <p:nvPr userDrawn="1"/>
        </p:nvGrpSpPr>
        <p:grpSpPr>
          <a:xfrm>
            <a:off x="10903435" y="299495"/>
            <a:ext cx="1082602" cy="448481"/>
            <a:chOff x="10903435" y="299495"/>
            <a:chExt cx="1082602" cy="448481"/>
          </a:xfrm>
        </p:grpSpPr>
        <p:sp>
          <p:nvSpPr>
            <p:cNvPr id="10" name="Vrije vorm 9">
              <a:extLst>
                <a:ext uri="{FF2B5EF4-FFF2-40B4-BE49-F238E27FC236}">
                  <a16:creationId xmlns:a16="http://schemas.microsoft.com/office/drawing/2014/main" id="{646BBE9C-FC77-F824-7C6C-79AC44BD06E8}"/>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50EC3C4-4D78-667D-CD4D-3A3B15DB445E}"/>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F58ECE37-E9E0-872A-AC34-83B9D872C1A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2ABE7D88-6889-E15C-D553-662AC4C554DA}"/>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B42AA8DD-B65F-90CC-806E-6F09E5AC3175}"/>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6071F953-5182-452F-5930-806AD18C3C3D}"/>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9EC14986-0696-C564-55C7-C925AC8A75D5}"/>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3E858564-AD44-8D67-A653-B538039ECF28}"/>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05F2512-0236-7127-94D6-35062776DC33}"/>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C276683F-56C4-03FE-1ACA-82FB30ADA559}"/>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ECFD4896-88D4-51DF-CA86-ED9DFDA444CD}"/>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78B475E7-AC32-5AA2-2FC4-3AB262F18C14}"/>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grpSp>
        <p:nvGrpSpPr>
          <p:cNvPr id="5" name="Graphic 4">
            <a:extLst>
              <a:ext uri="{FF2B5EF4-FFF2-40B4-BE49-F238E27FC236}">
                <a16:creationId xmlns:a16="http://schemas.microsoft.com/office/drawing/2014/main" id="{F44DBF1A-3234-A00F-C5BF-83FE5F2E8C99}"/>
              </a:ext>
            </a:extLst>
          </p:cNvPr>
          <p:cNvGrpSpPr/>
          <p:nvPr userDrawn="1"/>
        </p:nvGrpSpPr>
        <p:grpSpPr>
          <a:xfrm>
            <a:off x="9254386" y="3936106"/>
            <a:ext cx="2937613" cy="2921888"/>
            <a:chOff x="4627033" y="3936106"/>
            <a:chExt cx="2937613" cy="2921888"/>
          </a:xfrm>
        </p:grpSpPr>
        <p:sp>
          <p:nvSpPr>
            <p:cNvPr id="6" name="Vrije vorm 5">
              <a:extLst>
                <a:ext uri="{FF2B5EF4-FFF2-40B4-BE49-F238E27FC236}">
                  <a16:creationId xmlns:a16="http://schemas.microsoft.com/office/drawing/2014/main" id="{EC395AD8-7BE1-E586-41CA-1B5017E0D7FD}"/>
                </a:ext>
              </a:extLst>
            </p:cNvPr>
            <p:cNvSpPr/>
            <p:nvPr/>
          </p:nvSpPr>
          <p:spPr>
            <a:xfrm>
              <a:off x="5517041" y="3936106"/>
              <a:ext cx="2047605" cy="2921888"/>
            </a:xfrm>
            <a:custGeom>
              <a:avLst/>
              <a:gdLst>
                <a:gd name="connsiteX0" fmla="*/ 2047606 w 2047605"/>
                <a:gd name="connsiteY0" fmla="*/ 0 h 2921888"/>
                <a:gd name="connsiteX1" fmla="*/ 2047606 w 2047605"/>
                <a:gd name="connsiteY1" fmla="*/ 2921889 h 2921888"/>
                <a:gd name="connsiteX2" fmla="*/ 0 w 2047605"/>
                <a:gd name="connsiteY2" fmla="*/ 2921889 h 2921888"/>
                <a:gd name="connsiteX3" fmla="*/ 1258808 w 2047605"/>
                <a:gd name="connsiteY3" fmla="*/ 2069084 h 2921888"/>
                <a:gd name="connsiteX4" fmla="*/ 2047606 w 2047605"/>
                <a:gd name="connsiteY4" fmla="*/ 0 h 2921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7605" h="2921888">
                  <a:moveTo>
                    <a:pt x="2047606" y="0"/>
                  </a:moveTo>
                  <a:lnTo>
                    <a:pt x="2047606" y="2921889"/>
                  </a:lnTo>
                  <a:lnTo>
                    <a:pt x="0" y="2921889"/>
                  </a:lnTo>
                  <a:cubicBezTo>
                    <a:pt x="488282" y="2745041"/>
                    <a:pt x="919582" y="2449068"/>
                    <a:pt x="1258808" y="2069084"/>
                  </a:cubicBezTo>
                  <a:cubicBezTo>
                    <a:pt x="1749436" y="1519682"/>
                    <a:pt x="2047606" y="794703"/>
                    <a:pt x="2047606" y="0"/>
                  </a:cubicBezTo>
                  <a:close/>
                </a:path>
              </a:pathLst>
            </a:custGeom>
            <a:solidFill>
              <a:srgbClr val="C7E8F1"/>
            </a:solidFill>
            <a:ln w="6336"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50FF3314-00EB-B979-24D6-99CE9A97E63C}"/>
                </a:ext>
              </a:extLst>
            </p:cNvPr>
            <p:cNvSpPr/>
            <p:nvPr/>
          </p:nvSpPr>
          <p:spPr>
            <a:xfrm>
              <a:off x="4627033" y="5955964"/>
              <a:ext cx="2205115" cy="902030"/>
            </a:xfrm>
            <a:custGeom>
              <a:avLst/>
              <a:gdLst>
                <a:gd name="connsiteX0" fmla="*/ 2152243 w 2205115"/>
                <a:gd name="connsiteY0" fmla="*/ 307417 h 902030"/>
                <a:gd name="connsiteX1" fmla="*/ 1338442 w 2205115"/>
                <a:gd name="connsiteY1" fmla="*/ 902031 h 902030"/>
                <a:gd name="connsiteX2" fmla="*/ 0 w 2205115"/>
                <a:gd name="connsiteY2" fmla="*/ 902031 h 902030"/>
                <a:gd name="connsiteX3" fmla="*/ 969645 w 2205115"/>
                <a:gd name="connsiteY3" fmla="*/ 677621 h 902030"/>
                <a:gd name="connsiteX4" fmla="*/ 1898234 w 2205115"/>
                <a:gd name="connsiteY4" fmla="*/ 52528 h 902030"/>
                <a:gd name="connsiteX5" fmla="*/ 2148817 w 2205115"/>
                <a:gd name="connsiteY5" fmla="*/ 49226 h 902030"/>
                <a:gd name="connsiteX6" fmla="*/ 2152621 w 2205115"/>
                <a:gd name="connsiteY6" fmla="*/ 52909 h 902030"/>
                <a:gd name="connsiteX7" fmla="*/ 2152243 w 2205115"/>
                <a:gd name="connsiteY7" fmla="*/ 307417 h 90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115" h="902030">
                  <a:moveTo>
                    <a:pt x="2152243" y="307417"/>
                  </a:moveTo>
                  <a:cubicBezTo>
                    <a:pt x="1910987" y="548209"/>
                    <a:pt x="1638072" y="747535"/>
                    <a:pt x="1338442" y="902031"/>
                  </a:cubicBezTo>
                  <a:lnTo>
                    <a:pt x="0" y="902031"/>
                  </a:lnTo>
                  <a:cubicBezTo>
                    <a:pt x="335291" y="883426"/>
                    <a:pt x="660749" y="808114"/>
                    <a:pt x="969645" y="677621"/>
                  </a:cubicBezTo>
                  <a:cubicBezTo>
                    <a:pt x="1317311" y="530810"/>
                    <a:pt x="1629697" y="320435"/>
                    <a:pt x="1898234" y="52528"/>
                  </a:cubicBezTo>
                  <a:cubicBezTo>
                    <a:pt x="1967337" y="-16369"/>
                    <a:pt x="2078444" y="-17512"/>
                    <a:pt x="2148817" y="49226"/>
                  </a:cubicBezTo>
                  <a:cubicBezTo>
                    <a:pt x="2150084" y="50433"/>
                    <a:pt x="2151354" y="51639"/>
                    <a:pt x="2152621" y="52909"/>
                  </a:cubicBezTo>
                  <a:cubicBezTo>
                    <a:pt x="2222740" y="123267"/>
                    <a:pt x="2222613" y="237250"/>
                    <a:pt x="2152243" y="307417"/>
                  </a:cubicBezTo>
                  <a:close/>
                </a:path>
              </a:pathLst>
            </a:custGeom>
            <a:solidFill>
              <a:srgbClr val="0065B0"/>
            </a:solidFill>
            <a:ln w="6336" cap="flat">
              <a:noFill/>
              <a:prstDash val="solid"/>
              <a:miter/>
            </a:ln>
          </p:spPr>
          <p:txBody>
            <a:bodyPr rtlCol="0" anchor="ctr"/>
            <a:lstStyle/>
            <a:p>
              <a:endParaRPr lang="nl-NL"/>
            </a:p>
          </p:txBody>
        </p:sp>
      </p:grpSp>
    </p:spTree>
    <p:extLst>
      <p:ext uri="{BB962C8B-B14F-4D97-AF65-F5344CB8AC3E}">
        <p14:creationId xmlns:p14="http://schemas.microsoft.com/office/powerpoint/2010/main" val="3953747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fbeelding A">
    <p:bg>
      <p:bgPr>
        <a:solidFill>
          <a:schemeClr val="bg1"/>
        </a:solidFill>
        <a:effectLst/>
      </p:bgPr>
    </p:bg>
    <p:spTree>
      <p:nvGrpSpPr>
        <p:cNvPr id="1" name=""/>
        <p:cNvGrpSpPr/>
        <p:nvPr/>
      </p:nvGrpSpPr>
      <p:grpSpPr>
        <a:xfrm>
          <a:off x="0" y="0"/>
          <a:ext cx="0" cy="0"/>
          <a:chOff x="0" y="0"/>
          <a:chExt cx="0" cy="0"/>
        </a:xfrm>
      </p:grpSpPr>
      <p:sp>
        <p:nvSpPr>
          <p:cNvPr id="4" name="Tijdelijke aanduiding voor afbeelding 3">
            <a:extLst>
              <a:ext uri="{FF2B5EF4-FFF2-40B4-BE49-F238E27FC236}">
                <a16:creationId xmlns:a16="http://schemas.microsoft.com/office/drawing/2014/main" id="{4B02AC9C-4772-D573-B4E4-B5682445E203}"/>
              </a:ext>
            </a:extLst>
          </p:cNvPr>
          <p:cNvSpPr>
            <a:spLocks noGrp="1"/>
          </p:cNvSpPr>
          <p:nvPr>
            <p:ph type="pic" sz="quarter" idx="14" hasCustomPrompt="1"/>
          </p:nvPr>
        </p:nvSpPr>
        <p:spPr>
          <a:xfrm>
            <a:off x="0" y="1"/>
            <a:ext cx="12192000" cy="6857999"/>
          </a:xfrm>
          <a:custGeom>
            <a:avLst/>
            <a:gdLst>
              <a:gd name="connsiteX0" fmla="*/ 0 w 12192000"/>
              <a:gd name="connsiteY0" fmla="*/ 0 h 6857999"/>
              <a:gd name="connsiteX1" fmla="*/ 10613267 w 12192000"/>
              <a:gd name="connsiteY1" fmla="*/ 0 h 6857999"/>
              <a:gd name="connsiteX2" fmla="*/ 10606494 w 12192000"/>
              <a:gd name="connsiteY2" fmla="*/ 27737 h 6857999"/>
              <a:gd name="connsiteX3" fmla="*/ 10593659 w 12192000"/>
              <a:gd name="connsiteY3" fmla="*/ 187851 h 6857999"/>
              <a:gd name="connsiteX4" fmla="*/ 11588016 w 12192000"/>
              <a:gd name="connsiteY4" fmla="*/ 1182989 h 6857999"/>
              <a:gd name="connsiteX5" fmla="*/ 12059753 w 12192000"/>
              <a:gd name="connsiteY5" fmla="*/ 1064024 h 6857999"/>
              <a:gd name="connsiteX6" fmla="*/ 12192000 w 12192000"/>
              <a:gd name="connsiteY6" fmla="*/ 978235 h 6857999"/>
              <a:gd name="connsiteX7" fmla="*/ 12192000 w 12192000"/>
              <a:gd name="connsiteY7" fmla="*/ 6857999 h 6857999"/>
              <a:gd name="connsiteX8" fmla="*/ 0 w 12192000"/>
              <a:gd name="connsiteY8" fmla="*/ 6857999 h 6857999"/>
              <a:gd name="connsiteX9" fmla="*/ 0 w 12192000"/>
              <a:gd name="connsiteY9" fmla="*/ 1944303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92000" h="6857999">
                <a:moveTo>
                  <a:pt x="0" y="0"/>
                </a:moveTo>
                <a:lnTo>
                  <a:pt x="10613267" y="0"/>
                </a:lnTo>
                <a:lnTo>
                  <a:pt x="10606494" y="27737"/>
                </a:lnTo>
                <a:cubicBezTo>
                  <a:pt x="10598053" y="79860"/>
                  <a:pt x="10593659" y="133341"/>
                  <a:pt x="10593659" y="187851"/>
                </a:cubicBezTo>
                <a:cubicBezTo>
                  <a:pt x="10593659" y="737451"/>
                  <a:pt x="11038848" y="1182989"/>
                  <a:pt x="11588016" y="1182989"/>
                </a:cubicBezTo>
                <a:cubicBezTo>
                  <a:pt x="11758741" y="1182989"/>
                  <a:pt x="11919391" y="1139899"/>
                  <a:pt x="12059753" y="1064024"/>
                </a:cubicBezTo>
                <a:lnTo>
                  <a:pt x="12192000" y="978235"/>
                </a:lnTo>
                <a:lnTo>
                  <a:pt x="12192000" y="6857999"/>
                </a:lnTo>
                <a:lnTo>
                  <a:pt x="0" y="6857999"/>
                </a:lnTo>
                <a:lnTo>
                  <a:pt x="0" y="1944303"/>
                </a:lnTo>
                <a:close/>
              </a:path>
            </a:pathLst>
          </a:custGeom>
          <a:solidFill>
            <a:srgbClr val="EFF2F5"/>
          </a:solidFill>
        </p:spPr>
        <p:txBody>
          <a:bodyPr wrap="square" anchor="ctr">
            <a:noAutofit/>
          </a:bodyPr>
          <a:lstStyle>
            <a:lvl1pPr marL="0" indent="0" algn="ctr">
              <a:buNone/>
              <a:defRPr sz="1400">
                <a:solidFill>
                  <a:schemeClr val="bg1"/>
                </a:solidFill>
              </a:defRPr>
            </a:lvl1pPr>
          </a:lstStyle>
          <a:p>
            <a:r>
              <a:rPr lang="nl-NL"/>
              <a:t>Voeg hier een afbeelding toe</a:t>
            </a:r>
          </a:p>
        </p:txBody>
      </p:sp>
      <p:grpSp>
        <p:nvGrpSpPr>
          <p:cNvPr id="14" name="Graphic 10">
            <a:extLst>
              <a:ext uri="{FF2B5EF4-FFF2-40B4-BE49-F238E27FC236}">
                <a16:creationId xmlns:a16="http://schemas.microsoft.com/office/drawing/2014/main" id="{E8041284-1E97-BCA8-A701-AA2D70C76692}"/>
              </a:ext>
            </a:extLst>
          </p:cNvPr>
          <p:cNvGrpSpPr/>
          <p:nvPr/>
        </p:nvGrpSpPr>
        <p:grpSpPr>
          <a:xfrm>
            <a:off x="10903435" y="299495"/>
            <a:ext cx="1082602" cy="448481"/>
            <a:chOff x="10903435" y="299495"/>
            <a:chExt cx="1082602" cy="448481"/>
          </a:xfrm>
        </p:grpSpPr>
        <p:sp>
          <p:nvSpPr>
            <p:cNvPr id="15" name="Vrije vorm 14">
              <a:extLst>
                <a:ext uri="{FF2B5EF4-FFF2-40B4-BE49-F238E27FC236}">
                  <a16:creationId xmlns:a16="http://schemas.microsoft.com/office/drawing/2014/main" id="{F9DB0AD2-EDA3-77E0-01EE-736911172065}"/>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B5FAB376-E982-5E00-72F4-987B94B5E90D}"/>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83A13DBD-9DAE-599A-95A4-8E289C480A44}"/>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328C8480-65A3-AA4F-069D-F54949B4812E}"/>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23A11697-FB6D-EE40-4982-CDE73B1BF082}"/>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236BB955-34FD-D46A-0F75-79F1D87F2EC3}"/>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29DED808-CBCD-C50E-CD29-DAA8F36B47B6}"/>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8B66273E-FB7A-9553-F33C-60F1DC6700BD}"/>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C21D8FAD-0712-C349-0A0D-82D3CDBBD6FD}"/>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D85A20EA-993B-EB9A-FDEB-225BA53DAF3E}"/>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C9AC791C-33FA-B4AD-1712-6E8162432C79}"/>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B8331E03-8619-661F-9896-8DC25709B36C}"/>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137442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fbeelding C">
    <p:bg>
      <p:bgPr>
        <a:solidFill>
          <a:srgbClr val="C7E8F1"/>
        </a:solidFill>
        <a:effectLst/>
      </p:bgPr>
    </p:bg>
    <p:spTree>
      <p:nvGrpSpPr>
        <p:cNvPr id="1" name=""/>
        <p:cNvGrpSpPr/>
        <p:nvPr/>
      </p:nvGrpSpPr>
      <p:grpSpPr>
        <a:xfrm>
          <a:off x="0" y="0"/>
          <a:ext cx="0" cy="0"/>
          <a:chOff x="0" y="0"/>
          <a:chExt cx="0" cy="0"/>
        </a:xfrm>
      </p:grpSpPr>
      <p:sp>
        <p:nvSpPr>
          <p:cNvPr id="34" name="Vrije vorm 33">
            <a:extLst>
              <a:ext uri="{FF2B5EF4-FFF2-40B4-BE49-F238E27FC236}">
                <a16:creationId xmlns:a16="http://schemas.microsoft.com/office/drawing/2014/main" id="{8896CBEA-97C3-CDA4-3075-9527B35970E0}"/>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14" name="Graphic 10">
            <a:extLst>
              <a:ext uri="{FF2B5EF4-FFF2-40B4-BE49-F238E27FC236}">
                <a16:creationId xmlns:a16="http://schemas.microsoft.com/office/drawing/2014/main" id="{E8041284-1E97-BCA8-A701-AA2D70C76692}"/>
              </a:ext>
            </a:extLst>
          </p:cNvPr>
          <p:cNvGrpSpPr/>
          <p:nvPr/>
        </p:nvGrpSpPr>
        <p:grpSpPr>
          <a:xfrm>
            <a:off x="10903435" y="299495"/>
            <a:ext cx="1082602" cy="448481"/>
            <a:chOff x="10903435" y="299495"/>
            <a:chExt cx="1082602" cy="448481"/>
          </a:xfrm>
        </p:grpSpPr>
        <p:sp>
          <p:nvSpPr>
            <p:cNvPr id="15" name="Vrije vorm 14">
              <a:extLst>
                <a:ext uri="{FF2B5EF4-FFF2-40B4-BE49-F238E27FC236}">
                  <a16:creationId xmlns:a16="http://schemas.microsoft.com/office/drawing/2014/main" id="{F9DB0AD2-EDA3-77E0-01EE-736911172065}"/>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B5FAB376-E982-5E00-72F4-987B94B5E90D}"/>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83A13DBD-9DAE-599A-95A4-8E289C480A44}"/>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328C8480-65A3-AA4F-069D-F54949B4812E}"/>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23A11697-FB6D-EE40-4982-CDE73B1BF082}"/>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236BB955-34FD-D46A-0F75-79F1D87F2EC3}"/>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29DED808-CBCD-C50E-CD29-DAA8F36B47B6}"/>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8B66273E-FB7A-9553-F33C-60F1DC6700BD}"/>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C21D8FAD-0712-C349-0A0D-82D3CDBBD6FD}"/>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D85A20EA-993B-EB9A-FDEB-225BA53DAF3E}"/>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C9AC791C-33FA-B4AD-1712-6E8162432C79}"/>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8" name="Vrije vorm 27">
              <a:extLst>
                <a:ext uri="{FF2B5EF4-FFF2-40B4-BE49-F238E27FC236}">
                  <a16:creationId xmlns:a16="http://schemas.microsoft.com/office/drawing/2014/main" id="{B8331E03-8619-661F-9896-8DC25709B36C}"/>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
        <p:nvSpPr>
          <p:cNvPr id="8" name="Titel 1">
            <a:extLst>
              <a:ext uri="{FF2B5EF4-FFF2-40B4-BE49-F238E27FC236}">
                <a16:creationId xmlns:a16="http://schemas.microsoft.com/office/drawing/2014/main" id="{B3B38153-7246-EDFD-78E3-A16D6A4C713E}"/>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3" name="Tijdelijke aanduiding voor afbeelding 2">
            <a:extLst>
              <a:ext uri="{FF2B5EF4-FFF2-40B4-BE49-F238E27FC236}">
                <a16:creationId xmlns:a16="http://schemas.microsoft.com/office/drawing/2014/main" id="{E4C12BB1-C4D9-8E13-F112-1535A3EF2F9F}"/>
              </a:ext>
            </a:extLst>
          </p:cNvPr>
          <p:cNvSpPr>
            <a:spLocks noGrp="1"/>
          </p:cNvSpPr>
          <p:nvPr>
            <p:ph type="pic" sz="quarter" idx="17" hasCustomPrompt="1"/>
          </p:nvPr>
        </p:nvSpPr>
        <p:spPr>
          <a:xfrm>
            <a:off x="0" y="1764797"/>
            <a:ext cx="12192000" cy="5093203"/>
          </a:xfrm>
          <a:custGeom>
            <a:avLst/>
            <a:gdLst>
              <a:gd name="connsiteX0" fmla="*/ 12192000 w 12192000"/>
              <a:gd name="connsiteY0" fmla="*/ 5093203 h 5093203"/>
              <a:gd name="connsiteX1" fmla="*/ 12191999 w 12192000"/>
              <a:gd name="connsiteY1" fmla="*/ 5093203 h 5093203"/>
              <a:gd name="connsiteX2" fmla="*/ 12191999 w 12192000"/>
              <a:gd name="connsiteY2" fmla="*/ 5093202 h 5093203"/>
              <a:gd name="connsiteX3" fmla="*/ 9254405 w 12192000"/>
              <a:gd name="connsiteY3" fmla="*/ 5093202 h 5093203"/>
              <a:gd name="connsiteX4" fmla="*/ 9254395 w 12192000"/>
              <a:gd name="connsiteY4" fmla="*/ 5093203 h 5093203"/>
              <a:gd name="connsiteX5" fmla="*/ 0 w 12192000"/>
              <a:gd name="connsiteY5" fmla="*/ 5093203 h 5093203"/>
              <a:gd name="connsiteX6" fmla="*/ 0 w 12192000"/>
              <a:gd name="connsiteY6" fmla="*/ 5090281 h 5093203"/>
              <a:gd name="connsiteX7" fmla="*/ 0 w 12192000"/>
              <a:gd name="connsiteY7" fmla="*/ 4206248 h 5093203"/>
              <a:gd name="connsiteX8" fmla="*/ 0 w 12192000"/>
              <a:gd name="connsiteY8" fmla="*/ 3216679 h 5093203"/>
              <a:gd name="connsiteX9" fmla="*/ 0 w 12192000"/>
              <a:gd name="connsiteY9" fmla="*/ 2752446 h 5093203"/>
              <a:gd name="connsiteX10" fmla="*/ 0 w 12192000"/>
              <a:gd name="connsiteY10" fmla="*/ 1762877 h 5093203"/>
              <a:gd name="connsiteX11" fmla="*/ 0 w 12192000"/>
              <a:gd name="connsiteY11" fmla="*/ 1453803 h 5093203"/>
              <a:gd name="connsiteX12" fmla="*/ 0 w 12192000"/>
              <a:gd name="connsiteY12" fmla="*/ 635093 h 5093203"/>
              <a:gd name="connsiteX13" fmla="*/ 0 w 12192000"/>
              <a:gd name="connsiteY13" fmla="*/ 2922 h 5093203"/>
              <a:gd name="connsiteX14" fmla="*/ 0 w 12192000"/>
              <a:gd name="connsiteY14" fmla="*/ 1 h 5093203"/>
              <a:gd name="connsiteX15" fmla="*/ 0 w 12192000"/>
              <a:gd name="connsiteY15" fmla="*/ 0 h 5093203"/>
              <a:gd name="connsiteX16" fmla="*/ 1 w 12192000"/>
              <a:gd name="connsiteY16" fmla="*/ 0 h 5093203"/>
              <a:gd name="connsiteX17" fmla="*/ 1 w 12192000"/>
              <a:gd name="connsiteY17" fmla="*/ 1 h 5093203"/>
              <a:gd name="connsiteX18" fmla="*/ 2937595 w 12192000"/>
              <a:gd name="connsiteY18" fmla="*/ 1 h 5093203"/>
              <a:gd name="connsiteX19" fmla="*/ 2937605 w 12192000"/>
              <a:gd name="connsiteY19" fmla="*/ 0 h 5093203"/>
              <a:gd name="connsiteX20" fmla="*/ 12192000 w 12192000"/>
              <a:gd name="connsiteY20" fmla="*/ 0 h 5093203"/>
              <a:gd name="connsiteX21" fmla="*/ 12192000 w 12192000"/>
              <a:gd name="connsiteY21" fmla="*/ 2922 h 5093203"/>
              <a:gd name="connsiteX22" fmla="*/ 12192000 w 12192000"/>
              <a:gd name="connsiteY22" fmla="*/ 886955 h 5093203"/>
              <a:gd name="connsiteX23" fmla="*/ 12192000 w 12192000"/>
              <a:gd name="connsiteY23" fmla="*/ 1876524 h 5093203"/>
              <a:gd name="connsiteX24" fmla="*/ 12192000 w 12192000"/>
              <a:gd name="connsiteY24" fmla="*/ 2340757 h 5093203"/>
              <a:gd name="connsiteX25" fmla="*/ 12192000 w 12192000"/>
              <a:gd name="connsiteY25" fmla="*/ 3330326 h 5093203"/>
              <a:gd name="connsiteX26" fmla="*/ 12192000 w 12192000"/>
              <a:gd name="connsiteY26" fmla="*/ 3639400 h 5093203"/>
              <a:gd name="connsiteX27" fmla="*/ 12192000 w 12192000"/>
              <a:gd name="connsiteY27" fmla="*/ 4458110 h 5093203"/>
              <a:gd name="connsiteX28" fmla="*/ 12192000 w 12192000"/>
              <a:gd name="connsiteY28" fmla="*/ 5090281 h 5093203"/>
              <a:gd name="connsiteX29" fmla="*/ 12192000 w 12192000"/>
              <a:gd name="connsiteY29" fmla="*/ 5093202 h 5093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12192000" h="5093203">
                <a:moveTo>
                  <a:pt x="12192000" y="5093203"/>
                </a:moveTo>
                <a:lnTo>
                  <a:pt x="12191999" y="5093203"/>
                </a:lnTo>
                <a:lnTo>
                  <a:pt x="12191999" y="5093202"/>
                </a:lnTo>
                <a:lnTo>
                  <a:pt x="9254405" y="5093202"/>
                </a:lnTo>
                <a:lnTo>
                  <a:pt x="9254395" y="5093203"/>
                </a:lnTo>
                <a:lnTo>
                  <a:pt x="0" y="5093203"/>
                </a:lnTo>
                <a:lnTo>
                  <a:pt x="0" y="5090281"/>
                </a:lnTo>
                <a:lnTo>
                  <a:pt x="0" y="4206248"/>
                </a:lnTo>
                <a:lnTo>
                  <a:pt x="0" y="3216679"/>
                </a:lnTo>
                <a:lnTo>
                  <a:pt x="0" y="2752446"/>
                </a:lnTo>
                <a:lnTo>
                  <a:pt x="0" y="1762877"/>
                </a:lnTo>
                <a:lnTo>
                  <a:pt x="0" y="1453803"/>
                </a:lnTo>
                <a:lnTo>
                  <a:pt x="0" y="635093"/>
                </a:lnTo>
                <a:lnTo>
                  <a:pt x="0" y="2922"/>
                </a:lnTo>
                <a:lnTo>
                  <a:pt x="0" y="1"/>
                </a:lnTo>
                <a:lnTo>
                  <a:pt x="0" y="0"/>
                </a:lnTo>
                <a:lnTo>
                  <a:pt x="1" y="0"/>
                </a:lnTo>
                <a:lnTo>
                  <a:pt x="1" y="1"/>
                </a:lnTo>
                <a:lnTo>
                  <a:pt x="2937595" y="1"/>
                </a:lnTo>
                <a:lnTo>
                  <a:pt x="2937605" y="0"/>
                </a:lnTo>
                <a:lnTo>
                  <a:pt x="12192000" y="0"/>
                </a:lnTo>
                <a:lnTo>
                  <a:pt x="12192000" y="2922"/>
                </a:lnTo>
                <a:lnTo>
                  <a:pt x="12192000" y="886955"/>
                </a:lnTo>
                <a:lnTo>
                  <a:pt x="12192000" y="1876524"/>
                </a:lnTo>
                <a:lnTo>
                  <a:pt x="12192000" y="2340757"/>
                </a:lnTo>
                <a:lnTo>
                  <a:pt x="12192000" y="3330326"/>
                </a:lnTo>
                <a:lnTo>
                  <a:pt x="12192000" y="3639400"/>
                </a:lnTo>
                <a:lnTo>
                  <a:pt x="12192000" y="4458110"/>
                </a:lnTo>
                <a:lnTo>
                  <a:pt x="12192000" y="5090281"/>
                </a:lnTo>
                <a:lnTo>
                  <a:pt x="12192000" y="5093202"/>
                </a:lnTo>
                <a:close/>
              </a:path>
            </a:pathLst>
          </a:custGeom>
          <a:solidFill>
            <a:srgbClr val="EFF2F5"/>
          </a:solidFill>
        </p:spPr>
        <p:txBody>
          <a:bodyPr wrap="square" anchor="ctr">
            <a:noAutofit/>
          </a:bodyPr>
          <a:lstStyle>
            <a:lvl1pPr marL="0" indent="0" algn="ctr">
              <a:buNone/>
              <a:defRPr sz="1400">
                <a:solidFill>
                  <a:schemeClr val="bg1"/>
                </a:solidFill>
              </a:defRPr>
            </a:lvl1pPr>
          </a:lstStyle>
          <a:p>
            <a:r>
              <a:rPr lang="nl-NL"/>
              <a:t>Voeg hier een afbeelding toe</a:t>
            </a:r>
          </a:p>
        </p:txBody>
      </p:sp>
    </p:spTree>
    <p:extLst>
      <p:ext uri="{BB962C8B-B14F-4D97-AF65-F5344CB8AC3E}">
        <p14:creationId xmlns:p14="http://schemas.microsoft.com/office/powerpoint/2010/main" val="166508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okken A">
    <p:bg>
      <p:bgPr>
        <a:solidFill>
          <a:srgbClr val="C7E8F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11" name="Vrije vorm 10">
            <a:extLst>
              <a:ext uri="{FF2B5EF4-FFF2-40B4-BE49-F238E27FC236}">
                <a16:creationId xmlns:a16="http://schemas.microsoft.com/office/drawing/2014/main" id="{F5AC79FB-3904-C6F5-37F3-D357A9502233}"/>
              </a:ext>
            </a:extLst>
          </p:cNvPr>
          <p:cNvSpPr/>
          <p:nvPr userDrawn="1"/>
        </p:nvSpPr>
        <p:spPr>
          <a:xfrm>
            <a:off x="-1272887" y="4882794"/>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2" name="Vrije vorm 11">
            <a:extLst>
              <a:ext uri="{FF2B5EF4-FFF2-40B4-BE49-F238E27FC236}">
                <a16:creationId xmlns:a16="http://schemas.microsoft.com/office/drawing/2014/main" id="{BA0CCB69-264F-4C43-602B-70AEFD117A55}"/>
              </a:ext>
            </a:extLst>
          </p:cNvPr>
          <p:cNvSpPr/>
          <p:nvPr userDrawn="1"/>
        </p:nvSpPr>
        <p:spPr>
          <a:xfrm>
            <a:off x="4173835" y="-98729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3" name="Vrije vorm 12">
            <a:extLst>
              <a:ext uri="{FF2B5EF4-FFF2-40B4-BE49-F238E27FC236}">
                <a16:creationId xmlns:a16="http://schemas.microsoft.com/office/drawing/2014/main" id="{94AAE606-E546-3957-A816-DE2162F260A7}"/>
              </a:ext>
            </a:extLst>
          </p:cNvPr>
          <p:cNvSpPr/>
          <p:nvPr userDrawn="1"/>
        </p:nvSpPr>
        <p:spPr>
          <a:xfrm>
            <a:off x="11601479" y="3894005"/>
            <a:ext cx="1271001" cy="1271001"/>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Vrije vorm 2">
            <a:extLst>
              <a:ext uri="{FF2B5EF4-FFF2-40B4-BE49-F238E27FC236}">
                <a16:creationId xmlns:a16="http://schemas.microsoft.com/office/drawing/2014/main" id="{42FFDCDF-D515-74E6-AD02-DABF2BEA827E}"/>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4" name="Graphic 10">
            <a:extLst>
              <a:ext uri="{FF2B5EF4-FFF2-40B4-BE49-F238E27FC236}">
                <a16:creationId xmlns:a16="http://schemas.microsoft.com/office/drawing/2014/main" id="{D75D5894-594D-7234-35F6-0356317B33A6}"/>
              </a:ext>
            </a:extLst>
          </p:cNvPr>
          <p:cNvGrpSpPr/>
          <p:nvPr userDrawn="1"/>
        </p:nvGrpSpPr>
        <p:grpSpPr>
          <a:xfrm>
            <a:off x="10903435" y="299495"/>
            <a:ext cx="1082602" cy="448481"/>
            <a:chOff x="10903435" y="299495"/>
            <a:chExt cx="1082602" cy="448481"/>
          </a:xfrm>
        </p:grpSpPr>
        <p:sp>
          <p:nvSpPr>
            <p:cNvPr id="10" name="Vrije vorm 9">
              <a:extLst>
                <a:ext uri="{FF2B5EF4-FFF2-40B4-BE49-F238E27FC236}">
                  <a16:creationId xmlns:a16="http://schemas.microsoft.com/office/drawing/2014/main" id="{646BBE9C-FC77-F824-7C6C-79AC44BD06E8}"/>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50EC3C4-4D78-667D-CD4D-3A3B15DB445E}"/>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F58ECE37-E9E0-872A-AC34-83B9D872C1A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2ABE7D88-6889-E15C-D553-662AC4C554DA}"/>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B42AA8DD-B65F-90CC-806E-6F09E5AC3175}"/>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6071F953-5182-452F-5930-806AD18C3C3D}"/>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9EC14986-0696-C564-55C7-C925AC8A75D5}"/>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3E858564-AD44-8D67-A653-B538039ECF28}"/>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05F2512-0236-7127-94D6-35062776DC33}"/>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C276683F-56C4-03FE-1ACA-82FB30ADA559}"/>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ECFD4896-88D4-51DF-CA86-ED9DFDA444CD}"/>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78B475E7-AC32-5AA2-2FC4-3AB262F18C14}"/>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
        <p:nvSpPr>
          <p:cNvPr id="8" name="Afgeronde rechthoek 7">
            <a:extLst>
              <a:ext uri="{FF2B5EF4-FFF2-40B4-BE49-F238E27FC236}">
                <a16:creationId xmlns:a16="http://schemas.microsoft.com/office/drawing/2014/main" id="{D34E4750-89DD-78B7-BF88-76A82052A54A}"/>
              </a:ext>
            </a:extLst>
          </p:cNvPr>
          <p:cNvSpPr/>
          <p:nvPr/>
        </p:nvSpPr>
        <p:spPr>
          <a:xfrm>
            <a:off x="727365" y="2385249"/>
            <a:ext cx="3242172" cy="166209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Afgeronde rechthoek 8">
            <a:extLst>
              <a:ext uri="{FF2B5EF4-FFF2-40B4-BE49-F238E27FC236}">
                <a16:creationId xmlns:a16="http://schemas.microsoft.com/office/drawing/2014/main" id="{F867B067-B679-407C-5F3D-C2992BDBA8EC}"/>
              </a:ext>
            </a:extLst>
          </p:cNvPr>
          <p:cNvSpPr/>
          <p:nvPr/>
        </p:nvSpPr>
        <p:spPr>
          <a:xfrm>
            <a:off x="4536294" y="2385249"/>
            <a:ext cx="3242172" cy="166209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Afgeronde rechthoek 24">
            <a:extLst>
              <a:ext uri="{FF2B5EF4-FFF2-40B4-BE49-F238E27FC236}">
                <a16:creationId xmlns:a16="http://schemas.microsoft.com/office/drawing/2014/main" id="{356D5777-28BB-DC0D-80FF-4108439ADE68}"/>
              </a:ext>
            </a:extLst>
          </p:cNvPr>
          <p:cNvSpPr/>
          <p:nvPr/>
        </p:nvSpPr>
        <p:spPr>
          <a:xfrm>
            <a:off x="8345224" y="2385249"/>
            <a:ext cx="3242172" cy="166209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Afgeronde rechthoek 27">
            <a:extLst>
              <a:ext uri="{FF2B5EF4-FFF2-40B4-BE49-F238E27FC236}">
                <a16:creationId xmlns:a16="http://schemas.microsoft.com/office/drawing/2014/main" id="{104B4E2D-C805-C17F-4E6C-3BB9C8638795}"/>
              </a:ext>
            </a:extLst>
          </p:cNvPr>
          <p:cNvSpPr/>
          <p:nvPr userDrawn="1"/>
        </p:nvSpPr>
        <p:spPr>
          <a:xfrm>
            <a:off x="727365" y="4599812"/>
            <a:ext cx="3242172" cy="166209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9" name="Afgeronde rechthoek 28">
            <a:extLst>
              <a:ext uri="{FF2B5EF4-FFF2-40B4-BE49-F238E27FC236}">
                <a16:creationId xmlns:a16="http://schemas.microsoft.com/office/drawing/2014/main" id="{1E10019F-FA1A-43C5-5307-0DFC010E24F9}"/>
              </a:ext>
            </a:extLst>
          </p:cNvPr>
          <p:cNvSpPr/>
          <p:nvPr userDrawn="1"/>
        </p:nvSpPr>
        <p:spPr>
          <a:xfrm>
            <a:off x="4536294" y="4599812"/>
            <a:ext cx="3242172" cy="166209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0" name="Afgeronde rechthoek 29">
            <a:extLst>
              <a:ext uri="{FF2B5EF4-FFF2-40B4-BE49-F238E27FC236}">
                <a16:creationId xmlns:a16="http://schemas.microsoft.com/office/drawing/2014/main" id="{40DA0C41-F965-5D79-AD51-DB859876C3FA}"/>
              </a:ext>
            </a:extLst>
          </p:cNvPr>
          <p:cNvSpPr/>
          <p:nvPr userDrawn="1"/>
        </p:nvSpPr>
        <p:spPr>
          <a:xfrm>
            <a:off x="8345224" y="4599812"/>
            <a:ext cx="3242172" cy="166209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31" name="Tijdelijke aanduiding voor inhoud 2">
            <a:extLst>
              <a:ext uri="{FF2B5EF4-FFF2-40B4-BE49-F238E27FC236}">
                <a16:creationId xmlns:a16="http://schemas.microsoft.com/office/drawing/2014/main" id="{D223FD85-8599-5626-6CB1-35B97C212622}"/>
              </a:ext>
            </a:extLst>
          </p:cNvPr>
          <p:cNvSpPr>
            <a:spLocks noGrp="1"/>
          </p:cNvSpPr>
          <p:nvPr>
            <p:ph sz="half" idx="1"/>
          </p:nvPr>
        </p:nvSpPr>
        <p:spPr>
          <a:xfrm>
            <a:off x="895352" y="2543174"/>
            <a:ext cx="2905125" cy="1322255"/>
          </a:xfrm>
        </p:spPr>
        <p:txBody>
          <a:bodyPr/>
          <a:lstStyle>
            <a:lvl1pPr marL="0" indent="0">
              <a:buClr>
                <a:srgbClr val="DC2215"/>
              </a:buClr>
              <a:buNone/>
              <a:defRPr sz="1600" b="1">
                <a:solidFill>
                  <a:srgbClr val="0065B0"/>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32" name="Tijdelijke aanduiding voor inhoud 2">
            <a:extLst>
              <a:ext uri="{FF2B5EF4-FFF2-40B4-BE49-F238E27FC236}">
                <a16:creationId xmlns:a16="http://schemas.microsoft.com/office/drawing/2014/main" id="{A55ED81A-D86B-397C-5832-6E8AC6D962E0}"/>
              </a:ext>
            </a:extLst>
          </p:cNvPr>
          <p:cNvSpPr>
            <a:spLocks noGrp="1"/>
          </p:cNvSpPr>
          <p:nvPr>
            <p:ph sz="half" idx="10"/>
          </p:nvPr>
        </p:nvSpPr>
        <p:spPr>
          <a:xfrm>
            <a:off x="4704817" y="2543174"/>
            <a:ext cx="2905125" cy="1322255"/>
          </a:xfrm>
        </p:spPr>
        <p:txBody>
          <a:bodyPr/>
          <a:lstStyle>
            <a:lvl1pPr marL="0" indent="0">
              <a:buClr>
                <a:srgbClr val="DC2215"/>
              </a:buClr>
              <a:buNone/>
              <a:defRPr sz="1600" b="1">
                <a:solidFill>
                  <a:srgbClr val="0065B0"/>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33" name="Tijdelijke aanduiding voor inhoud 2">
            <a:extLst>
              <a:ext uri="{FF2B5EF4-FFF2-40B4-BE49-F238E27FC236}">
                <a16:creationId xmlns:a16="http://schemas.microsoft.com/office/drawing/2014/main" id="{D4776992-E182-7CA7-5360-7E4542A1F226}"/>
              </a:ext>
            </a:extLst>
          </p:cNvPr>
          <p:cNvSpPr>
            <a:spLocks noGrp="1"/>
          </p:cNvSpPr>
          <p:nvPr>
            <p:ph sz="half" idx="11"/>
          </p:nvPr>
        </p:nvSpPr>
        <p:spPr>
          <a:xfrm>
            <a:off x="8519580" y="2543174"/>
            <a:ext cx="2905125" cy="1322255"/>
          </a:xfrm>
        </p:spPr>
        <p:txBody>
          <a:bodyPr/>
          <a:lstStyle>
            <a:lvl1pPr marL="0" indent="0">
              <a:buClr>
                <a:srgbClr val="DC2215"/>
              </a:buClr>
              <a:buNone/>
              <a:defRPr sz="1600" b="1">
                <a:solidFill>
                  <a:srgbClr val="0065B0"/>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34" name="Tijdelijke aanduiding voor inhoud 2">
            <a:extLst>
              <a:ext uri="{FF2B5EF4-FFF2-40B4-BE49-F238E27FC236}">
                <a16:creationId xmlns:a16="http://schemas.microsoft.com/office/drawing/2014/main" id="{D9FF75F9-BDD6-F701-1EDA-96AEE7FECCD0}"/>
              </a:ext>
            </a:extLst>
          </p:cNvPr>
          <p:cNvSpPr>
            <a:spLocks noGrp="1"/>
          </p:cNvSpPr>
          <p:nvPr>
            <p:ph sz="half" idx="12"/>
          </p:nvPr>
        </p:nvSpPr>
        <p:spPr>
          <a:xfrm>
            <a:off x="895352" y="4757737"/>
            <a:ext cx="2905125" cy="1322255"/>
          </a:xfrm>
        </p:spPr>
        <p:txBody>
          <a:bodyPr/>
          <a:lstStyle>
            <a:lvl1pPr marL="0" indent="0">
              <a:buClr>
                <a:srgbClr val="DC2215"/>
              </a:buClr>
              <a:buNone/>
              <a:defRPr sz="1600" b="1">
                <a:solidFill>
                  <a:srgbClr val="0065B0"/>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35" name="Tijdelijke aanduiding voor inhoud 2">
            <a:extLst>
              <a:ext uri="{FF2B5EF4-FFF2-40B4-BE49-F238E27FC236}">
                <a16:creationId xmlns:a16="http://schemas.microsoft.com/office/drawing/2014/main" id="{E1902CE8-04FE-D871-D4B6-38863CC407D4}"/>
              </a:ext>
            </a:extLst>
          </p:cNvPr>
          <p:cNvSpPr>
            <a:spLocks noGrp="1"/>
          </p:cNvSpPr>
          <p:nvPr>
            <p:ph sz="half" idx="13"/>
          </p:nvPr>
        </p:nvSpPr>
        <p:spPr>
          <a:xfrm>
            <a:off x="4704817" y="4757737"/>
            <a:ext cx="2905125" cy="1322255"/>
          </a:xfrm>
        </p:spPr>
        <p:txBody>
          <a:bodyPr/>
          <a:lstStyle>
            <a:lvl1pPr marL="0" indent="0">
              <a:buClr>
                <a:srgbClr val="DC2215"/>
              </a:buClr>
              <a:buNone/>
              <a:defRPr sz="1600" b="1">
                <a:solidFill>
                  <a:srgbClr val="0065B0"/>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36" name="Tijdelijke aanduiding voor inhoud 2">
            <a:extLst>
              <a:ext uri="{FF2B5EF4-FFF2-40B4-BE49-F238E27FC236}">
                <a16:creationId xmlns:a16="http://schemas.microsoft.com/office/drawing/2014/main" id="{40C04E13-E54C-7C65-AA71-0CE7EB06B792}"/>
              </a:ext>
            </a:extLst>
          </p:cNvPr>
          <p:cNvSpPr>
            <a:spLocks noGrp="1"/>
          </p:cNvSpPr>
          <p:nvPr>
            <p:ph sz="half" idx="14"/>
          </p:nvPr>
        </p:nvSpPr>
        <p:spPr>
          <a:xfrm>
            <a:off x="8519580" y="4757737"/>
            <a:ext cx="2905125" cy="1322255"/>
          </a:xfrm>
        </p:spPr>
        <p:txBody>
          <a:bodyPr/>
          <a:lstStyle>
            <a:lvl1pPr marL="0" indent="0">
              <a:buClr>
                <a:srgbClr val="DC2215"/>
              </a:buClr>
              <a:buNone/>
              <a:defRPr sz="1600" b="1">
                <a:solidFill>
                  <a:srgbClr val="0065B0"/>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Tree>
    <p:extLst>
      <p:ext uri="{BB962C8B-B14F-4D97-AF65-F5344CB8AC3E}">
        <p14:creationId xmlns:p14="http://schemas.microsoft.com/office/powerpoint/2010/main" val="260923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okken B">
    <p:bg>
      <p:bgPr>
        <a:solidFill>
          <a:srgbClr val="C7E8F1"/>
        </a:solidFill>
        <a:effectLst/>
      </p:bgPr>
    </p:bg>
    <p:spTree>
      <p:nvGrpSpPr>
        <p:cNvPr id="1" name=""/>
        <p:cNvGrpSpPr/>
        <p:nvPr/>
      </p:nvGrpSpPr>
      <p:grpSpPr>
        <a:xfrm>
          <a:off x="0" y="0"/>
          <a:ext cx="0" cy="0"/>
          <a:chOff x="0" y="0"/>
          <a:chExt cx="0" cy="0"/>
        </a:xfrm>
      </p:grpSpPr>
      <p:sp>
        <p:nvSpPr>
          <p:cNvPr id="45" name="Afgeronde rechthoek 44">
            <a:extLst>
              <a:ext uri="{FF2B5EF4-FFF2-40B4-BE49-F238E27FC236}">
                <a16:creationId xmlns:a16="http://schemas.microsoft.com/office/drawing/2014/main" id="{55A60523-0595-153E-F6EE-8F6D9E5DAA1F}"/>
              </a:ext>
            </a:extLst>
          </p:cNvPr>
          <p:cNvSpPr/>
          <p:nvPr userDrawn="1"/>
        </p:nvSpPr>
        <p:spPr>
          <a:xfrm>
            <a:off x="727366" y="1785939"/>
            <a:ext cx="2526416" cy="4543424"/>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8" name="Afgeronde rechthoek 57">
            <a:extLst>
              <a:ext uri="{FF2B5EF4-FFF2-40B4-BE49-F238E27FC236}">
                <a16:creationId xmlns:a16="http://schemas.microsoft.com/office/drawing/2014/main" id="{BD6C15B0-AF5E-5119-12C5-8013D03382CC}"/>
              </a:ext>
            </a:extLst>
          </p:cNvPr>
          <p:cNvSpPr/>
          <p:nvPr userDrawn="1"/>
        </p:nvSpPr>
        <p:spPr>
          <a:xfrm>
            <a:off x="727366" y="1785939"/>
            <a:ext cx="2526416" cy="714374"/>
          </a:xfrm>
          <a:prstGeom prst="roundRect">
            <a:avLst>
              <a:gd name="adj" fmla="val 8413"/>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11" name="Vrije vorm 10">
            <a:extLst>
              <a:ext uri="{FF2B5EF4-FFF2-40B4-BE49-F238E27FC236}">
                <a16:creationId xmlns:a16="http://schemas.microsoft.com/office/drawing/2014/main" id="{F5AC79FB-3904-C6F5-37F3-D357A9502233}"/>
              </a:ext>
            </a:extLst>
          </p:cNvPr>
          <p:cNvSpPr/>
          <p:nvPr userDrawn="1"/>
        </p:nvSpPr>
        <p:spPr>
          <a:xfrm>
            <a:off x="-1272887" y="4882794"/>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2" name="Vrije vorm 11">
            <a:extLst>
              <a:ext uri="{FF2B5EF4-FFF2-40B4-BE49-F238E27FC236}">
                <a16:creationId xmlns:a16="http://schemas.microsoft.com/office/drawing/2014/main" id="{BA0CCB69-264F-4C43-602B-70AEFD117A55}"/>
              </a:ext>
            </a:extLst>
          </p:cNvPr>
          <p:cNvSpPr/>
          <p:nvPr userDrawn="1"/>
        </p:nvSpPr>
        <p:spPr>
          <a:xfrm>
            <a:off x="4173835" y="-98729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3" name="Vrije vorm 12">
            <a:extLst>
              <a:ext uri="{FF2B5EF4-FFF2-40B4-BE49-F238E27FC236}">
                <a16:creationId xmlns:a16="http://schemas.microsoft.com/office/drawing/2014/main" id="{94AAE606-E546-3957-A816-DE2162F260A7}"/>
              </a:ext>
            </a:extLst>
          </p:cNvPr>
          <p:cNvSpPr/>
          <p:nvPr userDrawn="1"/>
        </p:nvSpPr>
        <p:spPr>
          <a:xfrm>
            <a:off x="11601479" y="3894005"/>
            <a:ext cx="1271001" cy="1271001"/>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Vrije vorm 2">
            <a:extLst>
              <a:ext uri="{FF2B5EF4-FFF2-40B4-BE49-F238E27FC236}">
                <a16:creationId xmlns:a16="http://schemas.microsoft.com/office/drawing/2014/main" id="{42FFDCDF-D515-74E6-AD02-DABF2BEA827E}"/>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4" name="Graphic 10">
            <a:extLst>
              <a:ext uri="{FF2B5EF4-FFF2-40B4-BE49-F238E27FC236}">
                <a16:creationId xmlns:a16="http://schemas.microsoft.com/office/drawing/2014/main" id="{D75D5894-594D-7234-35F6-0356317B33A6}"/>
              </a:ext>
            </a:extLst>
          </p:cNvPr>
          <p:cNvGrpSpPr/>
          <p:nvPr userDrawn="1"/>
        </p:nvGrpSpPr>
        <p:grpSpPr>
          <a:xfrm>
            <a:off x="10903435" y="299495"/>
            <a:ext cx="1082602" cy="448481"/>
            <a:chOff x="10903435" y="299495"/>
            <a:chExt cx="1082602" cy="448481"/>
          </a:xfrm>
        </p:grpSpPr>
        <p:sp>
          <p:nvSpPr>
            <p:cNvPr id="10" name="Vrije vorm 9">
              <a:extLst>
                <a:ext uri="{FF2B5EF4-FFF2-40B4-BE49-F238E27FC236}">
                  <a16:creationId xmlns:a16="http://schemas.microsoft.com/office/drawing/2014/main" id="{646BBE9C-FC77-F824-7C6C-79AC44BD06E8}"/>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50EC3C4-4D78-667D-CD4D-3A3B15DB445E}"/>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F58ECE37-E9E0-872A-AC34-83B9D872C1A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2ABE7D88-6889-E15C-D553-662AC4C554DA}"/>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B42AA8DD-B65F-90CC-806E-6F09E5AC3175}"/>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6071F953-5182-452F-5930-806AD18C3C3D}"/>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9EC14986-0696-C564-55C7-C925AC8A75D5}"/>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3E858564-AD44-8D67-A653-B538039ECF28}"/>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05F2512-0236-7127-94D6-35062776DC33}"/>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C276683F-56C4-03FE-1ACA-82FB30ADA559}"/>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ECFD4896-88D4-51DF-CA86-ED9DFDA444CD}"/>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78B475E7-AC32-5AA2-2FC4-3AB262F18C14}"/>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
        <p:nvSpPr>
          <p:cNvPr id="31" name="Tijdelijke aanduiding voor inhoud 2">
            <a:extLst>
              <a:ext uri="{FF2B5EF4-FFF2-40B4-BE49-F238E27FC236}">
                <a16:creationId xmlns:a16="http://schemas.microsoft.com/office/drawing/2014/main" id="{D223FD85-8599-5626-6CB1-35B97C212622}"/>
              </a:ext>
            </a:extLst>
          </p:cNvPr>
          <p:cNvSpPr>
            <a:spLocks noGrp="1"/>
          </p:cNvSpPr>
          <p:nvPr>
            <p:ph sz="half" idx="1"/>
          </p:nvPr>
        </p:nvSpPr>
        <p:spPr>
          <a:xfrm>
            <a:off x="895353" y="2743200"/>
            <a:ext cx="2190747" cy="3322269"/>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42" name="Tijdelijke aanduiding voor tekst 41">
            <a:extLst>
              <a:ext uri="{FF2B5EF4-FFF2-40B4-BE49-F238E27FC236}">
                <a16:creationId xmlns:a16="http://schemas.microsoft.com/office/drawing/2014/main" id="{25B6B475-DC85-6402-305A-8B086CA879FA}"/>
              </a:ext>
            </a:extLst>
          </p:cNvPr>
          <p:cNvSpPr>
            <a:spLocks noGrp="1"/>
          </p:cNvSpPr>
          <p:nvPr>
            <p:ph type="body" sz="quarter" idx="12" hasCustomPrompt="1"/>
          </p:nvPr>
        </p:nvSpPr>
        <p:spPr>
          <a:xfrm>
            <a:off x="895351" y="1932477"/>
            <a:ext cx="2190747" cy="459520"/>
          </a:xfrm>
        </p:spPr>
        <p:txBody>
          <a:bodyPr/>
          <a:lstStyle>
            <a:lvl1pPr marL="0" indent="0">
              <a:buNone/>
              <a:defRPr b="1">
                <a:solidFill>
                  <a:schemeClr val="bg1"/>
                </a:solidFill>
              </a:defRPr>
            </a:lvl1pPr>
          </a:lstStyle>
          <a:p>
            <a:pPr lvl="0"/>
            <a:r>
              <a:rPr lang="nl-NL"/>
              <a:t>Titel</a:t>
            </a:r>
          </a:p>
        </p:txBody>
      </p:sp>
      <p:sp>
        <p:nvSpPr>
          <p:cNvPr id="59" name="Afgeronde rechthoek 58">
            <a:extLst>
              <a:ext uri="{FF2B5EF4-FFF2-40B4-BE49-F238E27FC236}">
                <a16:creationId xmlns:a16="http://schemas.microsoft.com/office/drawing/2014/main" id="{8A80724D-D2DB-FC9D-1D04-9FE1A49AF3A0}"/>
              </a:ext>
            </a:extLst>
          </p:cNvPr>
          <p:cNvSpPr/>
          <p:nvPr userDrawn="1"/>
        </p:nvSpPr>
        <p:spPr>
          <a:xfrm>
            <a:off x="3456278" y="1785939"/>
            <a:ext cx="2526416" cy="4543424"/>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0" name="Afgeronde rechthoek 59">
            <a:extLst>
              <a:ext uri="{FF2B5EF4-FFF2-40B4-BE49-F238E27FC236}">
                <a16:creationId xmlns:a16="http://schemas.microsoft.com/office/drawing/2014/main" id="{34A27CE3-1D9A-0680-8BB5-D0CA09E82C2D}"/>
              </a:ext>
            </a:extLst>
          </p:cNvPr>
          <p:cNvSpPr/>
          <p:nvPr userDrawn="1"/>
        </p:nvSpPr>
        <p:spPr>
          <a:xfrm>
            <a:off x="3456278" y="1785939"/>
            <a:ext cx="2526416" cy="714374"/>
          </a:xfrm>
          <a:prstGeom prst="roundRect">
            <a:avLst>
              <a:gd name="adj" fmla="val 8413"/>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1" name="Tijdelijke aanduiding voor inhoud 2">
            <a:extLst>
              <a:ext uri="{FF2B5EF4-FFF2-40B4-BE49-F238E27FC236}">
                <a16:creationId xmlns:a16="http://schemas.microsoft.com/office/drawing/2014/main" id="{7506A83E-CC45-336F-FA83-E8C18046DD47}"/>
              </a:ext>
            </a:extLst>
          </p:cNvPr>
          <p:cNvSpPr>
            <a:spLocks noGrp="1"/>
          </p:cNvSpPr>
          <p:nvPr>
            <p:ph sz="half" idx="13"/>
          </p:nvPr>
        </p:nvSpPr>
        <p:spPr>
          <a:xfrm>
            <a:off x="3624265" y="2743200"/>
            <a:ext cx="2190747" cy="3322269"/>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62" name="Tijdelijke aanduiding voor tekst 41">
            <a:extLst>
              <a:ext uri="{FF2B5EF4-FFF2-40B4-BE49-F238E27FC236}">
                <a16:creationId xmlns:a16="http://schemas.microsoft.com/office/drawing/2014/main" id="{859ADA9A-DEBA-30E7-BC5E-AEA2AF16F953}"/>
              </a:ext>
            </a:extLst>
          </p:cNvPr>
          <p:cNvSpPr>
            <a:spLocks noGrp="1"/>
          </p:cNvSpPr>
          <p:nvPr>
            <p:ph type="body" sz="quarter" idx="14" hasCustomPrompt="1"/>
          </p:nvPr>
        </p:nvSpPr>
        <p:spPr>
          <a:xfrm>
            <a:off x="3624263" y="1932477"/>
            <a:ext cx="2190747" cy="459520"/>
          </a:xfrm>
        </p:spPr>
        <p:txBody>
          <a:bodyPr/>
          <a:lstStyle>
            <a:lvl1pPr marL="0" indent="0">
              <a:buNone/>
              <a:defRPr b="1">
                <a:solidFill>
                  <a:schemeClr val="bg1"/>
                </a:solidFill>
              </a:defRPr>
            </a:lvl1pPr>
          </a:lstStyle>
          <a:p>
            <a:pPr lvl="0"/>
            <a:r>
              <a:rPr lang="nl-NL"/>
              <a:t>Titel</a:t>
            </a:r>
          </a:p>
        </p:txBody>
      </p:sp>
      <p:sp>
        <p:nvSpPr>
          <p:cNvPr id="63" name="Afgeronde rechthoek 62">
            <a:extLst>
              <a:ext uri="{FF2B5EF4-FFF2-40B4-BE49-F238E27FC236}">
                <a16:creationId xmlns:a16="http://schemas.microsoft.com/office/drawing/2014/main" id="{E83E3B1C-2F21-243C-5E15-AEDDF3676E33}"/>
              </a:ext>
            </a:extLst>
          </p:cNvPr>
          <p:cNvSpPr/>
          <p:nvPr userDrawn="1"/>
        </p:nvSpPr>
        <p:spPr>
          <a:xfrm>
            <a:off x="6207666" y="1785939"/>
            <a:ext cx="2526416" cy="4543424"/>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4" name="Afgeronde rechthoek 63">
            <a:extLst>
              <a:ext uri="{FF2B5EF4-FFF2-40B4-BE49-F238E27FC236}">
                <a16:creationId xmlns:a16="http://schemas.microsoft.com/office/drawing/2014/main" id="{914632BD-519B-70A3-E24F-2567B183B8F1}"/>
              </a:ext>
            </a:extLst>
          </p:cNvPr>
          <p:cNvSpPr/>
          <p:nvPr userDrawn="1"/>
        </p:nvSpPr>
        <p:spPr>
          <a:xfrm>
            <a:off x="6207666" y="1785939"/>
            <a:ext cx="2526416" cy="714374"/>
          </a:xfrm>
          <a:prstGeom prst="roundRect">
            <a:avLst>
              <a:gd name="adj" fmla="val 8413"/>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5" name="Tijdelijke aanduiding voor inhoud 2">
            <a:extLst>
              <a:ext uri="{FF2B5EF4-FFF2-40B4-BE49-F238E27FC236}">
                <a16:creationId xmlns:a16="http://schemas.microsoft.com/office/drawing/2014/main" id="{431024C8-2C00-9F2E-F734-2510E13D1C0D}"/>
              </a:ext>
            </a:extLst>
          </p:cNvPr>
          <p:cNvSpPr>
            <a:spLocks noGrp="1"/>
          </p:cNvSpPr>
          <p:nvPr>
            <p:ph sz="half" idx="15"/>
          </p:nvPr>
        </p:nvSpPr>
        <p:spPr>
          <a:xfrm>
            <a:off x="6375653" y="2743200"/>
            <a:ext cx="2190747" cy="3322269"/>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66" name="Tijdelijke aanduiding voor tekst 41">
            <a:extLst>
              <a:ext uri="{FF2B5EF4-FFF2-40B4-BE49-F238E27FC236}">
                <a16:creationId xmlns:a16="http://schemas.microsoft.com/office/drawing/2014/main" id="{D822D058-F826-FD48-258B-24477A90CF16}"/>
              </a:ext>
            </a:extLst>
          </p:cNvPr>
          <p:cNvSpPr>
            <a:spLocks noGrp="1"/>
          </p:cNvSpPr>
          <p:nvPr>
            <p:ph type="body" sz="quarter" idx="16" hasCustomPrompt="1"/>
          </p:nvPr>
        </p:nvSpPr>
        <p:spPr>
          <a:xfrm>
            <a:off x="6375651" y="1932477"/>
            <a:ext cx="2190747" cy="459520"/>
          </a:xfrm>
        </p:spPr>
        <p:txBody>
          <a:bodyPr/>
          <a:lstStyle>
            <a:lvl1pPr marL="0" indent="0">
              <a:buNone/>
              <a:defRPr b="1">
                <a:solidFill>
                  <a:schemeClr val="bg1"/>
                </a:solidFill>
              </a:defRPr>
            </a:lvl1pPr>
          </a:lstStyle>
          <a:p>
            <a:pPr lvl="0"/>
            <a:r>
              <a:rPr lang="nl-NL"/>
              <a:t>Titel</a:t>
            </a:r>
          </a:p>
        </p:txBody>
      </p:sp>
      <p:sp>
        <p:nvSpPr>
          <p:cNvPr id="67" name="Afgeronde rechthoek 66">
            <a:extLst>
              <a:ext uri="{FF2B5EF4-FFF2-40B4-BE49-F238E27FC236}">
                <a16:creationId xmlns:a16="http://schemas.microsoft.com/office/drawing/2014/main" id="{72C7E3B6-7211-E657-F5D9-D13BE138E898}"/>
              </a:ext>
            </a:extLst>
          </p:cNvPr>
          <p:cNvSpPr/>
          <p:nvPr userDrawn="1"/>
        </p:nvSpPr>
        <p:spPr>
          <a:xfrm>
            <a:off x="8958753" y="1785939"/>
            <a:ext cx="2526416" cy="4543424"/>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8" name="Afgeronde rechthoek 67">
            <a:extLst>
              <a:ext uri="{FF2B5EF4-FFF2-40B4-BE49-F238E27FC236}">
                <a16:creationId xmlns:a16="http://schemas.microsoft.com/office/drawing/2014/main" id="{F79A2179-C5C4-FC94-B75C-8362FD69B707}"/>
              </a:ext>
            </a:extLst>
          </p:cNvPr>
          <p:cNvSpPr/>
          <p:nvPr userDrawn="1"/>
        </p:nvSpPr>
        <p:spPr>
          <a:xfrm>
            <a:off x="8953024" y="1785939"/>
            <a:ext cx="2526416" cy="714374"/>
          </a:xfrm>
          <a:prstGeom prst="roundRect">
            <a:avLst>
              <a:gd name="adj" fmla="val 8413"/>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9" name="Tijdelijke aanduiding voor inhoud 2">
            <a:extLst>
              <a:ext uri="{FF2B5EF4-FFF2-40B4-BE49-F238E27FC236}">
                <a16:creationId xmlns:a16="http://schemas.microsoft.com/office/drawing/2014/main" id="{829EA2A6-6CB1-3185-BFDC-B7BB21E3216F}"/>
              </a:ext>
            </a:extLst>
          </p:cNvPr>
          <p:cNvSpPr>
            <a:spLocks noGrp="1"/>
          </p:cNvSpPr>
          <p:nvPr>
            <p:ph sz="half" idx="17"/>
          </p:nvPr>
        </p:nvSpPr>
        <p:spPr>
          <a:xfrm>
            <a:off x="9126740" y="2743200"/>
            <a:ext cx="2190747" cy="3322269"/>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70" name="Tijdelijke aanduiding voor tekst 41">
            <a:extLst>
              <a:ext uri="{FF2B5EF4-FFF2-40B4-BE49-F238E27FC236}">
                <a16:creationId xmlns:a16="http://schemas.microsoft.com/office/drawing/2014/main" id="{1B5774BB-4C41-5333-103F-DD5023D4D297}"/>
              </a:ext>
            </a:extLst>
          </p:cNvPr>
          <p:cNvSpPr>
            <a:spLocks noGrp="1"/>
          </p:cNvSpPr>
          <p:nvPr>
            <p:ph type="body" sz="quarter" idx="18" hasCustomPrompt="1"/>
          </p:nvPr>
        </p:nvSpPr>
        <p:spPr>
          <a:xfrm>
            <a:off x="9126738" y="1932477"/>
            <a:ext cx="2190747" cy="459520"/>
          </a:xfrm>
        </p:spPr>
        <p:txBody>
          <a:bodyPr/>
          <a:lstStyle>
            <a:lvl1pPr marL="0" indent="0">
              <a:buNone/>
              <a:defRPr b="1">
                <a:solidFill>
                  <a:schemeClr val="bg1"/>
                </a:solidFill>
              </a:defRPr>
            </a:lvl1pPr>
          </a:lstStyle>
          <a:p>
            <a:pPr lvl="0"/>
            <a:r>
              <a:rPr lang="nl-NL"/>
              <a:t>Titel</a:t>
            </a:r>
          </a:p>
        </p:txBody>
      </p:sp>
    </p:spTree>
    <p:extLst>
      <p:ext uri="{BB962C8B-B14F-4D97-AF65-F5344CB8AC3E}">
        <p14:creationId xmlns:p14="http://schemas.microsoft.com/office/powerpoint/2010/main" val="3281953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opic slide A">
    <p:bg>
      <p:bgPr>
        <a:solidFill>
          <a:srgbClr val="C7E8F1"/>
        </a:solidFill>
        <a:effectLst/>
      </p:bgPr>
    </p:bg>
    <p:spTree>
      <p:nvGrpSpPr>
        <p:cNvPr id="1" name=""/>
        <p:cNvGrpSpPr/>
        <p:nvPr/>
      </p:nvGrpSpPr>
      <p:grpSpPr>
        <a:xfrm>
          <a:off x="0" y="0"/>
          <a:ext cx="0" cy="0"/>
          <a:chOff x="0" y="0"/>
          <a:chExt cx="0" cy="0"/>
        </a:xfrm>
      </p:grpSpPr>
      <p:sp>
        <p:nvSpPr>
          <p:cNvPr id="141" name="Vrije vorm 140">
            <a:extLst>
              <a:ext uri="{FF2B5EF4-FFF2-40B4-BE49-F238E27FC236}">
                <a16:creationId xmlns:a16="http://schemas.microsoft.com/office/drawing/2014/main" id="{3D8AB571-9D3C-7FD6-5057-272DAE59E346}"/>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40" name="Tijdelijke aanduiding voor afbeelding 139">
            <a:extLst>
              <a:ext uri="{FF2B5EF4-FFF2-40B4-BE49-F238E27FC236}">
                <a16:creationId xmlns:a16="http://schemas.microsoft.com/office/drawing/2014/main" id="{93D72669-E51B-AF1D-694D-708C121C499D}"/>
              </a:ext>
            </a:extLst>
          </p:cNvPr>
          <p:cNvSpPr>
            <a:spLocks noGrp="1"/>
          </p:cNvSpPr>
          <p:nvPr>
            <p:ph type="pic" sz="quarter" idx="16" hasCustomPrompt="1"/>
          </p:nvPr>
        </p:nvSpPr>
        <p:spPr>
          <a:xfrm>
            <a:off x="6182027" y="-1"/>
            <a:ext cx="6009973" cy="6854828"/>
          </a:xfrm>
          <a:custGeom>
            <a:avLst/>
            <a:gdLst>
              <a:gd name="connsiteX0" fmla="*/ 737656 w 6009973"/>
              <a:gd name="connsiteY0" fmla="*/ 6851524 h 6854828"/>
              <a:gd name="connsiteX1" fmla="*/ 1677877 w 6009973"/>
              <a:gd name="connsiteY1" fmla="*/ 6851625 h 6854828"/>
              <a:gd name="connsiteX2" fmla="*/ 1681627 w 6009973"/>
              <a:gd name="connsiteY2" fmla="*/ 6854828 h 6854828"/>
              <a:gd name="connsiteX3" fmla="*/ 741050 w 6009973"/>
              <a:gd name="connsiteY3" fmla="*/ 6854828 h 6854828"/>
              <a:gd name="connsiteX4" fmla="*/ 4431239 w 6009973"/>
              <a:gd name="connsiteY4" fmla="*/ 1 h 6854828"/>
              <a:gd name="connsiteX5" fmla="*/ 4424466 w 6009973"/>
              <a:gd name="connsiteY5" fmla="*/ 27738 h 6854828"/>
              <a:gd name="connsiteX6" fmla="*/ 4411631 w 6009973"/>
              <a:gd name="connsiteY6" fmla="*/ 187852 h 6854828"/>
              <a:gd name="connsiteX7" fmla="*/ 5405988 w 6009973"/>
              <a:gd name="connsiteY7" fmla="*/ 1182990 h 6854828"/>
              <a:gd name="connsiteX8" fmla="*/ 5877725 w 6009973"/>
              <a:gd name="connsiteY8" fmla="*/ 1064025 h 6854828"/>
              <a:gd name="connsiteX9" fmla="*/ 6009972 w 6009973"/>
              <a:gd name="connsiteY9" fmla="*/ 978236 h 6854828"/>
              <a:gd name="connsiteX10" fmla="*/ 6009972 w 6009973"/>
              <a:gd name="connsiteY10" fmla="*/ 1 h 6854828"/>
              <a:gd name="connsiteX11" fmla="*/ 3123899 w 6009973"/>
              <a:gd name="connsiteY11" fmla="*/ 0 h 6854828"/>
              <a:gd name="connsiteX12" fmla="*/ 6009973 w 6009973"/>
              <a:gd name="connsiteY12" fmla="*/ 0 h 6854828"/>
              <a:gd name="connsiteX13" fmla="*/ 6009973 w 6009973"/>
              <a:gd name="connsiteY13" fmla="*/ 1756064 h 6854828"/>
              <a:gd name="connsiteX14" fmla="*/ 6009972 w 6009973"/>
              <a:gd name="connsiteY14" fmla="*/ 1756064 h 6854828"/>
              <a:gd name="connsiteX15" fmla="*/ 6009972 w 6009973"/>
              <a:gd name="connsiteY15" fmla="*/ 6854828 h 6854828"/>
              <a:gd name="connsiteX16" fmla="*/ 2275225 w 6009973"/>
              <a:gd name="connsiteY16" fmla="*/ 6854828 h 6854828"/>
              <a:gd name="connsiteX17" fmla="*/ 2080979 w 6009973"/>
              <a:gd name="connsiteY17" fmla="*/ 6708851 h 6854828"/>
              <a:gd name="connsiteX18" fmla="*/ 2079582 w 6009973"/>
              <a:gd name="connsiteY18" fmla="*/ 6707773 h 6854828"/>
              <a:gd name="connsiteX19" fmla="*/ 691854 w 6009973"/>
              <a:gd name="connsiteY19" fmla="*/ 5087482 h 6854828"/>
              <a:gd name="connsiteX20" fmla="*/ 307743 w 6009973"/>
              <a:gd name="connsiteY20" fmla="*/ 4069377 h 6854828"/>
              <a:gd name="connsiteX21" fmla="*/ 172552 w 6009973"/>
              <a:gd name="connsiteY21" fmla="*/ 2954206 h 6854828"/>
              <a:gd name="connsiteX22" fmla="*/ 28856 w 6009973"/>
              <a:gd name="connsiteY22" fmla="*/ 2778067 h 6854828"/>
              <a:gd name="connsiteX23" fmla="*/ 0 w 6009973"/>
              <a:gd name="connsiteY23" fmla="*/ 2775160 h 6854828"/>
              <a:gd name="connsiteX24" fmla="*/ 9970 w 6009973"/>
              <a:gd name="connsiteY24" fmla="*/ 2539090 h 6854828"/>
              <a:gd name="connsiteX25" fmla="*/ 1001229 w 6009973"/>
              <a:gd name="connsiteY25" fmla="*/ 1 h 6854828"/>
              <a:gd name="connsiteX26" fmla="*/ 3123899 w 6009973"/>
              <a:gd name="connsiteY26" fmla="*/ 1 h 685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09973" h="6854828">
                <a:moveTo>
                  <a:pt x="737656" y="6851524"/>
                </a:moveTo>
                <a:lnTo>
                  <a:pt x="1677877" y="6851625"/>
                </a:lnTo>
                <a:lnTo>
                  <a:pt x="1681627" y="6854828"/>
                </a:lnTo>
                <a:lnTo>
                  <a:pt x="741050" y="6854828"/>
                </a:lnTo>
                <a:close/>
                <a:moveTo>
                  <a:pt x="4431239" y="1"/>
                </a:moveTo>
                <a:lnTo>
                  <a:pt x="4424466" y="27738"/>
                </a:lnTo>
                <a:cubicBezTo>
                  <a:pt x="4416025" y="79861"/>
                  <a:pt x="4411631" y="133342"/>
                  <a:pt x="4411631" y="187852"/>
                </a:cubicBezTo>
                <a:cubicBezTo>
                  <a:pt x="4411631" y="737452"/>
                  <a:pt x="4856820" y="1182990"/>
                  <a:pt x="5405988" y="1182990"/>
                </a:cubicBezTo>
                <a:cubicBezTo>
                  <a:pt x="5576713" y="1182990"/>
                  <a:pt x="5737363" y="1139900"/>
                  <a:pt x="5877725" y="1064025"/>
                </a:cubicBezTo>
                <a:lnTo>
                  <a:pt x="6009972" y="978236"/>
                </a:lnTo>
                <a:lnTo>
                  <a:pt x="6009972" y="1"/>
                </a:lnTo>
                <a:close/>
                <a:moveTo>
                  <a:pt x="3123899" y="0"/>
                </a:moveTo>
                <a:lnTo>
                  <a:pt x="6009973" y="0"/>
                </a:lnTo>
                <a:lnTo>
                  <a:pt x="6009973" y="1756064"/>
                </a:lnTo>
                <a:lnTo>
                  <a:pt x="6009972" y="1756064"/>
                </a:lnTo>
                <a:lnTo>
                  <a:pt x="6009972" y="6854828"/>
                </a:lnTo>
                <a:lnTo>
                  <a:pt x="2275225" y="6854828"/>
                </a:lnTo>
                <a:lnTo>
                  <a:pt x="2080979" y="6708851"/>
                </a:lnTo>
                <a:lnTo>
                  <a:pt x="2079582" y="6707773"/>
                </a:lnTo>
                <a:cubicBezTo>
                  <a:pt x="1500526" y="6281383"/>
                  <a:pt x="1020656" y="5721070"/>
                  <a:pt x="691854" y="5087482"/>
                </a:cubicBezTo>
                <a:cubicBezTo>
                  <a:pt x="524086" y="4764312"/>
                  <a:pt x="394865" y="4421730"/>
                  <a:pt x="307743" y="4069377"/>
                </a:cubicBezTo>
                <a:cubicBezTo>
                  <a:pt x="218018" y="3706556"/>
                  <a:pt x="172552" y="3331365"/>
                  <a:pt x="172552" y="2954206"/>
                </a:cubicBezTo>
                <a:cubicBezTo>
                  <a:pt x="172552" y="2867332"/>
                  <a:pt x="110855" y="2794834"/>
                  <a:pt x="28856" y="2778067"/>
                </a:cubicBezTo>
                <a:lnTo>
                  <a:pt x="0" y="2775160"/>
                </a:lnTo>
                <a:lnTo>
                  <a:pt x="9970" y="2539090"/>
                </a:lnTo>
                <a:cubicBezTo>
                  <a:pt x="90619" y="1588469"/>
                  <a:pt x="447807" y="715880"/>
                  <a:pt x="1001229" y="1"/>
                </a:cubicBezTo>
                <a:lnTo>
                  <a:pt x="3123899" y="1"/>
                </a:lnTo>
                <a:close/>
              </a:path>
            </a:pathLst>
          </a:custGeom>
          <a:solidFill>
            <a:srgbClr val="EFF2F5"/>
          </a:solidFill>
        </p:spPr>
        <p:txBody>
          <a:bodyPr wrap="square" anchor="ctr">
            <a:noAutofit/>
          </a:bodyPr>
          <a:lstStyle>
            <a:lvl1pPr marL="0" indent="0" algn="ctr">
              <a:buNone/>
              <a:defRPr sz="1400">
                <a:solidFill>
                  <a:schemeClr val="bg1"/>
                </a:solidFill>
              </a:defRPr>
            </a:lvl1pPr>
          </a:lstStyle>
          <a:p>
            <a:r>
              <a:rPr lang="nl-NL"/>
              <a:t>Voeg hier een afbeelding toe</a:t>
            </a:r>
          </a:p>
        </p:txBody>
      </p:sp>
      <p:sp>
        <p:nvSpPr>
          <p:cNvPr id="2" name="Titel 1">
            <a:extLst>
              <a:ext uri="{FF2B5EF4-FFF2-40B4-BE49-F238E27FC236}">
                <a16:creationId xmlns:a16="http://schemas.microsoft.com/office/drawing/2014/main" id="{22BA67AE-7E0E-BCF2-6F73-C3919A191C45}"/>
              </a:ext>
            </a:extLst>
          </p:cNvPr>
          <p:cNvSpPr>
            <a:spLocks noGrp="1"/>
          </p:cNvSpPr>
          <p:nvPr>
            <p:ph type="title"/>
          </p:nvPr>
        </p:nvSpPr>
        <p:spPr>
          <a:xfrm>
            <a:off x="1353000" y="792529"/>
            <a:ext cx="4468680" cy="555069"/>
          </a:xfrm>
        </p:spPr>
        <p:txBody>
          <a:bodyPr>
            <a:normAutofit/>
          </a:bodyPr>
          <a:lstStyle>
            <a:lvl1pPr>
              <a:defRPr sz="2800" b="1">
                <a:solidFill>
                  <a:srgbClr val="002B5F"/>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32C727C1-A698-8A1F-E792-FB766C32D5C1}"/>
              </a:ext>
            </a:extLst>
          </p:cNvPr>
          <p:cNvSpPr>
            <a:spLocks noGrp="1"/>
          </p:cNvSpPr>
          <p:nvPr>
            <p:ph idx="1" hasCustomPrompt="1"/>
          </p:nvPr>
        </p:nvSpPr>
        <p:spPr>
          <a:xfrm>
            <a:off x="838200" y="1664066"/>
            <a:ext cx="4983480" cy="4351338"/>
          </a:xfrm>
        </p:spPr>
        <p:txBody>
          <a:bodyPr/>
          <a:lstStyle>
            <a:lvl1pPr marL="457200" indent="-457200">
              <a:lnSpc>
                <a:spcPct val="200000"/>
              </a:lnSpc>
              <a:buClr>
                <a:srgbClr val="DC2215"/>
              </a:buClr>
              <a:buFont typeface="+mj-lt"/>
              <a:buAutoNum type="arabicPeriod"/>
              <a:defRPr sz="1600">
                <a:solidFill>
                  <a:schemeClr val="bg2">
                    <a:lumMod val="25000"/>
                  </a:schemeClr>
                </a:solidFill>
              </a:defRPr>
            </a:lvl1pPr>
            <a:lvl2pPr marL="800100" indent="-342900">
              <a:buClr>
                <a:srgbClr val="DC2215"/>
              </a:buClr>
              <a:buFont typeface="+mj-lt"/>
              <a:buAutoNum type="arabicPeriod"/>
              <a:defRPr sz="1400">
                <a:solidFill>
                  <a:schemeClr val="bg2">
                    <a:lumMod val="25000"/>
                  </a:schemeClr>
                </a:solidFill>
              </a:defRPr>
            </a:lvl2pPr>
            <a:lvl3pPr marL="1257300" indent="-342900">
              <a:buClr>
                <a:srgbClr val="DC2215"/>
              </a:buClr>
              <a:buFont typeface="+mj-lt"/>
              <a:buAutoNum type="arabicPeriod"/>
              <a:defRPr sz="1200">
                <a:solidFill>
                  <a:schemeClr val="bg2">
                    <a:lumMod val="25000"/>
                  </a:schemeClr>
                </a:solidFill>
              </a:defRPr>
            </a:lvl3pPr>
            <a:lvl4pPr marL="1714500" indent="-342900">
              <a:buClr>
                <a:srgbClr val="DC2215"/>
              </a:buClr>
              <a:buFont typeface="+mj-lt"/>
              <a:buAutoNum type="arabicPeriod"/>
              <a:defRPr sz="1000">
                <a:solidFill>
                  <a:schemeClr val="bg2">
                    <a:lumMod val="25000"/>
                  </a:schemeClr>
                </a:solidFill>
              </a:defRPr>
            </a:lvl4pPr>
            <a:lvl5pPr marL="2057400" indent="-228600">
              <a:buClr>
                <a:srgbClr val="DC2215"/>
              </a:buClr>
              <a:buFont typeface="+mj-lt"/>
              <a:buAutoNum type="arabicPeriod"/>
              <a:defRPr sz="800">
                <a:solidFill>
                  <a:schemeClr val="bg2">
                    <a:lumMod val="25000"/>
                  </a:schemeClr>
                </a:solidFill>
              </a:defRPr>
            </a:lvl5pPr>
          </a:lstStyle>
          <a:p>
            <a:pPr lvl="0"/>
            <a:r>
              <a:rPr lang="nl-NL"/>
              <a:t>Topic</a:t>
            </a:r>
          </a:p>
          <a:p>
            <a:pPr lvl="0"/>
            <a:r>
              <a:rPr lang="nl-NL"/>
              <a:t>Topic</a:t>
            </a:r>
          </a:p>
          <a:p>
            <a:pPr lvl="0"/>
            <a:r>
              <a:rPr lang="nl-NL"/>
              <a:t>Topic</a:t>
            </a:r>
          </a:p>
          <a:p>
            <a:pPr lvl="0"/>
            <a:r>
              <a:rPr lang="nl-NL"/>
              <a:t>Topic</a:t>
            </a:r>
          </a:p>
          <a:p>
            <a:pPr lvl="0"/>
            <a:r>
              <a:rPr lang="nl-NL"/>
              <a:t>Topic</a:t>
            </a:r>
          </a:p>
        </p:txBody>
      </p:sp>
      <p:sp>
        <p:nvSpPr>
          <p:cNvPr id="158" name="Vrije vorm 157">
            <a:extLst>
              <a:ext uri="{FF2B5EF4-FFF2-40B4-BE49-F238E27FC236}">
                <a16:creationId xmlns:a16="http://schemas.microsoft.com/office/drawing/2014/main" id="{C8BC96DF-2942-4FB4-3DE3-A9BF622C4656}"/>
              </a:ext>
            </a:extLst>
          </p:cNvPr>
          <p:cNvSpPr/>
          <p:nvPr userDrawn="1"/>
        </p:nvSpPr>
        <p:spPr>
          <a:xfrm>
            <a:off x="-1272887" y="4882794"/>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61" name="Vrije vorm 160">
            <a:extLst>
              <a:ext uri="{FF2B5EF4-FFF2-40B4-BE49-F238E27FC236}">
                <a16:creationId xmlns:a16="http://schemas.microsoft.com/office/drawing/2014/main" id="{02079E8A-FDB6-63C2-CF71-1B57C3257024}"/>
              </a:ext>
            </a:extLst>
          </p:cNvPr>
          <p:cNvSpPr/>
          <p:nvPr userDrawn="1"/>
        </p:nvSpPr>
        <p:spPr>
          <a:xfrm>
            <a:off x="4173835" y="-98729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4" name="Graphic 69">
            <a:extLst>
              <a:ext uri="{FF2B5EF4-FFF2-40B4-BE49-F238E27FC236}">
                <a16:creationId xmlns:a16="http://schemas.microsoft.com/office/drawing/2014/main" id="{674D9833-DC34-A5AB-A317-F41DEB934B8C}"/>
              </a:ext>
            </a:extLst>
          </p:cNvPr>
          <p:cNvSpPr/>
          <p:nvPr userDrawn="1"/>
        </p:nvSpPr>
        <p:spPr>
          <a:xfrm>
            <a:off x="742705" y="827364"/>
            <a:ext cx="372360" cy="446832"/>
          </a:xfrm>
          <a:custGeom>
            <a:avLst/>
            <a:gdLst>
              <a:gd name="connsiteX0" fmla="*/ 93090 w 372360"/>
              <a:gd name="connsiteY0" fmla="*/ 0 h 446832"/>
              <a:gd name="connsiteX1" fmla="*/ 106389 w 372360"/>
              <a:gd name="connsiteY1" fmla="*/ 13964 h 446832"/>
              <a:gd name="connsiteX2" fmla="*/ 106389 w 372360"/>
              <a:gd name="connsiteY2" fmla="*/ 55854 h 446832"/>
              <a:gd name="connsiteX3" fmla="*/ 265971 w 372360"/>
              <a:gd name="connsiteY3" fmla="*/ 55854 h 446832"/>
              <a:gd name="connsiteX4" fmla="*/ 265971 w 372360"/>
              <a:gd name="connsiteY4" fmla="*/ 13964 h 446832"/>
              <a:gd name="connsiteX5" fmla="*/ 279270 w 372360"/>
              <a:gd name="connsiteY5" fmla="*/ 0 h 446832"/>
              <a:gd name="connsiteX6" fmla="*/ 292569 w 372360"/>
              <a:gd name="connsiteY6" fmla="*/ 13964 h 446832"/>
              <a:gd name="connsiteX7" fmla="*/ 292569 w 372360"/>
              <a:gd name="connsiteY7" fmla="*/ 55854 h 446832"/>
              <a:gd name="connsiteX8" fmla="*/ 319166 w 372360"/>
              <a:gd name="connsiteY8" fmla="*/ 55854 h 446832"/>
              <a:gd name="connsiteX9" fmla="*/ 372360 w 372360"/>
              <a:gd name="connsiteY9" fmla="*/ 111708 h 446832"/>
              <a:gd name="connsiteX10" fmla="*/ 372360 w 372360"/>
              <a:gd name="connsiteY10" fmla="*/ 390978 h 446832"/>
              <a:gd name="connsiteX11" fmla="*/ 319166 w 372360"/>
              <a:gd name="connsiteY11" fmla="*/ 446832 h 446832"/>
              <a:gd name="connsiteX12" fmla="*/ 53194 w 372360"/>
              <a:gd name="connsiteY12" fmla="*/ 446832 h 446832"/>
              <a:gd name="connsiteX13" fmla="*/ 0 w 372360"/>
              <a:gd name="connsiteY13" fmla="*/ 390978 h 446832"/>
              <a:gd name="connsiteX14" fmla="*/ 0 w 372360"/>
              <a:gd name="connsiteY14" fmla="*/ 111708 h 446832"/>
              <a:gd name="connsiteX15" fmla="*/ 53194 w 372360"/>
              <a:gd name="connsiteY15" fmla="*/ 55854 h 446832"/>
              <a:gd name="connsiteX16" fmla="*/ 79791 w 372360"/>
              <a:gd name="connsiteY16" fmla="*/ 55854 h 446832"/>
              <a:gd name="connsiteX17" fmla="*/ 79791 w 372360"/>
              <a:gd name="connsiteY17" fmla="*/ 13964 h 446832"/>
              <a:gd name="connsiteX18" fmla="*/ 93090 w 372360"/>
              <a:gd name="connsiteY18" fmla="*/ 0 h 446832"/>
              <a:gd name="connsiteX19" fmla="*/ 319166 w 372360"/>
              <a:gd name="connsiteY19" fmla="*/ 83781 h 446832"/>
              <a:gd name="connsiteX20" fmla="*/ 53194 w 372360"/>
              <a:gd name="connsiteY20" fmla="*/ 83781 h 446832"/>
              <a:gd name="connsiteX21" fmla="*/ 26597 w 372360"/>
              <a:gd name="connsiteY21" fmla="*/ 111708 h 446832"/>
              <a:gd name="connsiteX22" fmla="*/ 26597 w 372360"/>
              <a:gd name="connsiteY22" fmla="*/ 139635 h 446832"/>
              <a:gd name="connsiteX23" fmla="*/ 345763 w 372360"/>
              <a:gd name="connsiteY23" fmla="*/ 139635 h 446832"/>
              <a:gd name="connsiteX24" fmla="*/ 345763 w 372360"/>
              <a:gd name="connsiteY24" fmla="*/ 111708 h 446832"/>
              <a:gd name="connsiteX25" fmla="*/ 319166 w 372360"/>
              <a:gd name="connsiteY25" fmla="*/ 83781 h 446832"/>
              <a:gd name="connsiteX26" fmla="*/ 26597 w 372360"/>
              <a:gd name="connsiteY26" fmla="*/ 230398 h 446832"/>
              <a:gd name="connsiteX27" fmla="*/ 113038 w 372360"/>
              <a:gd name="connsiteY27" fmla="*/ 230398 h 446832"/>
              <a:gd name="connsiteX28" fmla="*/ 113038 w 372360"/>
              <a:gd name="connsiteY28" fmla="*/ 167562 h 446832"/>
              <a:gd name="connsiteX29" fmla="*/ 26597 w 372360"/>
              <a:gd name="connsiteY29" fmla="*/ 167562 h 446832"/>
              <a:gd name="connsiteX30" fmla="*/ 26597 w 372360"/>
              <a:gd name="connsiteY30" fmla="*/ 230398 h 446832"/>
              <a:gd name="connsiteX31" fmla="*/ 113038 w 372360"/>
              <a:gd name="connsiteY31" fmla="*/ 328142 h 446832"/>
              <a:gd name="connsiteX32" fmla="*/ 113038 w 372360"/>
              <a:gd name="connsiteY32" fmla="*/ 258325 h 446832"/>
              <a:gd name="connsiteX33" fmla="*/ 26597 w 372360"/>
              <a:gd name="connsiteY33" fmla="*/ 258325 h 446832"/>
              <a:gd name="connsiteX34" fmla="*/ 26597 w 372360"/>
              <a:gd name="connsiteY34" fmla="*/ 328142 h 446832"/>
              <a:gd name="connsiteX35" fmla="*/ 113038 w 372360"/>
              <a:gd name="connsiteY35" fmla="*/ 328142 h 446832"/>
              <a:gd name="connsiteX36" fmla="*/ 26597 w 372360"/>
              <a:gd name="connsiteY36" fmla="*/ 356069 h 446832"/>
              <a:gd name="connsiteX37" fmla="*/ 26597 w 372360"/>
              <a:gd name="connsiteY37" fmla="*/ 390978 h 446832"/>
              <a:gd name="connsiteX38" fmla="*/ 53194 w 372360"/>
              <a:gd name="connsiteY38" fmla="*/ 418905 h 446832"/>
              <a:gd name="connsiteX39" fmla="*/ 113038 w 372360"/>
              <a:gd name="connsiteY39" fmla="*/ 418905 h 446832"/>
              <a:gd name="connsiteX40" fmla="*/ 113038 w 372360"/>
              <a:gd name="connsiteY40" fmla="*/ 356069 h 446832"/>
              <a:gd name="connsiteX41" fmla="*/ 26597 w 372360"/>
              <a:gd name="connsiteY41" fmla="*/ 356069 h 446832"/>
              <a:gd name="connsiteX42" fmla="*/ 139635 w 372360"/>
              <a:gd name="connsiteY42" fmla="*/ 230398 h 446832"/>
              <a:gd name="connsiteX43" fmla="*/ 232725 w 372360"/>
              <a:gd name="connsiteY43" fmla="*/ 230398 h 446832"/>
              <a:gd name="connsiteX44" fmla="*/ 232725 w 372360"/>
              <a:gd name="connsiteY44" fmla="*/ 167562 h 446832"/>
              <a:gd name="connsiteX45" fmla="*/ 139635 w 372360"/>
              <a:gd name="connsiteY45" fmla="*/ 167562 h 446832"/>
              <a:gd name="connsiteX46" fmla="*/ 139635 w 372360"/>
              <a:gd name="connsiteY46" fmla="*/ 230398 h 446832"/>
              <a:gd name="connsiteX47" fmla="*/ 232725 w 372360"/>
              <a:gd name="connsiteY47" fmla="*/ 328142 h 446832"/>
              <a:gd name="connsiteX48" fmla="*/ 232725 w 372360"/>
              <a:gd name="connsiteY48" fmla="*/ 258325 h 446832"/>
              <a:gd name="connsiteX49" fmla="*/ 139635 w 372360"/>
              <a:gd name="connsiteY49" fmla="*/ 258325 h 446832"/>
              <a:gd name="connsiteX50" fmla="*/ 139635 w 372360"/>
              <a:gd name="connsiteY50" fmla="*/ 328142 h 446832"/>
              <a:gd name="connsiteX51" fmla="*/ 232725 w 372360"/>
              <a:gd name="connsiteY51" fmla="*/ 328142 h 446832"/>
              <a:gd name="connsiteX52" fmla="*/ 139635 w 372360"/>
              <a:gd name="connsiteY52" fmla="*/ 418905 h 446832"/>
              <a:gd name="connsiteX53" fmla="*/ 232725 w 372360"/>
              <a:gd name="connsiteY53" fmla="*/ 418905 h 446832"/>
              <a:gd name="connsiteX54" fmla="*/ 232725 w 372360"/>
              <a:gd name="connsiteY54" fmla="*/ 356069 h 446832"/>
              <a:gd name="connsiteX55" fmla="*/ 139635 w 372360"/>
              <a:gd name="connsiteY55" fmla="*/ 356069 h 446832"/>
              <a:gd name="connsiteX56" fmla="*/ 139635 w 372360"/>
              <a:gd name="connsiteY56" fmla="*/ 418905 h 446832"/>
              <a:gd name="connsiteX57" fmla="*/ 345763 w 372360"/>
              <a:gd name="connsiteY57" fmla="*/ 167562 h 446832"/>
              <a:gd name="connsiteX58" fmla="*/ 259322 w 372360"/>
              <a:gd name="connsiteY58" fmla="*/ 167562 h 446832"/>
              <a:gd name="connsiteX59" fmla="*/ 259322 w 372360"/>
              <a:gd name="connsiteY59" fmla="*/ 230398 h 446832"/>
              <a:gd name="connsiteX60" fmla="*/ 345763 w 372360"/>
              <a:gd name="connsiteY60" fmla="*/ 230398 h 446832"/>
              <a:gd name="connsiteX61" fmla="*/ 345763 w 372360"/>
              <a:gd name="connsiteY61" fmla="*/ 167562 h 446832"/>
              <a:gd name="connsiteX62" fmla="*/ 345763 w 372360"/>
              <a:gd name="connsiteY62" fmla="*/ 258325 h 446832"/>
              <a:gd name="connsiteX63" fmla="*/ 259322 w 372360"/>
              <a:gd name="connsiteY63" fmla="*/ 258325 h 446832"/>
              <a:gd name="connsiteX64" fmla="*/ 259322 w 372360"/>
              <a:gd name="connsiteY64" fmla="*/ 328142 h 446832"/>
              <a:gd name="connsiteX65" fmla="*/ 345763 w 372360"/>
              <a:gd name="connsiteY65" fmla="*/ 328142 h 446832"/>
              <a:gd name="connsiteX66" fmla="*/ 345763 w 372360"/>
              <a:gd name="connsiteY66" fmla="*/ 258325 h 446832"/>
              <a:gd name="connsiteX67" fmla="*/ 345763 w 372360"/>
              <a:gd name="connsiteY67" fmla="*/ 356069 h 446832"/>
              <a:gd name="connsiteX68" fmla="*/ 259322 w 372360"/>
              <a:gd name="connsiteY68" fmla="*/ 356069 h 446832"/>
              <a:gd name="connsiteX69" fmla="*/ 259322 w 372360"/>
              <a:gd name="connsiteY69" fmla="*/ 418905 h 446832"/>
              <a:gd name="connsiteX70" fmla="*/ 319166 w 372360"/>
              <a:gd name="connsiteY70" fmla="*/ 418905 h 446832"/>
              <a:gd name="connsiteX71" fmla="*/ 345763 w 372360"/>
              <a:gd name="connsiteY71" fmla="*/ 390978 h 446832"/>
              <a:gd name="connsiteX72" fmla="*/ 345763 w 372360"/>
              <a:gd name="connsiteY72" fmla="*/ 356069 h 44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72360" h="446832">
                <a:moveTo>
                  <a:pt x="93090" y="0"/>
                </a:moveTo>
                <a:cubicBezTo>
                  <a:pt x="100406" y="0"/>
                  <a:pt x="106389" y="6255"/>
                  <a:pt x="106389" y="13964"/>
                </a:cubicBezTo>
                <a:lnTo>
                  <a:pt x="106389" y="55854"/>
                </a:lnTo>
                <a:lnTo>
                  <a:pt x="265971" y="55854"/>
                </a:lnTo>
                <a:lnTo>
                  <a:pt x="265971" y="13964"/>
                </a:lnTo>
                <a:cubicBezTo>
                  <a:pt x="265971" y="6255"/>
                  <a:pt x="271954" y="0"/>
                  <a:pt x="279270" y="0"/>
                </a:cubicBezTo>
                <a:cubicBezTo>
                  <a:pt x="286586" y="0"/>
                  <a:pt x="292569" y="6255"/>
                  <a:pt x="292569" y="13964"/>
                </a:cubicBezTo>
                <a:lnTo>
                  <a:pt x="292569" y="55854"/>
                </a:lnTo>
                <a:lnTo>
                  <a:pt x="319166" y="55854"/>
                </a:lnTo>
                <a:cubicBezTo>
                  <a:pt x="348508" y="55854"/>
                  <a:pt x="372360" y="80854"/>
                  <a:pt x="372360" y="111708"/>
                </a:cubicBezTo>
                <a:lnTo>
                  <a:pt x="372360" y="390978"/>
                </a:lnTo>
                <a:cubicBezTo>
                  <a:pt x="372360" y="421787"/>
                  <a:pt x="348508" y="446832"/>
                  <a:pt x="319166" y="446832"/>
                </a:cubicBezTo>
                <a:lnTo>
                  <a:pt x="53194" y="446832"/>
                </a:lnTo>
                <a:cubicBezTo>
                  <a:pt x="23809" y="446832"/>
                  <a:pt x="0" y="421787"/>
                  <a:pt x="0" y="390978"/>
                </a:cubicBezTo>
                <a:lnTo>
                  <a:pt x="0" y="111708"/>
                </a:lnTo>
                <a:cubicBezTo>
                  <a:pt x="0" y="80854"/>
                  <a:pt x="23809" y="55854"/>
                  <a:pt x="53194" y="55854"/>
                </a:cubicBezTo>
                <a:lnTo>
                  <a:pt x="79791" y="55854"/>
                </a:lnTo>
                <a:lnTo>
                  <a:pt x="79791" y="13964"/>
                </a:lnTo>
                <a:cubicBezTo>
                  <a:pt x="79791" y="6255"/>
                  <a:pt x="85774" y="0"/>
                  <a:pt x="93090" y="0"/>
                </a:cubicBezTo>
                <a:close/>
                <a:moveTo>
                  <a:pt x="319166" y="83781"/>
                </a:moveTo>
                <a:lnTo>
                  <a:pt x="53194" y="83781"/>
                </a:lnTo>
                <a:cubicBezTo>
                  <a:pt x="38511" y="83781"/>
                  <a:pt x="26597" y="96263"/>
                  <a:pt x="26597" y="111708"/>
                </a:cubicBezTo>
                <a:lnTo>
                  <a:pt x="26597" y="139635"/>
                </a:lnTo>
                <a:lnTo>
                  <a:pt x="345763" y="139635"/>
                </a:lnTo>
                <a:lnTo>
                  <a:pt x="345763" y="111708"/>
                </a:lnTo>
                <a:cubicBezTo>
                  <a:pt x="345763" y="96263"/>
                  <a:pt x="333876" y="83781"/>
                  <a:pt x="319166" y="83781"/>
                </a:cubicBezTo>
                <a:close/>
                <a:moveTo>
                  <a:pt x="26597" y="230398"/>
                </a:moveTo>
                <a:lnTo>
                  <a:pt x="113038" y="230398"/>
                </a:lnTo>
                <a:lnTo>
                  <a:pt x="113038" y="167562"/>
                </a:lnTo>
                <a:lnTo>
                  <a:pt x="26597" y="167562"/>
                </a:lnTo>
                <a:lnTo>
                  <a:pt x="26597" y="230398"/>
                </a:lnTo>
                <a:close/>
                <a:moveTo>
                  <a:pt x="113038" y="328142"/>
                </a:moveTo>
                <a:lnTo>
                  <a:pt x="113038" y="258325"/>
                </a:lnTo>
                <a:lnTo>
                  <a:pt x="26597" y="258325"/>
                </a:lnTo>
                <a:lnTo>
                  <a:pt x="26597" y="328142"/>
                </a:lnTo>
                <a:lnTo>
                  <a:pt x="113038" y="328142"/>
                </a:lnTo>
                <a:close/>
                <a:moveTo>
                  <a:pt x="26597" y="356069"/>
                </a:moveTo>
                <a:lnTo>
                  <a:pt x="26597" y="390978"/>
                </a:lnTo>
                <a:cubicBezTo>
                  <a:pt x="26597" y="406423"/>
                  <a:pt x="38511" y="418905"/>
                  <a:pt x="53194" y="418905"/>
                </a:cubicBezTo>
                <a:lnTo>
                  <a:pt x="113038" y="418905"/>
                </a:lnTo>
                <a:lnTo>
                  <a:pt x="113038" y="356069"/>
                </a:lnTo>
                <a:lnTo>
                  <a:pt x="26597" y="356069"/>
                </a:lnTo>
                <a:close/>
                <a:moveTo>
                  <a:pt x="139635" y="230398"/>
                </a:moveTo>
                <a:lnTo>
                  <a:pt x="232725" y="230398"/>
                </a:lnTo>
                <a:lnTo>
                  <a:pt x="232725" y="167562"/>
                </a:lnTo>
                <a:lnTo>
                  <a:pt x="139635" y="167562"/>
                </a:lnTo>
                <a:lnTo>
                  <a:pt x="139635" y="230398"/>
                </a:lnTo>
                <a:close/>
                <a:moveTo>
                  <a:pt x="232725" y="328142"/>
                </a:moveTo>
                <a:lnTo>
                  <a:pt x="232725" y="258325"/>
                </a:lnTo>
                <a:lnTo>
                  <a:pt x="139635" y="258325"/>
                </a:lnTo>
                <a:lnTo>
                  <a:pt x="139635" y="328142"/>
                </a:lnTo>
                <a:lnTo>
                  <a:pt x="232725" y="328142"/>
                </a:lnTo>
                <a:close/>
                <a:moveTo>
                  <a:pt x="139635" y="418905"/>
                </a:moveTo>
                <a:lnTo>
                  <a:pt x="232725" y="418905"/>
                </a:lnTo>
                <a:lnTo>
                  <a:pt x="232725" y="356069"/>
                </a:lnTo>
                <a:lnTo>
                  <a:pt x="139635" y="356069"/>
                </a:lnTo>
                <a:lnTo>
                  <a:pt x="139635" y="418905"/>
                </a:lnTo>
                <a:close/>
                <a:moveTo>
                  <a:pt x="345763" y="167562"/>
                </a:moveTo>
                <a:lnTo>
                  <a:pt x="259322" y="167562"/>
                </a:lnTo>
                <a:lnTo>
                  <a:pt x="259322" y="230398"/>
                </a:lnTo>
                <a:lnTo>
                  <a:pt x="345763" y="230398"/>
                </a:lnTo>
                <a:lnTo>
                  <a:pt x="345763" y="167562"/>
                </a:lnTo>
                <a:close/>
                <a:moveTo>
                  <a:pt x="345763" y="258325"/>
                </a:moveTo>
                <a:lnTo>
                  <a:pt x="259322" y="258325"/>
                </a:lnTo>
                <a:lnTo>
                  <a:pt x="259322" y="328142"/>
                </a:lnTo>
                <a:lnTo>
                  <a:pt x="345763" y="328142"/>
                </a:lnTo>
                <a:lnTo>
                  <a:pt x="345763" y="258325"/>
                </a:lnTo>
                <a:close/>
                <a:moveTo>
                  <a:pt x="345763" y="356069"/>
                </a:moveTo>
                <a:lnTo>
                  <a:pt x="259322" y="356069"/>
                </a:lnTo>
                <a:lnTo>
                  <a:pt x="259322" y="418905"/>
                </a:lnTo>
                <a:lnTo>
                  <a:pt x="319166" y="418905"/>
                </a:lnTo>
                <a:cubicBezTo>
                  <a:pt x="333876" y="418905"/>
                  <a:pt x="345763" y="406423"/>
                  <a:pt x="345763" y="390978"/>
                </a:cubicBezTo>
                <a:lnTo>
                  <a:pt x="345763" y="356069"/>
                </a:lnTo>
                <a:close/>
              </a:path>
            </a:pathLst>
          </a:custGeom>
          <a:solidFill>
            <a:srgbClr val="DC2215"/>
          </a:solidFill>
          <a:ln w="17689" cap="flat">
            <a:noFill/>
            <a:prstDash val="solid"/>
            <a:miter/>
          </a:ln>
        </p:spPr>
        <p:txBody>
          <a:bodyPr rtlCol="0" anchor="ctr"/>
          <a:lstStyle/>
          <a:p>
            <a:endParaRPr lang="nl-NL"/>
          </a:p>
        </p:txBody>
      </p:sp>
      <p:sp>
        <p:nvSpPr>
          <p:cNvPr id="50" name="Vrije vorm 49">
            <a:extLst>
              <a:ext uri="{FF2B5EF4-FFF2-40B4-BE49-F238E27FC236}">
                <a16:creationId xmlns:a16="http://schemas.microsoft.com/office/drawing/2014/main" id="{6552BBCD-4D1A-7575-354C-6832B915BB24}"/>
              </a:ext>
            </a:extLst>
          </p:cNvPr>
          <p:cNvSpPr/>
          <p:nvPr userDrawn="1"/>
        </p:nvSpPr>
        <p:spPr>
          <a:xfrm>
            <a:off x="5994596" y="2774413"/>
            <a:ext cx="2462657" cy="4080414"/>
          </a:xfrm>
          <a:custGeom>
            <a:avLst/>
            <a:gdLst>
              <a:gd name="connsiteX0" fmla="*/ 2462658 w 2462657"/>
              <a:gd name="connsiteY0" fmla="*/ 4080415 h 4080414"/>
              <a:gd name="connsiteX1" fmla="*/ 1869060 w 2462657"/>
              <a:gd name="connsiteY1" fmla="*/ 4080415 h 4080414"/>
              <a:gd name="connsiteX2" fmla="*/ 559690 w 2462657"/>
              <a:gd name="connsiteY2" fmla="*/ 2478650 h 4080414"/>
              <a:gd name="connsiteX3" fmla="*/ 145669 w 2462657"/>
              <a:gd name="connsiteY3" fmla="*/ 1381179 h 4080414"/>
              <a:gd name="connsiteX4" fmla="*/ 0 w 2462657"/>
              <a:gd name="connsiteY4" fmla="*/ 179792 h 4080414"/>
              <a:gd name="connsiteX5" fmla="*/ 180023 w 2462657"/>
              <a:gd name="connsiteY5" fmla="*/ 0 h 4080414"/>
              <a:gd name="connsiteX6" fmla="*/ 359982 w 2462657"/>
              <a:gd name="connsiteY6" fmla="*/ 179792 h 4080414"/>
              <a:gd name="connsiteX7" fmla="*/ 495173 w 2462657"/>
              <a:gd name="connsiteY7" fmla="*/ 1294963 h 4080414"/>
              <a:gd name="connsiteX8" fmla="*/ 879285 w 2462657"/>
              <a:gd name="connsiteY8" fmla="*/ 2313068 h 4080414"/>
              <a:gd name="connsiteX9" fmla="*/ 2267014 w 2462657"/>
              <a:gd name="connsiteY9" fmla="*/ 3933359 h 4080414"/>
              <a:gd name="connsiteX10" fmla="*/ 2268411 w 2462657"/>
              <a:gd name="connsiteY10" fmla="*/ 3934437 h 4080414"/>
              <a:gd name="connsiteX11" fmla="*/ 2462658 w 2462657"/>
              <a:gd name="connsiteY11" fmla="*/ 4080415 h 408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57" h="4080414">
                <a:moveTo>
                  <a:pt x="2462658" y="4080415"/>
                </a:moveTo>
                <a:lnTo>
                  <a:pt x="1869060" y="4080415"/>
                </a:lnTo>
                <a:cubicBezTo>
                  <a:pt x="1328230" y="3642099"/>
                  <a:pt x="878206" y="3092381"/>
                  <a:pt x="559690" y="2478650"/>
                </a:cubicBezTo>
                <a:cubicBezTo>
                  <a:pt x="378905" y="2130294"/>
                  <a:pt x="239586" y="1761066"/>
                  <a:pt x="145669" y="1381179"/>
                </a:cubicBezTo>
                <a:cubicBezTo>
                  <a:pt x="49022" y="990191"/>
                  <a:pt x="0" y="586007"/>
                  <a:pt x="0" y="179792"/>
                </a:cubicBezTo>
                <a:cubicBezTo>
                  <a:pt x="0" y="80507"/>
                  <a:pt x="80582" y="0"/>
                  <a:pt x="180023" y="0"/>
                </a:cubicBezTo>
                <a:cubicBezTo>
                  <a:pt x="279400" y="0"/>
                  <a:pt x="359982" y="80507"/>
                  <a:pt x="359982" y="179792"/>
                </a:cubicBezTo>
                <a:cubicBezTo>
                  <a:pt x="359982" y="556951"/>
                  <a:pt x="405448" y="932142"/>
                  <a:pt x="495173" y="1294963"/>
                </a:cubicBezTo>
                <a:cubicBezTo>
                  <a:pt x="582295" y="1647316"/>
                  <a:pt x="711518" y="1989898"/>
                  <a:pt x="879285" y="2313068"/>
                </a:cubicBezTo>
                <a:cubicBezTo>
                  <a:pt x="1208088" y="2946656"/>
                  <a:pt x="1687958" y="3506969"/>
                  <a:pt x="2267014" y="3933359"/>
                </a:cubicBezTo>
                <a:lnTo>
                  <a:pt x="2268411" y="3934437"/>
                </a:lnTo>
                <a:lnTo>
                  <a:pt x="2462658" y="4080415"/>
                </a:lnTo>
                <a:close/>
              </a:path>
            </a:pathLst>
          </a:custGeom>
          <a:solidFill>
            <a:srgbClr val="DB2114"/>
          </a:solidFill>
          <a:ln w="6350" cap="flat">
            <a:noFill/>
            <a:prstDash val="solid"/>
            <a:miter/>
          </a:ln>
        </p:spPr>
        <p:txBody>
          <a:bodyPr rtlCol="0" anchor="ctr"/>
          <a:lstStyle/>
          <a:p>
            <a:endParaRPr lang="nl-NL"/>
          </a:p>
        </p:txBody>
      </p:sp>
      <p:grpSp>
        <p:nvGrpSpPr>
          <p:cNvPr id="60" name="Graphic 10">
            <a:extLst>
              <a:ext uri="{FF2B5EF4-FFF2-40B4-BE49-F238E27FC236}">
                <a16:creationId xmlns:a16="http://schemas.microsoft.com/office/drawing/2014/main" id="{496065C0-918D-77B3-0A15-13B66FDB84F7}"/>
              </a:ext>
            </a:extLst>
          </p:cNvPr>
          <p:cNvGrpSpPr/>
          <p:nvPr userDrawn="1"/>
        </p:nvGrpSpPr>
        <p:grpSpPr>
          <a:xfrm>
            <a:off x="10903435" y="299495"/>
            <a:ext cx="1082602" cy="448481"/>
            <a:chOff x="10903435" y="299495"/>
            <a:chExt cx="1082602" cy="448481"/>
          </a:xfrm>
        </p:grpSpPr>
        <p:sp>
          <p:nvSpPr>
            <p:cNvPr id="61" name="Vrije vorm 60">
              <a:extLst>
                <a:ext uri="{FF2B5EF4-FFF2-40B4-BE49-F238E27FC236}">
                  <a16:creationId xmlns:a16="http://schemas.microsoft.com/office/drawing/2014/main" id="{49D55472-CCEC-A418-D15B-7C43DD6AA8D1}"/>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62" name="Vrije vorm 61">
              <a:extLst>
                <a:ext uri="{FF2B5EF4-FFF2-40B4-BE49-F238E27FC236}">
                  <a16:creationId xmlns:a16="http://schemas.microsoft.com/office/drawing/2014/main" id="{7DFBD355-1023-3465-102E-559BF06FFA00}"/>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63" name="Vrije vorm 62">
              <a:extLst>
                <a:ext uri="{FF2B5EF4-FFF2-40B4-BE49-F238E27FC236}">
                  <a16:creationId xmlns:a16="http://schemas.microsoft.com/office/drawing/2014/main" id="{7AEE357F-8B31-7853-1EA8-CB767BE9610C}"/>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28" name="Vrije vorm 127">
              <a:extLst>
                <a:ext uri="{FF2B5EF4-FFF2-40B4-BE49-F238E27FC236}">
                  <a16:creationId xmlns:a16="http://schemas.microsoft.com/office/drawing/2014/main" id="{8DB3407E-EAE8-D59D-0943-7DBFB42B9248}"/>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29" name="Vrije vorm 128">
              <a:extLst>
                <a:ext uri="{FF2B5EF4-FFF2-40B4-BE49-F238E27FC236}">
                  <a16:creationId xmlns:a16="http://schemas.microsoft.com/office/drawing/2014/main" id="{654198DA-BA03-B6E5-DE19-0D8399BE244A}"/>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30" name="Vrije vorm 129">
              <a:extLst>
                <a:ext uri="{FF2B5EF4-FFF2-40B4-BE49-F238E27FC236}">
                  <a16:creationId xmlns:a16="http://schemas.microsoft.com/office/drawing/2014/main" id="{E6F19630-43D3-8D2F-5679-DBB42FC68BB7}"/>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31" name="Vrije vorm 130">
              <a:extLst>
                <a:ext uri="{FF2B5EF4-FFF2-40B4-BE49-F238E27FC236}">
                  <a16:creationId xmlns:a16="http://schemas.microsoft.com/office/drawing/2014/main" id="{26134C11-6937-8EA4-ACDD-3641CFFF711B}"/>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132" name="Vrije vorm 131">
              <a:extLst>
                <a:ext uri="{FF2B5EF4-FFF2-40B4-BE49-F238E27FC236}">
                  <a16:creationId xmlns:a16="http://schemas.microsoft.com/office/drawing/2014/main" id="{DCFFC5D8-18B3-8AC2-A7FA-3F973C213059}"/>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133" name="Vrije vorm 132">
              <a:extLst>
                <a:ext uri="{FF2B5EF4-FFF2-40B4-BE49-F238E27FC236}">
                  <a16:creationId xmlns:a16="http://schemas.microsoft.com/office/drawing/2014/main" id="{339B45EE-F880-D6E4-CB65-F3D007F5BD9A}"/>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134" name="Vrije vorm 133">
              <a:extLst>
                <a:ext uri="{FF2B5EF4-FFF2-40B4-BE49-F238E27FC236}">
                  <a16:creationId xmlns:a16="http://schemas.microsoft.com/office/drawing/2014/main" id="{86B8090A-BA3A-DEBC-3CDB-20CBD016105A}"/>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135" name="Vrije vorm 134">
              <a:extLst>
                <a:ext uri="{FF2B5EF4-FFF2-40B4-BE49-F238E27FC236}">
                  <a16:creationId xmlns:a16="http://schemas.microsoft.com/office/drawing/2014/main" id="{A35E18F5-BC40-FC62-0D07-F7169B5EC2C7}"/>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136" name="Vrije vorm 135">
              <a:extLst>
                <a:ext uri="{FF2B5EF4-FFF2-40B4-BE49-F238E27FC236}">
                  <a16:creationId xmlns:a16="http://schemas.microsoft.com/office/drawing/2014/main" id="{3CFC63FB-3E77-BEFB-9916-BDE6D114C6B0}"/>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4172199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okken C">
    <p:bg>
      <p:bgPr>
        <a:solidFill>
          <a:srgbClr val="C7E8F1"/>
        </a:solidFill>
        <a:effectLst/>
      </p:bgPr>
    </p:bg>
    <p:spTree>
      <p:nvGrpSpPr>
        <p:cNvPr id="1" name=""/>
        <p:cNvGrpSpPr/>
        <p:nvPr/>
      </p:nvGrpSpPr>
      <p:grpSpPr>
        <a:xfrm>
          <a:off x="0" y="0"/>
          <a:ext cx="0" cy="0"/>
          <a:chOff x="0" y="0"/>
          <a:chExt cx="0" cy="0"/>
        </a:xfrm>
      </p:grpSpPr>
      <p:sp>
        <p:nvSpPr>
          <p:cNvPr id="28" name="Afgeronde rechthoek 27">
            <a:extLst>
              <a:ext uri="{FF2B5EF4-FFF2-40B4-BE49-F238E27FC236}">
                <a16:creationId xmlns:a16="http://schemas.microsoft.com/office/drawing/2014/main" id="{15D25596-2142-8334-BC0B-77582C20F089}"/>
              </a:ext>
            </a:extLst>
          </p:cNvPr>
          <p:cNvSpPr/>
          <p:nvPr userDrawn="1"/>
        </p:nvSpPr>
        <p:spPr>
          <a:xfrm>
            <a:off x="8334666" y="1785940"/>
            <a:ext cx="3242170" cy="210806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6" name="Afgeronde rechthoek 55">
            <a:extLst>
              <a:ext uri="{FF2B5EF4-FFF2-40B4-BE49-F238E27FC236}">
                <a16:creationId xmlns:a16="http://schemas.microsoft.com/office/drawing/2014/main" id="{9E3A33A6-BD1A-F36F-E488-49775BA272A6}"/>
              </a:ext>
            </a:extLst>
          </p:cNvPr>
          <p:cNvSpPr/>
          <p:nvPr userDrawn="1"/>
        </p:nvSpPr>
        <p:spPr>
          <a:xfrm>
            <a:off x="8334666" y="4249740"/>
            <a:ext cx="3242170" cy="210806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5" name="Afgeronde rechthoek 74">
            <a:extLst>
              <a:ext uri="{FF2B5EF4-FFF2-40B4-BE49-F238E27FC236}">
                <a16:creationId xmlns:a16="http://schemas.microsoft.com/office/drawing/2014/main" id="{EE9D0367-F2FB-4AF7-FE32-3F63E3821093}"/>
              </a:ext>
            </a:extLst>
          </p:cNvPr>
          <p:cNvSpPr/>
          <p:nvPr userDrawn="1"/>
        </p:nvSpPr>
        <p:spPr>
          <a:xfrm>
            <a:off x="8334666" y="4245210"/>
            <a:ext cx="3242170" cy="714374"/>
          </a:xfrm>
          <a:prstGeom prst="roundRect">
            <a:avLst>
              <a:gd name="adj" fmla="val 6635"/>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6" name="Afgeronde rechthoek 75">
            <a:extLst>
              <a:ext uri="{FF2B5EF4-FFF2-40B4-BE49-F238E27FC236}">
                <a16:creationId xmlns:a16="http://schemas.microsoft.com/office/drawing/2014/main" id="{63926F1E-A804-A7C4-7C3D-E8EB0EAEC9BD}"/>
              </a:ext>
            </a:extLst>
          </p:cNvPr>
          <p:cNvSpPr/>
          <p:nvPr userDrawn="1"/>
        </p:nvSpPr>
        <p:spPr>
          <a:xfrm>
            <a:off x="8334666" y="1785939"/>
            <a:ext cx="3242170" cy="714374"/>
          </a:xfrm>
          <a:prstGeom prst="roundRect">
            <a:avLst>
              <a:gd name="adj" fmla="val 6635"/>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Vrije vorm 10">
            <a:extLst>
              <a:ext uri="{FF2B5EF4-FFF2-40B4-BE49-F238E27FC236}">
                <a16:creationId xmlns:a16="http://schemas.microsoft.com/office/drawing/2014/main" id="{F5AC79FB-3904-C6F5-37F3-D357A9502233}"/>
              </a:ext>
            </a:extLst>
          </p:cNvPr>
          <p:cNvSpPr/>
          <p:nvPr userDrawn="1"/>
        </p:nvSpPr>
        <p:spPr>
          <a:xfrm>
            <a:off x="-1272887" y="4882794"/>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45" name="Afgeronde rechthoek 44">
            <a:extLst>
              <a:ext uri="{FF2B5EF4-FFF2-40B4-BE49-F238E27FC236}">
                <a16:creationId xmlns:a16="http://schemas.microsoft.com/office/drawing/2014/main" id="{55A60523-0595-153E-F6EE-8F6D9E5DAA1F}"/>
              </a:ext>
            </a:extLst>
          </p:cNvPr>
          <p:cNvSpPr/>
          <p:nvPr userDrawn="1"/>
        </p:nvSpPr>
        <p:spPr>
          <a:xfrm>
            <a:off x="727366" y="1785940"/>
            <a:ext cx="3242170" cy="210806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8" name="Afgeronde rechthoek 47">
            <a:extLst>
              <a:ext uri="{FF2B5EF4-FFF2-40B4-BE49-F238E27FC236}">
                <a16:creationId xmlns:a16="http://schemas.microsoft.com/office/drawing/2014/main" id="{92A00077-7BF3-C986-F964-750CE0F845E4}"/>
              </a:ext>
            </a:extLst>
          </p:cNvPr>
          <p:cNvSpPr/>
          <p:nvPr userDrawn="1"/>
        </p:nvSpPr>
        <p:spPr>
          <a:xfrm>
            <a:off x="727366" y="4249740"/>
            <a:ext cx="3242170" cy="210806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7" name="Afgeronde rechthoek 76">
            <a:extLst>
              <a:ext uri="{FF2B5EF4-FFF2-40B4-BE49-F238E27FC236}">
                <a16:creationId xmlns:a16="http://schemas.microsoft.com/office/drawing/2014/main" id="{725EE220-FA10-107F-D9DD-90D1AD092E20}"/>
              </a:ext>
            </a:extLst>
          </p:cNvPr>
          <p:cNvSpPr/>
          <p:nvPr userDrawn="1"/>
        </p:nvSpPr>
        <p:spPr>
          <a:xfrm>
            <a:off x="727366" y="4245210"/>
            <a:ext cx="3242170" cy="714374"/>
          </a:xfrm>
          <a:prstGeom prst="roundRect">
            <a:avLst>
              <a:gd name="adj" fmla="val 6635"/>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8" name="Afgeronde rechthoek 77">
            <a:extLst>
              <a:ext uri="{FF2B5EF4-FFF2-40B4-BE49-F238E27FC236}">
                <a16:creationId xmlns:a16="http://schemas.microsoft.com/office/drawing/2014/main" id="{DC45EE58-8152-B670-92DC-CA42FB9B53B8}"/>
              </a:ext>
            </a:extLst>
          </p:cNvPr>
          <p:cNvSpPr/>
          <p:nvPr userDrawn="1"/>
        </p:nvSpPr>
        <p:spPr>
          <a:xfrm>
            <a:off x="727366" y="1785939"/>
            <a:ext cx="3242170" cy="714374"/>
          </a:xfrm>
          <a:prstGeom prst="roundRect">
            <a:avLst>
              <a:gd name="adj" fmla="val 6635"/>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2" name="Afgeronde rechthoek 51">
            <a:extLst>
              <a:ext uri="{FF2B5EF4-FFF2-40B4-BE49-F238E27FC236}">
                <a16:creationId xmlns:a16="http://schemas.microsoft.com/office/drawing/2014/main" id="{4EA75CC2-4525-29F5-470E-2FD1D72DFB53}"/>
              </a:ext>
            </a:extLst>
          </p:cNvPr>
          <p:cNvSpPr/>
          <p:nvPr userDrawn="1"/>
        </p:nvSpPr>
        <p:spPr>
          <a:xfrm>
            <a:off x="4524666" y="4249740"/>
            <a:ext cx="3242170" cy="210806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4" name="Afgeronde rechthoek 73">
            <a:extLst>
              <a:ext uri="{FF2B5EF4-FFF2-40B4-BE49-F238E27FC236}">
                <a16:creationId xmlns:a16="http://schemas.microsoft.com/office/drawing/2014/main" id="{37612E8C-CCDA-F2D4-9829-0C83BE95C5DD}"/>
              </a:ext>
            </a:extLst>
          </p:cNvPr>
          <p:cNvSpPr/>
          <p:nvPr userDrawn="1"/>
        </p:nvSpPr>
        <p:spPr>
          <a:xfrm>
            <a:off x="4524666" y="4245210"/>
            <a:ext cx="3242170" cy="714374"/>
          </a:xfrm>
          <a:prstGeom prst="roundRect">
            <a:avLst>
              <a:gd name="adj" fmla="val 6635"/>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12" name="Vrije vorm 11">
            <a:extLst>
              <a:ext uri="{FF2B5EF4-FFF2-40B4-BE49-F238E27FC236}">
                <a16:creationId xmlns:a16="http://schemas.microsoft.com/office/drawing/2014/main" id="{BA0CCB69-264F-4C43-602B-70AEFD117A55}"/>
              </a:ext>
            </a:extLst>
          </p:cNvPr>
          <p:cNvSpPr/>
          <p:nvPr userDrawn="1"/>
        </p:nvSpPr>
        <p:spPr>
          <a:xfrm>
            <a:off x="4173835" y="-98729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3" name="Vrije vorm 12">
            <a:extLst>
              <a:ext uri="{FF2B5EF4-FFF2-40B4-BE49-F238E27FC236}">
                <a16:creationId xmlns:a16="http://schemas.microsoft.com/office/drawing/2014/main" id="{94AAE606-E546-3957-A816-DE2162F260A7}"/>
              </a:ext>
            </a:extLst>
          </p:cNvPr>
          <p:cNvSpPr/>
          <p:nvPr userDrawn="1"/>
        </p:nvSpPr>
        <p:spPr>
          <a:xfrm>
            <a:off x="11601479" y="3894005"/>
            <a:ext cx="1271001" cy="1271001"/>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Vrije vorm 2">
            <a:extLst>
              <a:ext uri="{FF2B5EF4-FFF2-40B4-BE49-F238E27FC236}">
                <a16:creationId xmlns:a16="http://schemas.microsoft.com/office/drawing/2014/main" id="{42FFDCDF-D515-74E6-AD02-DABF2BEA827E}"/>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4" name="Graphic 10">
            <a:extLst>
              <a:ext uri="{FF2B5EF4-FFF2-40B4-BE49-F238E27FC236}">
                <a16:creationId xmlns:a16="http://schemas.microsoft.com/office/drawing/2014/main" id="{D75D5894-594D-7234-35F6-0356317B33A6}"/>
              </a:ext>
            </a:extLst>
          </p:cNvPr>
          <p:cNvGrpSpPr/>
          <p:nvPr userDrawn="1"/>
        </p:nvGrpSpPr>
        <p:grpSpPr>
          <a:xfrm>
            <a:off x="10903435" y="299495"/>
            <a:ext cx="1082602" cy="448481"/>
            <a:chOff x="10903435" y="299495"/>
            <a:chExt cx="1082602" cy="448481"/>
          </a:xfrm>
        </p:grpSpPr>
        <p:sp>
          <p:nvSpPr>
            <p:cNvPr id="10" name="Vrije vorm 9">
              <a:extLst>
                <a:ext uri="{FF2B5EF4-FFF2-40B4-BE49-F238E27FC236}">
                  <a16:creationId xmlns:a16="http://schemas.microsoft.com/office/drawing/2014/main" id="{646BBE9C-FC77-F824-7C6C-79AC44BD06E8}"/>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E50EC3C4-4D78-667D-CD4D-3A3B15DB445E}"/>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F58ECE37-E9E0-872A-AC34-83B9D872C1A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2ABE7D88-6889-E15C-D553-662AC4C554DA}"/>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B42AA8DD-B65F-90CC-806E-6F09E5AC3175}"/>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6071F953-5182-452F-5930-806AD18C3C3D}"/>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9EC14986-0696-C564-55C7-C925AC8A75D5}"/>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3E858564-AD44-8D67-A653-B538039ECF28}"/>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705F2512-0236-7127-94D6-35062776DC33}"/>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C276683F-56C4-03FE-1ACA-82FB30ADA559}"/>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ECFD4896-88D4-51DF-CA86-ED9DFDA444CD}"/>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78B475E7-AC32-5AA2-2FC4-3AB262F18C14}"/>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
        <p:nvSpPr>
          <p:cNvPr id="31" name="Tijdelijke aanduiding voor inhoud 2">
            <a:extLst>
              <a:ext uri="{FF2B5EF4-FFF2-40B4-BE49-F238E27FC236}">
                <a16:creationId xmlns:a16="http://schemas.microsoft.com/office/drawing/2014/main" id="{D223FD85-8599-5626-6CB1-35B97C212622}"/>
              </a:ext>
            </a:extLst>
          </p:cNvPr>
          <p:cNvSpPr>
            <a:spLocks noGrp="1"/>
          </p:cNvSpPr>
          <p:nvPr>
            <p:ph sz="half" idx="1"/>
          </p:nvPr>
        </p:nvSpPr>
        <p:spPr>
          <a:xfrm>
            <a:off x="895353" y="2743201"/>
            <a:ext cx="2889249" cy="914400"/>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42" name="Tijdelijke aanduiding voor tekst 41">
            <a:extLst>
              <a:ext uri="{FF2B5EF4-FFF2-40B4-BE49-F238E27FC236}">
                <a16:creationId xmlns:a16="http://schemas.microsoft.com/office/drawing/2014/main" id="{25B6B475-DC85-6402-305A-8B086CA879FA}"/>
              </a:ext>
            </a:extLst>
          </p:cNvPr>
          <p:cNvSpPr>
            <a:spLocks noGrp="1"/>
          </p:cNvSpPr>
          <p:nvPr>
            <p:ph type="body" sz="quarter" idx="12" hasCustomPrompt="1"/>
          </p:nvPr>
        </p:nvSpPr>
        <p:spPr>
          <a:xfrm>
            <a:off x="895351" y="1932477"/>
            <a:ext cx="2889249" cy="459520"/>
          </a:xfrm>
        </p:spPr>
        <p:txBody>
          <a:bodyPr/>
          <a:lstStyle>
            <a:lvl1pPr marL="0" indent="0">
              <a:buNone/>
              <a:defRPr b="1">
                <a:solidFill>
                  <a:schemeClr val="bg1"/>
                </a:solidFill>
              </a:defRPr>
            </a:lvl1pPr>
          </a:lstStyle>
          <a:p>
            <a:pPr lvl="0"/>
            <a:r>
              <a:rPr lang="nl-NL"/>
              <a:t>Titel</a:t>
            </a:r>
          </a:p>
        </p:txBody>
      </p:sp>
      <p:sp>
        <p:nvSpPr>
          <p:cNvPr id="9" name="Afgeronde rechthoek 8">
            <a:extLst>
              <a:ext uri="{FF2B5EF4-FFF2-40B4-BE49-F238E27FC236}">
                <a16:creationId xmlns:a16="http://schemas.microsoft.com/office/drawing/2014/main" id="{E8A07150-BF85-3245-B0B1-DEA30F63D890}"/>
              </a:ext>
            </a:extLst>
          </p:cNvPr>
          <p:cNvSpPr/>
          <p:nvPr userDrawn="1"/>
        </p:nvSpPr>
        <p:spPr>
          <a:xfrm>
            <a:off x="4524666" y="1785940"/>
            <a:ext cx="3242170" cy="2108066"/>
          </a:xfrm>
          <a:prstGeom prst="roundRect">
            <a:avLst>
              <a:gd name="adj" fmla="val 2273"/>
            </a:avLst>
          </a:prstGeom>
          <a:solidFill>
            <a:schemeClr val="bg1"/>
          </a:solidFill>
          <a:ln>
            <a:noFill/>
          </a:ln>
          <a:effectLst>
            <a:outerShdw blurRad="314029" dist="234496" dir="5400000" algn="t" rotWithShape="0">
              <a:prstClr val="black">
                <a:alpha val="19639"/>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5" name="Afgeronde rechthoek 24">
            <a:extLst>
              <a:ext uri="{FF2B5EF4-FFF2-40B4-BE49-F238E27FC236}">
                <a16:creationId xmlns:a16="http://schemas.microsoft.com/office/drawing/2014/main" id="{83C30411-DC0A-373D-47A2-7B84E4E0DD55}"/>
              </a:ext>
            </a:extLst>
          </p:cNvPr>
          <p:cNvSpPr/>
          <p:nvPr userDrawn="1"/>
        </p:nvSpPr>
        <p:spPr>
          <a:xfrm>
            <a:off x="4524666" y="1785939"/>
            <a:ext cx="3242170" cy="714374"/>
          </a:xfrm>
          <a:prstGeom prst="roundRect">
            <a:avLst>
              <a:gd name="adj" fmla="val 6635"/>
            </a:avLst>
          </a:prstGeom>
          <a:solidFill>
            <a:srgbClr val="0065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6" name="Tijdelijke aanduiding voor inhoud 2">
            <a:extLst>
              <a:ext uri="{FF2B5EF4-FFF2-40B4-BE49-F238E27FC236}">
                <a16:creationId xmlns:a16="http://schemas.microsoft.com/office/drawing/2014/main" id="{1B7BC077-6D5D-2C95-B604-5339D3BB3FF0}"/>
              </a:ext>
            </a:extLst>
          </p:cNvPr>
          <p:cNvSpPr>
            <a:spLocks noGrp="1"/>
          </p:cNvSpPr>
          <p:nvPr>
            <p:ph sz="half" idx="13"/>
          </p:nvPr>
        </p:nvSpPr>
        <p:spPr>
          <a:xfrm>
            <a:off x="4692653" y="2743201"/>
            <a:ext cx="2889249" cy="914400"/>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27" name="Tijdelijke aanduiding voor tekst 41">
            <a:extLst>
              <a:ext uri="{FF2B5EF4-FFF2-40B4-BE49-F238E27FC236}">
                <a16:creationId xmlns:a16="http://schemas.microsoft.com/office/drawing/2014/main" id="{2FEEC956-F7F0-BFB3-B963-F515F4E81B79}"/>
              </a:ext>
            </a:extLst>
          </p:cNvPr>
          <p:cNvSpPr>
            <a:spLocks noGrp="1"/>
          </p:cNvSpPr>
          <p:nvPr>
            <p:ph type="body" sz="quarter" idx="14" hasCustomPrompt="1"/>
          </p:nvPr>
        </p:nvSpPr>
        <p:spPr>
          <a:xfrm>
            <a:off x="4692651" y="1932477"/>
            <a:ext cx="2889249" cy="459520"/>
          </a:xfrm>
        </p:spPr>
        <p:txBody>
          <a:bodyPr/>
          <a:lstStyle>
            <a:lvl1pPr marL="0" indent="0">
              <a:buNone/>
              <a:defRPr b="1">
                <a:solidFill>
                  <a:schemeClr val="bg1"/>
                </a:solidFill>
              </a:defRPr>
            </a:lvl1pPr>
          </a:lstStyle>
          <a:p>
            <a:pPr lvl="0"/>
            <a:r>
              <a:rPr lang="nl-NL"/>
              <a:t>Titel</a:t>
            </a:r>
          </a:p>
        </p:txBody>
      </p:sp>
      <p:sp>
        <p:nvSpPr>
          <p:cNvPr id="30" name="Tijdelijke aanduiding voor inhoud 2">
            <a:extLst>
              <a:ext uri="{FF2B5EF4-FFF2-40B4-BE49-F238E27FC236}">
                <a16:creationId xmlns:a16="http://schemas.microsoft.com/office/drawing/2014/main" id="{BC0D2017-E5A3-6070-A667-FE668B0B351F}"/>
              </a:ext>
            </a:extLst>
          </p:cNvPr>
          <p:cNvSpPr>
            <a:spLocks noGrp="1"/>
          </p:cNvSpPr>
          <p:nvPr>
            <p:ph sz="half" idx="15"/>
          </p:nvPr>
        </p:nvSpPr>
        <p:spPr>
          <a:xfrm>
            <a:off x="8502653" y="2743201"/>
            <a:ext cx="2889249" cy="914400"/>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32" name="Tijdelijke aanduiding voor tekst 41">
            <a:extLst>
              <a:ext uri="{FF2B5EF4-FFF2-40B4-BE49-F238E27FC236}">
                <a16:creationId xmlns:a16="http://schemas.microsoft.com/office/drawing/2014/main" id="{C20FECFB-3531-A886-3FB7-539CE9BF97F8}"/>
              </a:ext>
            </a:extLst>
          </p:cNvPr>
          <p:cNvSpPr>
            <a:spLocks noGrp="1"/>
          </p:cNvSpPr>
          <p:nvPr>
            <p:ph type="body" sz="quarter" idx="16" hasCustomPrompt="1"/>
          </p:nvPr>
        </p:nvSpPr>
        <p:spPr>
          <a:xfrm>
            <a:off x="8502651" y="1932477"/>
            <a:ext cx="2889249" cy="459520"/>
          </a:xfrm>
        </p:spPr>
        <p:txBody>
          <a:bodyPr/>
          <a:lstStyle>
            <a:lvl1pPr marL="0" indent="0">
              <a:buNone/>
              <a:defRPr b="1">
                <a:solidFill>
                  <a:schemeClr val="bg1"/>
                </a:solidFill>
              </a:defRPr>
            </a:lvl1pPr>
          </a:lstStyle>
          <a:p>
            <a:pPr lvl="0"/>
            <a:r>
              <a:rPr lang="nl-NL"/>
              <a:t>Titel</a:t>
            </a:r>
          </a:p>
        </p:txBody>
      </p:sp>
      <p:sp>
        <p:nvSpPr>
          <p:cNvPr id="50" name="Tijdelijke aanduiding voor inhoud 2">
            <a:extLst>
              <a:ext uri="{FF2B5EF4-FFF2-40B4-BE49-F238E27FC236}">
                <a16:creationId xmlns:a16="http://schemas.microsoft.com/office/drawing/2014/main" id="{27874857-CB93-61A4-D226-A54209F388E8}"/>
              </a:ext>
            </a:extLst>
          </p:cNvPr>
          <p:cNvSpPr>
            <a:spLocks noGrp="1"/>
          </p:cNvSpPr>
          <p:nvPr>
            <p:ph sz="half" idx="17"/>
          </p:nvPr>
        </p:nvSpPr>
        <p:spPr>
          <a:xfrm>
            <a:off x="895353" y="5207001"/>
            <a:ext cx="2889249" cy="914400"/>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51" name="Tijdelijke aanduiding voor tekst 41">
            <a:extLst>
              <a:ext uri="{FF2B5EF4-FFF2-40B4-BE49-F238E27FC236}">
                <a16:creationId xmlns:a16="http://schemas.microsoft.com/office/drawing/2014/main" id="{C6250C17-9450-C3AC-45D3-D1ACC3E5308E}"/>
              </a:ext>
            </a:extLst>
          </p:cNvPr>
          <p:cNvSpPr>
            <a:spLocks noGrp="1"/>
          </p:cNvSpPr>
          <p:nvPr>
            <p:ph type="body" sz="quarter" idx="18" hasCustomPrompt="1"/>
          </p:nvPr>
        </p:nvSpPr>
        <p:spPr>
          <a:xfrm>
            <a:off x="895351" y="4396277"/>
            <a:ext cx="2889249" cy="459520"/>
          </a:xfrm>
        </p:spPr>
        <p:txBody>
          <a:bodyPr/>
          <a:lstStyle>
            <a:lvl1pPr marL="0" indent="0">
              <a:buNone/>
              <a:defRPr b="1">
                <a:solidFill>
                  <a:schemeClr val="bg1"/>
                </a:solidFill>
              </a:defRPr>
            </a:lvl1pPr>
          </a:lstStyle>
          <a:p>
            <a:pPr lvl="0"/>
            <a:r>
              <a:rPr lang="nl-NL"/>
              <a:t>Titel</a:t>
            </a:r>
          </a:p>
        </p:txBody>
      </p:sp>
      <p:sp>
        <p:nvSpPr>
          <p:cNvPr id="54" name="Tijdelijke aanduiding voor inhoud 2">
            <a:extLst>
              <a:ext uri="{FF2B5EF4-FFF2-40B4-BE49-F238E27FC236}">
                <a16:creationId xmlns:a16="http://schemas.microsoft.com/office/drawing/2014/main" id="{A52AEFAE-57CA-5AE4-6DA8-152009B8C768}"/>
              </a:ext>
            </a:extLst>
          </p:cNvPr>
          <p:cNvSpPr>
            <a:spLocks noGrp="1"/>
          </p:cNvSpPr>
          <p:nvPr>
            <p:ph sz="half" idx="19"/>
          </p:nvPr>
        </p:nvSpPr>
        <p:spPr>
          <a:xfrm>
            <a:off x="4692653" y="5207001"/>
            <a:ext cx="2889249" cy="914400"/>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55" name="Tijdelijke aanduiding voor tekst 41">
            <a:extLst>
              <a:ext uri="{FF2B5EF4-FFF2-40B4-BE49-F238E27FC236}">
                <a16:creationId xmlns:a16="http://schemas.microsoft.com/office/drawing/2014/main" id="{A89B413D-805A-ACFD-D453-3E12FB7424A8}"/>
              </a:ext>
            </a:extLst>
          </p:cNvPr>
          <p:cNvSpPr>
            <a:spLocks noGrp="1"/>
          </p:cNvSpPr>
          <p:nvPr>
            <p:ph type="body" sz="quarter" idx="20" hasCustomPrompt="1"/>
          </p:nvPr>
        </p:nvSpPr>
        <p:spPr>
          <a:xfrm>
            <a:off x="4692651" y="4396277"/>
            <a:ext cx="2889249" cy="459520"/>
          </a:xfrm>
        </p:spPr>
        <p:txBody>
          <a:bodyPr/>
          <a:lstStyle>
            <a:lvl1pPr marL="0" indent="0">
              <a:buNone/>
              <a:defRPr b="1">
                <a:solidFill>
                  <a:schemeClr val="bg1"/>
                </a:solidFill>
              </a:defRPr>
            </a:lvl1pPr>
          </a:lstStyle>
          <a:p>
            <a:pPr lvl="0"/>
            <a:r>
              <a:rPr lang="nl-NL"/>
              <a:t>Titel</a:t>
            </a:r>
          </a:p>
        </p:txBody>
      </p:sp>
      <p:sp>
        <p:nvSpPr>
          <p:cNvPr id="71" name="Tijdelijke aanduiding voor inhoud 2">
            <a:extLst>
              <a:ext uri="{FF2B5EF4-FFF2-40B4-BE49-F238E27FC236}">
                <a16:creationId xmlns:a16="http://schemas.microsoft.com/office/drawing/2014/main" id="{B5DD5488-8CB5-A4EF-6A89-9B4E8534A018}"/>
              </a:ext>
            </a:extLst>
          </p:cNvPr>
          <p:cNvSpPr>
            <a:spLocks noGrp="1"/>
          </p:cNvSpPr>
          <p:nvPr>
            <p:ph sz="half" idx="21"/>
          </p:nvPr>
        </p:nvSpPr>
        <p:spPr>
          <a:xfrm>
            <a:off x="8502653" y="5207001"/>
            <a:ext cx="2889249" cy="914400"/>
          </a:xfrm>
        </p:spPr>
        <p:txBody>
          <a:bodyPr/>
          <a:lstStyle>
            <a:lvl1pPr marL="0" indent="0">
              <a:buClr>
                <a:srgbClr val="DC2215"/>
              </a:buClr>
              <a:buNone/>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p:txBody>
      </p:sp>
      <p:sp>
        <p:nvSpPr>
          <p:cNvPr id="72" name="Tijdelijke aanduiding voor tekst 41">
            <a:extLst>
              <a:ext uri="{FF2B5EF4-FFF2-40B4-BE49-F238E27FC236}">
                <a16:creationId xmlns:a16="http://schemas.microsoft.com/office/drawing/2014/main" id="{737A8628-420C-9F96-F905-EC7C8B60DA0F}"/>
              </a:ext>
            </a:extLst>
          </p:cNvPr>
          <p:cNvSpPr>
            <a:spLocks noGrp="1"/>
          </p:cNvSpPr>
          <p:nvPr>
            <p:ph type="body" sz="quarter" idx="22" hasCustomPrompt="1"/>
          </p:nvPr>
        </p:nvSpPr>
        <p:spPr>
          <a:xfrm>
            <a:off x="8502651" y="4396277"/>
            <a:ext cx="2889249" cy="459520"/>
          </a:xfrm>
        </p:spPr>
        <p:txBody>
          <a:bodyPr/>
          <a:lstStyle>
            <a:lvl1pPr marL="0" indent="0">
              <a:buNone/>
              <a:defRPr b="1">
                <a:solidFill>
                  <a:schemeClr val="bg1"/>
                </a:solidFill>
              </a:defRPr>
            </a:lvl1pPr>
          </a:lstStyle>
          <a:p>
            <a:pPr lvl="0"/>
            <a:r>
              <a:rPr lang="nl-NL"/>
              <a:t>Titel</a:t>
            </a:r>
          </a:p>
        </p:txBody>
      </p:sp>
    </p:spTree>
    <p:extLst>
      <p:ext uri="{BB962C8B-B14F-4D97-AF65-F5344CB8AC3E}">
        <p14:creationId xmlns:p14="http://schemas.microsoft.com/office/powerpoint/2010/main" val="2504207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Quote A">
    <p:spTree>
      <p:nvGrpSpPr>
        <p:cNvPr id="1" name=""/>
        <p:cNvGrpSpPr/>
        <p:nvPr/>
      </p:nvGrpSpPr>
      <p:grpSpPr>
        <a:xfrm>
          <a:off x="0" y="0"/>
          <a:ext cx="0" cy="0"/>
          <a:chOff x="0" y="0"/>
          <a:chExt cx="0" cy="0"/>
        </a:xfrm>
      </p:grpSpPr>
      <p:grpSp>
        <p:nvGrpSpPr>
          <p:cNvPr id="31" name="Graphic 29">
            <a:extLst>
              <a:ext uri="{FF2B5EF4-FFF2-40B4-BE49-F238E27FC236}">
                <a16:creationId xmlns:a16="http://schemas.microsoft.com/office/drawing/2014/main" id="{7D024911-B419-8243-A722-49DA33101EDC}"/>
              </a:ext>
            </a:extLst>
          </p:cNvPr>
          <p:cNvGrpSpPr/>
          <p:nvPr/>
        </p:nvGrpSpPr>
        <p:grpSpPr>
          <a:xfrm>
            <a:off x="1758960" y="0"/>
            <a:ext cx="10433040" cy="6858000"/>
            <a:chOff x="880533" y="0"/>
            <a:chExt cx="10433040" cy="6858000"/>
          </a:xfrm>
        </p:grpSpPr>
        <p:sp>
          <p:nvSpPr>
            <p:cNvPr id="32" name="Vrije vorm 31">
              <a:extLst>
                <a:ext uri="{FF2B5EF4-FFF2-40B4-BE49-F238E27FC236}">
                  <a16:creationId xmlns:a16="http://schemas.microsoft.com/office/drawing/2014/main" id="{C4C94ED6-A74F-70A1-83E1-CFED8595E54F}"/>
                </a:ext>
              </a:extLst>
            </p:cNvPr>
            <p:cNvSpPr/>
            <p:nvPr/>
          </p:nvSpPr>
          <p:spPr>
            <a:xfrm>
              <a:off x="1051492" y="0"/>
              <a:ext cx="10262080" cy="6858000"/>
            </a:xfrm>
            <a:custGeom>
              <a:avLst/>
              <a:gdLst>
                <a:gd name="connsiteX0" fmla="*/ 3095505 w 10262080"/>
                <a:gd name="connsiteY0" fmla="*/ 6858000 h 6858000"/>
                <a:gd name="connsiteX1" fmla="*/ 10262081 w 10262080"/>
                <a:gd name="connsiteY1" fmla="*/ 6858000 h 6858000"/>
                <a:gd name="connsiteX2" fmla="*/ 10262081 w 10262080"/>
                <a:gd name="connsiteY2" fmla="*/ 0 h 6858000"/>
                <a:gd name="connsiteX3" fmla="*/ 306389 w 10262080"/>
                <a:gd name="connsiteY3" fmla="*/ 0 h 6858000"/>
                <a:gd name="connsiteX4" fmla="*/ 0 w 10262080"/>
                <a:gd name="connsiteY4" fmla="*/ 1835087 h 6858000"/>
                <a:gd name="connsiteX5" fmla="*/ 3095505 w 1026208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2080" h="6858000">
                  <a:moveTo>
                    <a:pt x="3095505" y="6858000"/>
                  </a:moveTo>
                  <a:lnTo>
                    <a:pt x="10262081" y="6858000"/>
                  </a:lnTo>
                  <a:lnTo>
                    <a:pt x="10262081" y="0"/>
                  </a:lnTo>
                  <a:lnTo>
                    <a:pt x="306389" y="0"/>
                  </a:lnTo>
                  <a:cubicBezTo>
                    <a:pt x="107865" y="575120"/>
                    <a:pt x="0" y="1192530"/>
                    <a:pt x="0" y="1835087"/>
                  </a:cubicBezTo>
                  <a:cubicBezTo>
                    <a:pt x="0" y="4031361"/>
                    <a:pt x="1259522" y="5933377"/>
                    <a:pt x="3095505" y="6858000"/>
                  </a:cubicBezTo>
                  <a:close/>
                </a:path>
              </a:pathLst>
            </a:custGeom>
            <a:solidFill>
              <a:srgbClr val="0065B0"/>
            </a:solidFill>
            <a:ln w="6348" cap="flat">
              <a:noFill/>
              <a:prstDash val="solid"/>
              <a:miter/>
            </a:ln>
          </p:spPr>
          <p:txBody>
            <a:bodyPr rtlCol="0" anchor="ctr"/>
            <a:lstStyle/>
            <a:p>
              <a:endParaRPr lang="nl-NL"/>
            </a:p>
          </p:txBody>
        </p:sp>
        <p:sp>
          <p:nvSpPr>
            <p:cNvPr id="33" name="Vrije vorm 32">
              <a:extLst>
                <a:ext uri="{FF2B5EF4-FFF2-40B4-BE49-F238E27FC236}">
                  <a16:creationId xmlns:a16="http://schemas.microsoft.com/office/drawing/2014/main" id="{EB9272CE-9839-BE20-6F1D-328225098A1D}"/>
                </a:ext>
              </a:extLst>
            </p:cNvPr>
            <p:cNvSpPr/>
            <p:nvPr/>
          </p:nvSpPr>
          <p:spPr>
            <a:xfrm>
              <a:off x="880533" y="1664066"/>
              <a:ext cx="3669428" cy="5193918"/>
            </a:xfrm>
            <a:custGeom>
              <a:avLst/>
              <a:gdLst>
                <a:gd name="connsiteX0" fmla="*/ 3669429 w 3669428"/>
                <a:gd name="connsiteY0" fmla="*/ 5193919 h 5193918"/>
                <a:gd name="connsiteX1" fmla="*/ 2906250 w 3669428"/>
                <a:gd name="connsiteY1" fmla="*/ 5193919 h 5193918"/>
                <a:gd name="connsiteX2" fmla="*/ 885519 w 3669428"/>
                <a:gd name="connsiteY2" fmla="*/ 3250374 h 5193918"/>
                <a:gd name="connsiteX3" fmla="*/ 0 w 3669428"/>
                <a:gd name="connsiteY3" fmla="*/ 171005 h 5193918"/>
                <a:gd name="connsiteX4" fmla="*/ 170971 w 3669428"/>
                <a:gd name="connsiteY4" fmla="*/ 0 h 5193918"/>
                <a:gd name="connsiteX5" fmla="*/ 341941 w 3669428"/>
                <a:gd name="connsiteY5" fmla="*/ 171005 h 5193918"/>
                <a:gd name="connsiteX6" fmla="*/ 1174956 w 3669428"/>
                <a:gd name="connsiteY6" fmla="*/ 3068320 h 5193918"/>
                <a:gd name="connsiteX7" fmla="*/ 3343358 w 3669428"/>
                <a:gd name="connsiteY7" fmla="*/ 5041201 h 5193918"/>
                <a:gd name="connsiteX8" fmla="*/ 3348501 w 3669428"/>
                <a:gd name="connsiteY8" fmla="*/ 5043932 h 5193918"/>
                <a:gd name="connsiteX9" fmla="*/ 3669429 w 3669428"/>
                <a:gd name="connsiteY9" fmla="*/ 5193919 h 519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69428" h="5193918">
                  <a:moveTo>
                    <a:pt x="3669429" y="5193919"/>
                  </a:moveTo>
                  <a:lnTo>
                    <a:pt x="2906250" y="5193919"/>
                  </a:lnTo>
                  <a:cubicBezTo>
                    <a:pt x="2086123" y="4722114"/>
                    <a:pt x="1391765" y="4055364"/>
                    <a:pt x="885519" y="3250374"/>
                  </a:cubicBezTo>
                  <a:cubicBezTo>
                    <a:pt x="306199" y="2329243"/>
                    <a:pt x="0" y="1264411"/>
                    <a:pt x="0" y="171005"/>
                  </a:cubicBezTo>
                  <a:cubicBezTo>
                    <a:pt x="0" y="76580"/>
                    <a:pt x="76565" y="0"/>
                    <a:pt x="170971" y="0"/>
                  </a:cubicBezTo>
                  <a:cubicBezTo>
                    <a:pt x="265376" y="0"/>
                    <a:pt x="341941" y="76580"/>
                    <a:pt x="341941" y="171005"/>
                  </a:cubicBezTo>
                  <a:cubicBezTo>
                    <a:pt x="341941" y="1199896"/>
                    <a:pt x="629983" y="2201736"/>
                    <a:pt x="1174956" y="3068320"/>
                  </a:cubicBezTo>
                  <a:cubicBezTo>
                    <a:pt x="1705327" y="3911664"/>
                    <a:pt x="2455174" y="4593908"/>
                    <a:pt x="3343358" y="5041201"/>
                  </a:cubicBezTo>
                  <a:lnTo>
                    <a:pt x="3348501" y="5043932"/>
                  </a:lnTo>
                  <a:cubicBezTo>
                    <a:pt x="3351041" y="5045328"/>
                    <a:pt x="3486585" y="5118734"/>
                    <a:pt x="3669429" y="5193919"/>
                  </a:cubicBezTo>
                  <a:close/>
                </a:path>
              </a:pathLst>
            </a:custGeom>
            <a:solidFill>
              <a:srgbClr val="9DD6FD"/>
            </a:solidFill>
            <a:ln w="6348" cap="flat">
              <a:noFill/>
              <a:prstDash val="solid"/>
              <a:miter/>
            </a:ln>
          </p:spPr>
          <p:txBody>
            <a:bodyPr rtlCol="0" anchor="ctr"/>
            <a:lstStyle/>
            <a:p>
              <a:endParaRPr lang="nl-NL"/>
            </a:p>
          </p:txBody>
        </p:sp>
      </p:grpSp>
      <p:sp>
        <p:nvSpPr>
          <p:cNvPr id="34" name="Ovaal 33">
            <a:extLst>
              <a:ext uri="{FF2B5EF4-FFF2-40B4-BE49-F238E27FC236}">
                <a16:creationId xmlns:a16="http://schemas.microsoft.com/office/drawing/2014/main" id="{85A04E84-E874-8F49-A98E-4B65DAD66AA0}"/>
              </a:ext>
            </a:extLst>
          </p:cNvPr>
          <p:cNvSpPr/>
          <p:nvPr userDrawn="1"/>
        </p:nvSpPr>
        <p:spPr>
          <a:xfrm>
            <a:off x="1318392" y="3560818"/>
            <a:ext cx="2557084" cy="2557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Tijdelijke aanduiding voor afbeelding 27">
            <a:extLst>
              <a:ext uri="{FF2B5EF4-FFF2-40B4-BE49-F238E27FC236}">
                <a16:creationId xmlns:a16="http://schemas.microsoft.com/office/drawing/2014/main" id="{B040AACD-2CE9-FF6E-75E7-2D5363413E9D}"/>
              </a:ext>
            </a:extLst>
          </p:cNvPr>
          <p:cNvSpPr>
            <a:spLocks noGrp="1"/>
          </p:cNvSpPr>
          <p:nvPr>
            <p:ph type="pic" sz="quarter" idx="10" hasCustomPrompt="1"/>
          </p:nvPr>
        </p:nvSpPr>
        <p:spPr>
          <a:xfrm>
            <a:off x="1440440" y="3682073"/>
            <a:ext cx="2312988" cy="2314575"/>
          </a:xfrm>
          <a:prstGeom prst="ellipse">
            <a:avLst/>
          </a:prstGeom>
          <a:solidFill>
            <a:schemeClr val="bg1">
              <a:lumMod val="85000"/>
            </a:schemeClr>
          </a:solidFill>
          <a:ln w="82550">
            <a:noFill/>
          </a:ln>
        </p:spPr>
        <p:txBody>
          <a:bodyPr anchor="ctr">
            <a:normAutofit/>
          </a:bodyPr>
          <a:lstStyle>
            <a:lvl1pPr marL="0" indent="0" algn="ctr">
              <a:buNone/>
              <a:defRPr sz="1400">
                <a:solidFill>
                  <a:schemeClr val="bg1"/>
                </a:solidFill>
              </a:defRPr>
            </a:lvl1pPr>
          </a:lstStyle>
          <a:p>
            <a:r>
              <a:rPr lang="nl-NL"/>
              <a:t>Voeg hier een afbeelding in</a:t>
            </a:r>
          </a:p>
        </p:txBody>
      </p:sp>
      <p:sp>
        <p:nvSpPr>
          <p:cNvPr id="35" name="Titel 1">
            <a:extLst>
              <a:ext uri="{FF2B5EF4-FFF2-40B4-BE49-F238E27FC236}">
                <a16:creationId xmlns:a16="http://schemas.microsoft.com/office/drawing/2014/main" id="{5ABA134B-650A-5F4C-CB5B-64A93AC45B7C}"/>
              </a:ext>
            </a:extLst>
          </p:cNvPr>
          <p:cNvSpPr>
            <a:spLocks noGrp="1"/>
          </p:cNvSpPr>
          <p:nvPr>
            <p:ph type="title" hasCustomPrompt="1"/>
          </p:nvPr>
        </p:nvSpPr>
        <p:spPr>
          <a:xfrm>
            <a:off x="4803244" y="2356510"/>
            <a:ext cx="5392722" cy="1325563"/>
          </a:xfrm>
        </p:spPr>
        <p:txBody>
          <a:bodyPr/>
          <a:lstStyle>
            <a:lvl1pPr>
              <a:defRPr b="1">
                <a:solidFill>
                  <a:schemeClr val="bg1"/>
                </a:solidFill>
              </a:defRPr>
            </a:lvl1pPr>
          </a:lstStyle>
          <a:p>
            <a:r>
              <a:rPr lang="nl-NL"/>
              <a:t>Klik om een quote toe te voegen</a:t>
            </a:r>
          </a:p>
        </p:txBody>
      </p:sp>
      <p:sp>
        <p:nvSpPr>
          <p:cNvPr id="73" name="Vrije vorm 72">
            <a:extLst>
              <a:ext uri="{FF2B5EF4-FFF2-40B4-BE49-F238E27FC236}">
                <a16:creationId xmlns:a16="http://schemas.microsoft.com/office/drawing/2014/main" id="{7F4A8F51-6AA3-8B54-9C29-556D6FB74044}"/>
              </a:ext>
            </a:extLst>
          </p:cNvPr>
          <p:cNvSpPr/>
          <p:nvPr userDrawn="1"/>
        </p:nvSpPr>
        <p:spPr>
          <a:xfrm>
            <a:off x="2795730" y="582572"/>
            <a:ext cx="1600102" cy="1045922"/>
          </a:xfrm>
          <a:custGeom>
            <a:avLst/>
            <a:gdLst>
              <a:gd name="connsiteX0" fmla="*/ 23140 w 1600102"/>
              <a:gd name="connsiteY0" fmla="*/ 856456 h 1045922"/>
              <a:gd name="connsiteX1" fmla="*/ 377186 w 1600102"/>
              <a:gd name="connsiteY1" fmla="*/ 156268 h 1045922"/>
              <a:gd name="connsiteX2" fmla="*/ 599471 w 1600102"/>
              <a:gd name="connsiteY2" fmla="*/ 0 h 1045922"/>
              <a:gd name="connsiteX3" fmla="*/ 681948 w 1600102"/>
              <a:gd name="connsiteY3" fmla="*/ 0 h 1045922"/>
              <a:gd name="connsiteX4" fmla="*/ 784876 w 1600102"/>
              <a:gd name="connsiteY4" fmla="*/ 172700 h 1045922"/>
              <a:gd name="connsiteX5" fmla="*/ 488496 w 1600102"/>
              <a:gd name="connsiteY5" fmla="*/ 893679 h 1045922"/>
              <a:gd name="connsiteX6" fmla="*/ 249783 w 1600102"/>
              <a:gd name="connsiteY6" fmla="*/ 1045923 h 1045922"/>
              <a:gd name="connsiteX7" fmla="*/ 130091 w 1600102"/>
              <a:gd name="connsiteY7" fmla="*/ 1045923 h 1045922"/>
              <a:gd name="connsiteX8" fmla="*/ 23140 w 1600102"/>
              <a:gd name="connsiteY8" fmla="*/ 856456 h 1045922"/>
              <a:gd name="connsiteX9" fmla="*/ 822091 w 1600102"/>
              <a:gd name="connsiteY9" fmla="*/ 856456 h 1045922"/>
              <a:gd name="connsiteX10" fmla="*/ 1176138 w 1600102"/>
              <a:gd name="connsiteY10" fmla="*/ 156268 h 1045922"/>
              <a:gd name="connsiteX11" fmla="*/ 1398422 w 1600102"/>
              <a:gd name="connsiteY11" fmla="*/ 0 h 1045922"/>
              <a:gd name="connsiteX12" fmla="*/ 1480899 w 1600102"/>
              <a:gd name="connsiteY12" fmla="*/ 0 h 1045922"/>
              <a:gd name="connsiteX13" fmla="*/ 1583827 w 1600102"/>
              <a:gd name="connsiteY13" fmla="*/ 172700 h 1045922"/>
              <a:gd name="connsiteX14" fmla="*/ 1287112 w 1600102"/>
              <a:gd name="connsiteY14" fmla="*/ 893679 h 1045922"/>
              <a:gd name="connsiteX15" fmla="*/ 1048399 w 1600102"/>
              <a:gd name="connsiteY15" fmla="*/ 1045923 h 1045922"/>
              <a:gd name="connsiteX16" fmla="*/ 929043 w 1600102"/>
              <a:gd name="connsiteY16" fmla="*/ 1045923 h 1045922"/>
              <a:gd name="connsiteX17" fmla="*/ 822091 w 1600102"/>
              <a:gd name="connsiteY17" fmla="*/ 856456 h 104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0102" h="1045922">
                <a:moveTo>
                  <a:pt x="23140" y="856456"/>
                </a:moveTo>
                <a:lnTo>
                  <a:pt x="377186" y="156268"/>
                </a:lnTo>
                <a:cubicBezTo>
                  <a:pt x="430830" y="49295"/>
                  <a:pt x="492520" y="0"/>
                  <a:pt x="599471" y="0"/>
                </a:cubicBezTo>
                <a:lnTo>
                  <a:pt x="681948" y="0"/>
                </a:lnTo>
                <a:cubicBezTo>
                  <a:pt x="788899" y="0"/>
                  <a:pt x="826114" y="74110"/>
                  <a:pt x="784876" y="172700"/>
                </a:cubicBezTo>
                <a:lnTo>
                  <a:pt x="488496" y="893679"/>
                </a:lnTo>
                <a:cubicBezTo>
                  <a:pt x="447258" y="992269"/>
                  <a:pt x="369140" y="1045923"/>
                  <a:pt x="249783" y="1045923"/>
                </a:cubicBezTo>
                <a:lnTo>
                  <a:pt x="130091" y="1045923"/>
                </a:lnTo>
                <a:cubicBezTo>
                  <a:pt x="10735" y="1045923"/>
                  <a:pt x="-30504" y="963429"/>
                  <a:pt x="23140" y="856456"/>
                </a:cubicBezTo>
                <a:close/>
                <a:moveTo>
                  <a:pt x="822091" y="856456"/>
                </a:moveTo>
                <a:lnTo>
                  <a:pt x="1176138" y="156268"/>
                </a:lnTo>
                <a:cubicBezTo>
                  <a:pt x="1229446" y="49295"/>
                  <a:pt x="1291471" y="0"/>
                  <a:pt x="1398422" y="0"/>
                </a:cubicBezTo>
                <a:lnTo>
                  <a:pt x="1480899" y="0"/>
                </a:lnTo>
                <a:cubicBezTo>
                  <a:pt x="1587850" y="0"/>
                  <a:pt x="1624730" y="74110"/>
                  <a:pt x="1583827" y="172700"/>
                </a:cubicBezTo>
                <a:lnTo>
                  <a:pt x="1287112" y="893679"/>
                </a:lnTo>
                <a:cubicBezTo>
                  <a:pt x="1246209" y="992269"/>
                  <a:pt x="1167756" y="1045923"/>
                  <a:pt x="1048399" y="1045923"/>
                </a:cubicBezTo>
                <a:lnTo>
                  <a:pt x="929043" y="1045923"/>
                </a:lnTo>
                <a:cubicBezTo>
                  <a:pt x="809686" y="1045923"/>
                  <a:pt x="768448" y="963429"/>
                  <a:pt x="822091" y="856456"/>
                </a:cubicBezTo>
                <a:close/>
              </a:path>
            </a:pathLst>
          </a:custGeom>
          <a:solidFill>
            <a:schemeClr val="bg1">
              <a:alpha val="19635"/>
            </a:schemeClr>
          </a:solidFill>
          <a:ln w="6348" cap="flat">
            <a:noFill/>
            <a:prstDash val="solid"/>
            <a:miter/>
          </a:ln>
        </p:spPr>
        <p:txBody>
          <a:bodyPr rtlCol="0" anchor="ctr"/>
          <a:lstStyle/>
          <a:p>
            <a:endParaRPr lang="nl-NL"/>
          </a:p>
        </p:txBody>
      </p:sp>
      <p:sp>
        <p:nvSpPr>
          <p:cNvPr id="74" name="Vrije vorm 73">
            <a:extLst>
              <a:ext uri="{FF2B5EF4-FFF2-40B4-BE49-F238E27FC236}">
                <a16:creationId xmlns:a16="http://schemas.microsoft.com/office/drawing/2014/main" id="{C3056ADA-2281-1018-E3F8-068DEEF1D1B3}"/>
              </a:ext>
            </a:extLst>
          </p:cNvPr>
          <p:cNvSpPr/>
          <p:nvPr userDrawn="1"/>
        </p:nvSpPr>
        <p:spPr>
          <a:xfrm>
            <a:off x="9871837" y="4909606"/>
            <a:ext cx="1599963" cy="1045922"/>
          </a:xfrm>
          <a:custGeom>
            <a:avLst/>
            <a:gdLst>
              <a:gd name="connsiteX0" fmla="*/ 16472 w 1599963"/>
              <a:gd name="connsiteY0" fmla="*/ 872888 h 1045922"/>
              <a:gd name="connsiteX1" fmla="*/ 312852 w 1599963"/>
              <a:gd name="connsiteY1" fmla="*/ 152244 h 1045922"/>
              <a:gd name="connsiteX2" fmla="*/ 551565 w 1599963"/>
              <a:gd name="connsiteY2" fmla="*/ 0 h 1045922"/>
              <a:gd name="connsiteX3" fmla="*/ 670921 w 1599963"/>
              <a:gd name="connsiteY3" fmla="*/ 0 h 1045922"/>
              <a:gd name="connsiteX4" fmla="*/ 778208 w 1599963"/>
              <a:gd name="connsiteY4" fmla="*/ 189466 h 1045922"/>
              <a:gd name="connsiteX5" fmla="*/ 423827 w 1599963"/>
              <a:gd name="connsiteY5" fmla="*/ 889319 h 1045922"/>
              <a:gd name="connsiteX6" fmla="*/ 201542 w 1599963"/>
              <a:gd name="connsiteY6" fmla="*/ 1045923 h 1045922"/>
              <a:gd name="connsiteX7" fmla="*/ 119400 w 1599963"/>
              <a:gd name="connsiteY7" fmla="*/ 1045923 h 1045922"/>
              <a:gd name="connsiteX8" fmla="*/ 16472 w 1599963"/>
              <a:gd name="connsiteY8" fmla="*/ 872888 h 1045922"/>
              <a:gd name="connsiteX9" fmla="*/ 815088 w 1599963"/>
              <a:gd name="connsiteY9" fmla="*/ 872888 h 1045922"/>
              <a:gd name="connsiteX10" fmla="*/ 1111467 w 1599963"/>
              <a:gd name="connsiteY10" fmla="*/ 152244 h 1045922"/>
              <a:gd name="connsiteX11" fmla="*/ 1350516 w 1599963"/>
              <a:gd name="connsiteY11" fmla="*/ 0 h 1045922"/>
              <a:gd name="connsiteX12" fmla="*/ 1469873 w 1599963"/>
              <a:gd name="connsiteY12" fmla="*/ 0 h 1045922"/>
              <a:gd name="connsiteX13" fmla="*/ 1576824 w 1599963"/>
              <a:gd name="connsiteY13" fmla="*/ 189466 h 1045922"/>
              <a:gd name="connsiteX14" fmla="*/ 1222778 w 1599963"/>
              <a:gd name="connsiteY14" fmla="*/ 889319 h 1045922"/>
              <a:gd name="connsiteX15" fmla="*/ 1000493 w 1599963"/>
              <a:gd name="connsiteY15" fmla="*/ 1045923 h 1045922"/>
              <a:gd name="connsiteX16" fmla="*/ 918016 w 1599963"/>
              <a:gd name="connsiteY16" fmla="*/ 1045923 h 1045922"/>
              <a:gd name="connsiteX17" fmla="*/ 815088 w 1599963"/>
              <a:gd name="connsiteY17" fmla="*/ 872888 h 104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9963" h="1045922">
                <a:moveTo>
                  <a:pt x="16472" y="872888"/>
                </a:moveTo>
                <a:lnTo>
                  <a:pt x="312852" y="152244"/>
                </a:lnTo>
                <a:cubicBezTo>
                  <a:pt x="354090" y="53319"/>
                  <a:pt x="432208" y="0"/>
                  <a:pt x="551565" y="0"/>
                </a:cubicBezTo>
                <a:lnTo>
                  <a:pt x="670921" y="0"/>
                </a:lnTo>
                <a:cubicBezTo>
                  <a:pt x="790278" y="0"/>
                  <a:pt x="831517" y="82158"/>
                  <a:pt x="778208" y="189466"/>
                </a:cubicBezTo>
                <a:lnTo>
                  <a:pt x="423827" y="889319"/>
                </a:lnTo>
                <a:cubicBezTo>
                  <a:pt x="370518" y="996628"/>
                  <a:pt x="308828" y="1045923"/>
                  <a:pt x="201542" y="1045923"/>
                </a:cubicBezTo>
                <a:lnTo>
                  <a:pt x="119400" y="1045923"/>
                </a:lnTo>
                <a:cubicBezTo>
                  <a:pt x="12113" y="1045923"/>
                  <a:pt x="-24767" y="971813"/>
                  <a:pt x="16472" y="872888"/>
                </a:cubicBezTo>
                <a:close/>
                <a:moveTo>
                  <a:pt x="815088" y="872888"/>
                </a:moveTo>
                <a:lnTo>
                  <a:pt x="1111467" y="152244"/>
                </a:lnTo>
                <a:cubicBezTo>
                  <a:pt x="1152706" y="53319"/>
                  <a:pt x="1230824" y="0"/>
                  <a:pt x="1350516" y="0"/>
                </a:cubicBezTo>
                <a:lnTo>
                  <a:pt x="1469873" y="0"/>
                </a:lnTo>
                <a:cubicBezTo>
                  <a:pt x="1589229" y="0"/>
                  <a:pt x="1630468" y="82158"/>
                  <a:pt x="1576824" y="189466"/>
                </a:cubicBezTo>
                <a:lnTo>
                  <a:pt x="1222778" y="889319"/>
                </a:lnTo>
                <a:cubicBezTo>
                  <a:pt x="1169134" y="996628"/>
                  <a:pt x="1107445" y="1045923"/>
                  <a:pt x="1000493" y="1045923"/>
                </a:cubicBezTo>
                <a:lnTo>
                  <a:pt x="918016" y="1045923"/>
                </a:lnTo>
                <a:cubicBezTo>
                  <a:pt x="811065" y="1045923"/>
                  <a:pt x="773850" y="971813"/>
                  <a:pt x="815088" y="872888"/>
                </a:cubicBezTo>
                <a:close/>
              </a:path>
            </a:pathLst>
          </a:custGeom>
          <a:solidFill>
            <a:schemeClr val="bg1">
              <a:alpha val="19635"/>
            </a:schemeClr>
          </a:solidFill>
          <a:ln w="6348" cap="flat">
            <a:noFill/>
            <a:prstDash val="solid"/>
            <a:miter/>
          </a:ln>
        </p:spPr>
        <p:txBody>
          <a:bodyPr rtlCol="0" anchor="ctr"/>
          <a:lstStyle/>
          <a:p>
            <a:endParaRPr lang="nl-NL"/>
          </a:p>
        </p:txBody>
      </p:sp>
      <p:sp>
        <p:nvSpPr>
          <p:cNvPr id="78" name="Tijdelijke aanduiding voor tekst 77">
            <a:extLst>
              <a:ext uri="{FF2B5EF4-FFF2-40B4-BE49-F238E27FC236}">
                <a16:creationId xmlns:a16="http://schemas.microsoft.com/office/drawing/2014/main" id="{AE7492E6-9E36-955B-1202-6A8E95E90DF8}"/>
              </a:ext>
            </a:extLst>
          </p:cNvPr>
          <p:cNvSpPr>
            <a:spLocks noGrp="1"/>
          </p:cNvSpPr>
          <p:nvPr>
            <p:ph type="body" sz="quarter" idx="11" hasCustomPrompt="1"/>
          </p:nvPr>
        </p:nvSpPr>
        <p:spPr>
          <a:xfrm>
            <a:off x="4804256" y="3931496"/>
            <a:ext cx="5457825" cy="339168"/>
          </a:xfrm>
          <a:noFill/>
        </p:spPr>
        <p:txBody>
          <a:bodyPr>
            <a:normAutofit/>
          </a:bodyPr>
          <a:lstStyle>
            <a:lvl1pPr marL="0" indent="0">
              <a:buNone/>
              <a:defRPr sz="15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Naam en functie</a:t>
            </a:r>
          </a:p>
        </p:txBody>
      </p:sp>
      <p:sp>
        <p:nvSpPr>
          <p:cNvPr id="2" name="Vrije vorm 1">
            <a:extLst>
              <a:ext uri="{FF2B5EF4-FFF2-40B4-BE49-F238E27FC236}">
                <a16:creationId xmlns:a16="http://schemas.microsoft.com/office/drawing/2014/main" id="{18D64000-929A-E6DE-1A71-ED17F9F98A61}"/>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3" name="Graphic 10">
            <a:extLst>
              <a:ext uri="{FF2B5EF4-FFF2-40B4-BE49-F238E27FC236}">
                <a16:creationId xmlns:a16="http://schemas.microsoft.com/office/drawing/2014/main" id="{B4CF6043-6F0E-C9F0-02E3-9347AF6D61FF}"/>
              </a:ext>
            </a:extLst>
          </p:cNvPr>
          <p:cNvGrpSpPr/>
          <p:nvPr userDrawn="1"/>
        </p:nvGrpSpPr>
        <p:grpSpPr>
          <a:xfrm>
            <a:off x="10903435" y="299495"/>
            <a:ext cx="1082602" cy="448481"/>
            <a:chOff x="10903435" y="299495"/>
            <a:chExt cx="1082602" cy="448481"/>
          </a:xfrm>
        </p:grpSpPr>
        <p:sp>
          <p:nvSpPr>
            <p:cNvPr id="4" name="Vrije vorm 3">
              <a:extLst>
                <a:ext uri="{FF2B5EF4-FFF2-40B4-BE49-F238E27FC236}">
                  <a16:creationId xmlns:a16="http://schemas.microsoft.com/office/drawing/2014/main" id="{8DC4E29D-B3EA-A468-8D72-9E82FFC86517}"/>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75585C97-634C-C511-621E-44EA8F25D092}"/>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6" name="Vrije vorm 5">
              <a:extLst>
                <a:ext uri="{FF2B5EF4-FFF2-40B4-BE49-F238E27FC236}">
                  <a16:creationId xmlns:a16="http://schemas.microsoft.com/office/drawing/2014/main" id="{F82414C8-0EB6-0D4B-1137-69D3776206DB}"/>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7" name="Vrije vorm 6">
              <a:extLst>
                <a:ext uri="{FF2B5EF4-FFF2-40B4-BE49-F238E27FC236}">
                  <a16:creationId xmlns:a16="http://schemas.microsoft.com/office/drawing/2014/main" id="{8632E6B2-B90D-5006-E83C-E40749A61B54}"/>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A5184AAC-AC43-81EE-C7D4-69F9277BAF64}"/>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F8F6E176-933D-3ECF-D222-EE9431C6CC1F}"/>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1305A49D-EF25-A94D-69C1-4005F2652382}"/>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67BCA47E-7DDA-B46B-82B4-DAB29F491249}"/>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2FACEFAD-1B57-32EC-DD4D-8CBEB129773C}"/>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9" name="Vrije vorm 28">
              <a:extLst>
                <a:ext uri="{FF2B5EF4-FFF2-40B4-BE49-F238E27FC236}">
                  <a16:creationId xmlns:a16="http://schemas.microsoft.com/office/drawing/2014/main" id="{AC471A5D-7878-4D76-3605-9F8014D7C92C}"/>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30" name="Vrije vorm 29">
              <a:extLst>
                <a:ext uri="{FF2B5EF4-FFF2-40B4-BE49-F238E27FC236}">
                  <a16:creationId xmlns:a16="http://schemas.microsoft.com/office/drawing/2014/main" id="{9440640E-874C-A973-FE26-CC8C87585CC3}"/>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36" name="Vrije vorm 35">
              <a:extLst>
                <a:ext uri="{FF2B5EF4-FFF2-40B4-BE49-F238E27FC236}">
                  <a16:creationId xmlns:a16="http://schemas.microsoft.com/office/drawing/2014/main" id="{03867C70-C89D-8F31-168C-C5A5C07A8CA5}"/>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3509991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B">
    <p:spTree>
      <p:nvGrpSpPr>
        <p:cNvPr id="1" name=""/>
        <p:cNvGrpSpPr/>
        <p:nvPr/>
      </p:nvGrpSpPr>
      <p:grpSpPr>
        <a:xfrm>
          <a:off x="0" y="0"/>
          <a:ext cx="0" cy="0"/>
          <a:chOff x="0" y="0"/>
          <a:chExt cx="0" cy="0"/>
        </a:xfrm>
      </p:grpSpPr>
      <p:grpSp>
        <p:nvGrpSpPr>
          <p:cNvPr id="31" name="Graphic 29">
            <a:extLst>
              <a:ext uri="{FF2B5EF4-FFF2-40B4-BE49-F238E27FC236}">
                <a16:creationId xmlns:a16="http://schemas.microsoft.com/office/drawing/2014/main" id="{7D024911-B419-8243-A722-49DA33101EDC}"/>
              </a:ext>
            </a:extLst>
          </p:cNvPr>
          <p:cNvGrpSpPr/>
          <p:nvPr/>
        </p:nvGrpSpPr>
        <p:grpSpPr>
          <a:xfrm>
            <a:off x="1758960" y="0"/>
            <a:ext cx="10433040" cy="6858000"/>
            <a:chOff x="880533" y="0"/>
            <a:chExt cx="10433040" cy="6858000"/>
          </a:xfrm>
        </p:grpSpPr>
        <p:sp>
          <p:nvSpPr>
            <p:cNvPr id="32" name="Vrije vorm 31">
              <a:extLst>
                <a:ext uri="{FF2B5EF4-FFF2-40B4-BE49-F238E27FC236}">
                  <a16:creationId xmlns:a16="http://schemas.microsoft.com/office/drawing/2014/main" id="{C4C94ED6-A74F-70A1-83E1-CFED8595E54F}"/>
                </a:ext>
              </a:extLst>
            </p:cNvPr>
            <p:cNvSpPr/>
            <p:nvPr/>
          </p:nvSpPr>
          <p:spPr>
            <a:xfrm>
              <a:off x="1051492" y="0"/>
              <a:ext cx="10262080" cy="6858000"/>
            </a:xfrm>
            <a:custGeom>
              <a:avLst/>
              <a:gdLst>
                <a:gd name="connsiteX0" fmla="*/ 3095505 w 10262080"/>
                <a:gd name="connsiteY0" fmla="*/ 6858000 h 6858000"/>
                <a:gd name="connsiteX1" fmla="*/ 10262081 w 10262080"/>
                <a:gd name="connsiteY1" fmla="*/ 6858000 h 6858000"/>
                <a:gd name="connsiteX2" fmla="*/ 10262081 w 10262080"/>
                <a:gd name="connsiteY2" fmla="*/ 0 h 6858000"/>
                <a:gd name="connsiteX3" fmla="*/ 306389 w 10262080"/>
                <a:gd name="connsiteY3" fmla="*/ 0 h 6858000"/>
                <a:gd name="connsiteX4" fmla="*/ 0 w 10262080"/>
                <a:gd name="connsiteY4" fmla="*/ 1835087 h 6858000"/>
                <a:gd name="connsiteX5" fmla="*/ 3095505 w 10262080"/>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62080" h="6858000">
                  <a:moveTo>
                    <a:pt x="3095505" y="6858000"/>
                  </a:moveTo>
                  <a:lnTo>
                    <a:pt x="10262081" y="6858000"/>
                  </a:lnTo>
                  <a:lnTo>
                    <a:pt x="10262081" y="0"/>
                  </a:lnTo>
                  <a:lnTo>
                    <a:pt x="306389" y="0"/>
                  </a:lnTo>
                  <a:cubicBezTo>
                    <a:pt x="107865" y="575120"/>
                    <a:pt x="0" y="1192530"/>
                    <a:pt x="0" y="1835087"/>
                  </a:cubicBezTo>
                  <a:cubicBezTo>
                    <a:pt x="0" y="4031361"/>
                    <a:pt x="1259522" y="5933377"/>
                    <a:pt x="3095505" y="6858000"/>
                  </a:cubicBezTo>
                  <a:close/>
                </a:path>
              </a:pathLst>
            </a:custGeom>
            <a:solidFill>
              <a:srgbClr val="C7E8F1"/>
            </a:solidFill>
            <a:ln w="6348" cap="flat">
              <a:noFill/>
              <a:prstDash val="solid"/>
              <a:miter/>
            </a:ln>
          </p:spPr>
          <p:txBody>
            <a:bodyPr rtlCol="0" anchor="ctr"/>
            <a:lstStyle/>
            <a:p>
              <a:endParaRPr lang="nl-NL"/>
            </a:p>
          </p:txBody>
        </p:sp>
        <p:sp>
          <p:nvSpPr>
            <p:cNvPr id="33" name="Vrije vorm 32">
              <a:extLst>
                <a:ext uri="{FF2B5EF4-FFF2-40B4-BE49-F238E27FC236}">
                  <a16:creationId xmlns:a16="http://schemas.microsoft.com/office/drawing/2014/main" id="{EB9272CE-9839-BE20-6F1D-328225098A1D}"/>
                </a:ext>
              </a:extLst>
            </p:cNvPr>
            <p:cNvSpPr/>
            <p:nvPr/>
          </p:nvSpPr>
          <p:spPr>
            <a:xfrm>
              <a:off x="880533" y="1664066"/>
              <a:ext cx="3669428" cy="5193918"/>
            </a:xfrm>
            <a:custGeom>
              <a:avLst/>
              <a:gdLst>
                <a:gd name="connsiteX0" fmla="*/ 3669429 w 3669428"/>
                <a:gd name="connsiteY0" fmla="*/ 5193919 h 5193918"/>
                <a:gd name="connsiteX1" fmla="*/ 2906250 w 3669428"/>
                <a:gd name="connsiteY1" fmla="*/ 5193919 h 5193918"/>
                <a:gd name="connsiteX2" fmla="*/ 885519 w 3669428"/>
                <a:gd name="connsiteY2" fmla="*/ 3250374 h 5193918"/>
                <a:gd name="connsiteX3" fmla="*/ 0 w 3669428"/>
                <a:gd name="connsiteY3" fmla="*/ 171005 h 5193918"/>
                <a:gd name="connsiteX4" fmla="*/ 170971 w 3669428"/>
                <a:gd name="connsiteY4" fmla="*/ 0 h 5193918"/>
                <a:gd name="connsiteX5" fmla="*/ 341941 w 3669428"/>
                <a:gd name="connsiteY5" fmla="*/ 171005 h 5193918"/>
                <a:gd name="connsiteX6" fmla="*/ 1174956 w 3669428"/>
                <a:gd name="connsiteY6" fmla="*/ 3068320 h 5193918"/>
                <a:gd name="connsiteX7" fmla="*/ 3343358 w 3669428"/>
                <a:gd name="connsiteY7" fmla="*/ 5041201 h 5193918"/>
                <a:gd name="connsiteX8" fmla="*/ 3348501 w 3669428"/>
                <a:gd name="connsiteY8" fmla="*/ 5043932 h 5193918"/>
                <a:gd name="connsiteX9" fmla="*/ 3669429 w 3669428"/>
                <a:gd name="connsiteY9" fmla="*/ 5193919 h 5193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69428" h="5193918">
                  <a:moveTo>
                    <a:pt x="3669429" y="5193919"/>
                  </a:moveTo>
                  <a:lnTo>
                    <a:pt x="2906250" y="5193919"/>
                  </a:lnTo>
                  <a:cubicBezTo>
                    <a:pt x="2086123" y="4722114"/>
                    <a:pt x="1391765" y="4055364"/>
                    <a:pt x="885519" y="3250374"/>
                  </a:cubicBezTo>
                  <a:cubicBezTo>
                    <a:pt x="306199" y="2329243"/>
                    <a:pt x="0" y="1264411"/>
                    <a:pt x="0" y="171005"/>
                  </a:cubicBezTo>
                  <a:cubicBezTo>
                    <a:pt x="0" y="76580"/>
                    <a:pt x="76565" y="0"/>
                    <a:pt x="170971" y="0"/>
                  </a:cubicBezTo>
                  <a:cubicBezTo>
                    <a:pt x="265376" y="0"/>
                    <a:pt x="341941" y="76580"/>
                    <a:pt x="341941" y="171005"/>
                  </a:cubicBezTo>
                  <a:cubicBezTo>
                    <a:pt x="341941" y="1199896"/>
                    <a:pt x="629983" y="2201736"/>
                    <a:pt x="1174956" y="3068320"/>
                  </a:cubicBezTo>
                  <a:cubicBezTo>
                    <a:pt x="1705327" y="3911664"/>
                    <a:pt x="2455174" y="4593908"/>
                    <a:pt x="3343358" y="5041201"/>
                  </a:cubicBezTo>
                  <a:lnTo>
                    <a:pt x="3348501" y="5043932"/>
                  </a:lnTo>
                  <a:cubicBezTo>
                    <a:pt x="3351041" y="5045328"/>
                    <a:pt x="3486585" y="5118734"/>
                    <a:pt x="3669429" y="5193919"/>
                  </a:cubicBezTo>
                  <a:close/>
                </a:path>
              </a:pathLst>
            </a:custGeom>
            <a:solidFill>
              <a:srgbClr val="0065B0"/>
            </a:solidFill>
            <a:ln w="6348" cap="flat">
              <a:noFill/>
              <a:prstDash val="solid"/>
              <a:miter/>
            </a:ln>
          </p:spPr>
          <p:txBody>
            <a:bodyPr rtlCol="0" anchor="ctr"/>
            <a:lstStyle/>
            <a:p>
              <a:endParaRPr lang="nl-NL"/>
            </a:p>
          </p:txBody>
        </p:sp>
      </p:grpSp>
      <p:sp>
        <p:nvSpPr>
          <p:cNvPr id="34" name="Ovaal 33">
            <a:extLst>
              <a:ext uri="{FF2B5EF4-FFF2-40B4-BE49-F238E27FC236}">
                <a16:creationId xmlns:a16="http://schemas.microsoft.com/office/drawing/2014/main" id="{85A04E84-E874-8F49-A98E-4B65DAD66AA0}"/>
              </a:ext>
            </a:extLst>
          </p:cNvPr>
          <p:cNvSpPr/>
          <p:nvPr userDrawn="1"/>
        </p:nvSpPr>
        <p:spPr>
          <a:xfrm>
            <a:off x="1318392" y="3560818"/>
            <a:ext cx="2557084" cy="255708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28" name="Tijdelijke aanduiding voor afbeelding 27">
            <a:extLst>
              <a:ext uri="{FF2B5EF4-FFF2-40B4-BE49-F238E27FC236}">
                <a16:creationId xmlns:a16="http://schemas.microsoft.com/office/drawing/2014/main" id="{B040AACD-2CE9-FF6E-75E7-2D5363413E9D}"/>
              </a:ext>
            </a:extLst>
          </p:cNvPr>
          <p:cNvSpPr>
            <a:spLocks noGrp="1"/>
          </p:cNvSpPr>
          <p:nvPr>
            <p:ph type="pic" sz="quarter" idx="10" hasCustomPrompt="1"/>
          </p:nvPr>
        </p:nvSpPr>
        <p:spPr>
          <a:xfrm>
            <a:off x="1440440" y="3682073"/>
            <a:ext cx="2312988" cy="2314575"/>
          </a:xfrm>
          <a:prstGeom prst="ellipse">
            <a:avLst/>
          </a:prstGeom>
          <a:solidFill>
            <a:schemeClr val="bg1">
              <a:lumMod val="85000"/>
            </a:schemeClr>
          </a:solidFill>
          <a:ln w="82550">
            <a:noFill/>
          </a:ln>
        </p:spPr>
        <p:txBody>
          <a:bodyPr anchor="ctr">
            <a:normAutofit/>
          </a:bodyPr>
          <a:lstStyle>
            <a:lvl1pPr marL="0" indent="0" algn="ctr">
              <a:buNone/>
              <a:defRPr sz="1400">
                <a:solidFill>
                  <a:schemeClr val="bg1"/>
                </a:solidFill>
              </a:defRPr>
            </a:lvl1pPr>
          </a:lstStyle>
          <a:p>
            <a:r>
              <a:rPr lang="nl-NL"/>
              <a:t>Voeg hier een afbeelding in</a:t>
            </a:r>
          </a:p>
        </p:txBody>
      </p:sp>
      <p:sp>
        <p:nvSpPr>
          <p:cNvPr id="35" name="Titel 1">
            <a:extLst>
              <a:ext uri="{FF2B5EF4-FFF2-40B4-BE49-F238E27FC236}">
                <a16:creationId xmlns:a16="http://schemas.microsoft.com/office/drawing/2014/main" id="{5ABA134B-650A-5F4C-CB5B-64A93AC45B7C}"/>
              </a:ext>
            </a:extLst>
          </p:cNvPr>
          <p:cNvSpPr>
            <a:spLocks noGrp="1"/>
          </p:cNvSpPr>
          <p:nvPr>
            <p:ph type="title" hasCustomPrompt="1"/>
          </p:nvPr>
        </p:nvSpPr>
        <p:spPr>
          <a:xfrm>
            <a:off x="4803244" y="2356510"/>
            <a:ext cx="5392722" cy="1325563"/>
          </a:xfrm>
        </p:spPr>
        <p:txBody>
          <a:bodyPr/>
          <a:lstStyle>
            <a:lvl1pPr>
              <a:defRPr b="1">
                <a:solidFill>
                  <a:srgbClr val="002B5F"/>
                </a:solidFill>
              </a:defRPr>
            </a:lvl1pPr>
          </a:lstStyle>
          <a:p>
            <a:r>
              <a:rPr lang="nl-NL"/>
              <a:t>Klik om een quote toe te voegen</a:t>
            </a:r>
          </a:p>
        </p:txBody>
      </p:sp>
      <p:sp>
        <p:nvSpPr>
          <p:cNvPr id="2" name="Vrije vorm 1">
            <a:extLst>
              <a:ext uri="{FF2B5EF4-FFF2-40B4-BE49-F238E27FC236}">
                <a16:creationId xmlns:a16="http://schemas.microsoft.com/office/drawing/2014/main" id="{9FF467D0-55F6-860B-BE21-BECCBAD9B8DA}"/>
              </a:ext>
            </a:extLst>
          </p:cNvPr>
          <p:cNvSpPr/>
          <p:nvPr userDrawn="1"/>
        </p:nvSpPr>
        <p:spPr>
          <a:xfrm>
            <a:off x="2795730" y="582572"/>
            <a:ext cx="1600102" cy="1045922"/>
          </a:xfrm>
          <a:custGeom>
            <a:avLst/>
            <a:gdLst>
              <a:gd name="connsiteX0" fmla="*/ 23140 w 1600102"/>
              <a:gd name="connsiteY0" fmla="*/ 856456 h 1045922"/>
              <a:gd name="connsiteX1" fmla="*/ 377186 w 1600102"/>
              <a:gd name="connsiteY1" fmla="*/ 156268 h 1045922"/>
              <a:gd name="connsiteX2" fmla="*/ 599471 w 1600102"/>
              <a:gd name="connsiteY2" fmla="*/ 0 h 1045922"/>
              <a:gd name="connsiteX3" fmla="*/ 681948 w 1600102"/>
              <a:gd name="connsiteY3" fmla="*/ 0 h 1045922"/>
              <a:gd name="connsiteX4" fmla="*/ 784876 w 1600102"/>
              <a:gd name="connsiteY4" fmla="*/ 172700 h 1045922"/>
              <a:gd name="connsiteX5" fmla="*/ 488496 w 1600102"/>
              <a:gd name="connsiteY5" fmla="*/ 893679 h 1045922"/>
              <a:gd name="connsiteX6" fmla="*/ 249783 w 1600102"/>
              <a:gd name="connsiteY6" fmla="*/ 1045923 h 1045922"/>
              <a:gd name="connsiteX7" fmla="*/ 130091 w 1600102"/>
              <a:gd name="connsiteY7" fmla="*/ 1045923 h 1045922"/>
              <a:gd name="connsiteX8" fmla="*/ 23140 w 1600102"/>
              <a:gd name="connsiteY8" fmla="*/ 856456 h 1045922"/>
              <a:gd name="connsiteX9" fmla="*/ 822091 w 1600102"/>
              <a:gd name="connsiteY9" fmla="*/ 856456 h 1045922"/>
              <a:gd name="connsiteX10" fmla="*/ 1176138 w 1600102"/>
              <a:gd name="connsiteY10" fmla="*/ 156268 h 1045922"/>
              <a:gd name="connsiteX11" fmla="*/ 1398422 w 1600102"/>
              <a:gd name="connsiteY11" fmla="*/ 0 h 1045922"/>
              <a:gd name="connsiteX12" fmla="*/ 1480899 w 1600102"/>
              <a:gd name="connsiteY12" fmla="*/ 0 h 1045922"/>
              <a:gd name="connsiteX13" fmla="*/ 1583827 w 1600102"/>
              <a:gd name="connsiteY13" fmla="*/ 172700 h 1045922"/>
              <a:gd name="connsiteX14" fmla="*/ 1287112 w 1600102"/>
              <a:gd name="connsiteY14" fmla="*/ 893679 h 1045922"/>
              <a:gd name="connsiteX15" fmla="*/ 1048399 w 1600102"/>
              <a:gd name="connsiteY15" fmla="*/ 1045923 h 1045922"/>
              <a:gd name="connsiteX16" fmla="*/ 929043 w 1600102"/>
              <a:gd name="connsiteY16" fmla="*/ 1045923 h 1045922"/>
              <a:gd name="connsiteX17" fmla="*/ 822091 w 1600102"/>
              <a:gd name="connsiteY17" fmla="*/ 856456 h 104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00102" h="1045922">
                <a:moveTo>
                  <a:pt x="23140" y="856456"/>
                </a:moveTo>
                <a:lnTo>
                  <a:pt x="377186" y="156268"/>
                </a:lnTo>
                <a:cubicBezTo>
                  <a:pt x="430830" y="49295"/>
                  <a:pt x="492520" y="0"/>
                  <a:pt x="599471" y="0"/>
                </a:cubicBezTo>
                <a:lnTo>
                  <a:pt x="681948" y="0"/>
                </a:lnTo>
                <a:cubicBezTo>
                  <a:pt x="788899" y="0"/>
                  <a:pt x="826114" y="74110"/>
                  <a:pt x="784876" y="172700"/>
                </a:cubicBezTo>
                <a:lnTo>
                  <a:pt x="488496" y="893679"/>
                </a:lnTo>
                <a:cubicBezTo>
                  <a:pt x="447258" y="992269"/>
                  <a:pt x="369140" y="1045923"/>
                  <a:pt x="249783" y="1045923"/>
                </a:cubicBezTo>
                <a:lnTo>
                  <a:pt x="130091" y="1045923"/>
                </a:lnTo>
                <a:cubicBezTo>
                  <a:pt x="10735" y="1045923"/>
                  <a:pt x="-30504" y="963429"/>
                  <a:pt x="23140" y="856456"/>
                </a:cubicBezTo>
                <a:close/>
                <a:moveTo>
                  <a:pt x="822091" y="856456"/>
                </a:moveTo>
                <a:lnTo>
                  <a:pt x="1176138" y="156268"/>
                </a:lnTo>
                <a:cubicBezTo>
                  <a:pt x="1229446" y="49295"/>
                  <a:pt x="1291471" y="0"/>
                  <a:pt x="1398422" y="0"/>
                </a:cubicBezTo>
                <a:lnTo>
                  <a:pt x="1480899" y="0"/>
                </a:lnTo>
                <a:cubicBezTo>
                  <a:pt x="1587850" y="0"/>
                  <a:pt x="1624730" y="74110"/>
                  <a:pt x="1583827" y="172700"/>
                </a:cubicBezTo>
                <a:lnTo>
                  <a:pt x="1287112" y="893679"/>
                </a:lnTo>
                <a:cubicBezTo>
                  <a:pt x="1246209" y="992269"/>
                  <a:pt x="1167756" y="1045923"/>
                  <a:pt x="1048399" y="1045923"/>
                </a:cubicBezTo>
                <a:lnTo>
                  <a:pt x="929043" y="1045923"/>
                </a:lnTo>
                <a:cubicBezTo>
                  <a:pt x="809686" y="1045923"/>
                  <a:pt x="768448" y="963429"/>
                  <a:pt x="822091" y="856456"/>
                </a:cubicBezTo>
                <a:close/>
              </a:path>
            </a:pathLst>
          </a:custGeom>
          <a:solidFill>
            <a:schemeClr val="bg1">
              <a:alpha val="60929"/>
            </a:schemeClr>
          </a:solidFill>
          <a:ln w="6348" cap="flat">
            <a:noFill/>
            <a:prstDash val="solid"/>
            <a:miter/>
          </a:ln>
        </p:spPr>
        <p:txBody>
          <a:bodyPr rtlCol="0" anchor="ctr"/>
          <a:lstStyle/>
          <a:p>
            <a:endParaRPr lang="nl-NL"/>
          </a:p>
        </p:txBody>
      </p:sp>
      <p:sp>
        <p:nvSpPr>
          <p:cNvPr id="3" name="Vrije vorm 2">
            <a:extLst>
              <a:ext uri="{FF2B5EF4-FFF2-40B4-BE49-F238E27FC236}">
                <a16:creationId xmlns:a16="http://schemas.microsoft.com/office/drawing/2014/main" id="{2AB66F48-43D2-D477-3DAB-4D6560C8DC18}"/>
              </a:ext>
            </a:extLst>
          </p:cNvPr>
          <p:cNvSpPr/>
          <p:nvPr userDrawn="1"/>
        </p:nvSpPr>
        <p:spPr>
          <a:xfrm>
            <a:off x="9871837" y="4909606"/>
            <a:ext cx="1599963" cy="1045922"/>
          </a:xfrm>
          <a:custGeom>
            <a:avLst/>
            <a:gdLst>
              <a:gd name="connsiteX0" fmla="*/ 16472 w 1599963"/>
              <a:gd name="connsiteY0" fmla="*/ 872888 h 1045922"/>
              <a:gd name="connsiteX1" fmla="*/ 312852 w 1599963"/>
              <a:gd name="connsiteY1" fmla="*/ 152244 h 1045922"/>
              <a:gd name="connsiteX2" fmla="*/ 551565 w 1599963"/>
              <a:gd name="connsiteY2" fmla="*/ 0 h 1045922"/>
              <a:gd name="connsiteX3" fmla="*/ 670921 w 1599963"/>
              <a:gd name="connsiteY3" fmla="*/ 0 h 1045922"/>
              <a:gd name="connsiteX4" fmla="*/ 778208 w 1599963"/>
              <a:gd name="connsiteY4" fmla="*/ 189466 h 1045922"/>
              <a:gd name="connsiteX5" fmla="*/ 423827 w 1599963"/>
              <a:gd name="connsiteY5" fmla="*/ 889319 h 1045922"/>
              <a:gd name="connsiteX6" fmla="*/ 201542 w 1599963"/>
              <a:gd name="connsiteY6" fmla="*/ 1045923 h 1045922"/>
              <a:gd name="connsiteX7" fmla="*/ 119400 w 1599963"/>
              <a:gd name="connsiteY7" fmla="*/ 1045923 h 1045922"/>
              <a:gd name="connsiteX8" fmla="*/ 16472 w 1599963"/>
              <a:gd name="connsiteY8" fmla="*/ 872888 h 1045922"/>
              <a:gd name="connsiteX9" fmla="*/ 815088 w 1599963"/>
              <a:gd name="connsiteY9" fmla="*/ 872888 h 1045922"/>
              <a:gd name="connsiteX10" fmla="*/ 1111467 w 1599963"/>
              <a:gd name="connsiteY10" fmla="*/ 152244 h 1045922"/>
              <a:gd name="connsiteX11" fmla="*/ 1350516 w 1599963"/>
              <a:gd name="connsiteY11" fmla="*/ 0 h 1045922"/>
              <a:gd name="connsiteX12" fmla="*/ 1469873 w 1599963"/>
              <a:gd name="connsiteY12" fmla="*/ 0 h 1045922"/>
              <a:gd name="connsiteX13" fmla="*/ 1576824 w 1599963"/>
              <a:gd name="connsiteY13" fmla="*/ 189466 h 1045922"/>
              <a:gd name="connsiteX14" fmla="*/ 1222778 w 1599963"/>
              <a:gd name="connsiteY14" fmla="*/ 889319 h 1045922"/>
              <a:gd name="connsiteX15" fmla="*/ 1000493 w 1599963"/>
              <a:gd name="connsiteY15" fmla="*/ 1045923 h 1045922"/>
              <a:gd name="connsiteX16" fmla="*/ 918016 w 1599963"/>
              <a:gd name="connsiteY16" fmla="*/ 1045923 h 1045922"/>
              <a:gd name="connsiteX17" fmla="*/ 815088 w 1599963"/>
              <a:gd name="connsiteY17" fmla="*/ 872888 h 10459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99963" h="1045922">
                <a:moveTo>
                  <a:pt x="16472" y="872888"/>
                </a:moveTo>
                <a:lnTo>
                  <a:pt x="312852" y="152244"/>
                </a:lnTo>
                <a:cubicBezTo>
                  <a:pt x="354090" y="53319"/>
                  <a:pt x="432208" y="0"/>
                  <a:pt x="551565" y="0"/>
                </a:cubicBezTo>
                <a:lnTo>
                  <a:pt x="670921" y="0"/>
                </a:lnTo>
                <a:cubicBezTo>
                  <a:pt x="790278" y="0"/>
                  <a:pt x="831517" y="82158"/>
                  <a:pt x="778208" y="189466"/>
                </a:cubicBezTo>
                <a:lnTo>
                  <a:pt x="423827" y="889319"/>
                </a:lnTo>
                <a:cubicBezTo>
                  <a:pt x="370518" y="996628"/>
                  <a:pt x="308828" y="1045923"/>
                  <a:pt x="201542" y="1045923"/>
                </a:cubicBezTo>
                <a:lnTo>
                  <a:pt x="119400" y="1045923"/>
                </a:lnTo>
                <a:cubicBezTo>
                  <a:pt x="12113" y="1045923"/>
                  <a:pt x="-24767" y="971813"/>
                  <a:pt x="16472" y="872888"/>
                </a:cubicBezTo>
                <a:close/>
                <a:moveTo>
                  <a:pt x="815088" y="872888"/>
                </a:moveTo>
                <a:lnTo>
                  <a:pt x="1111467" y="152244"/>
                </a:lnTo>
                <a:cubicBezTo>
                  <a:pt x="1152706" y="53319"/>
                  <a:pt x="1230824" y="0"/>
                  <a:pt x="1350516" y="0"/>
                </a:cubicBezTo>
                <a:lnTo>
                  <a:pt x="1469873" y="0"/>
                </a:lnTo>
                <a:cubicBezTo>
                  <a:pt x="1589229" y="0"/>
                  <a:pt x="1630468" y="82158"/>
                  <a:pt x="1576824" y="189466"/>
                </a:cubicBezTo>
                <a:lnTo>
                  <a:pt x="1222778" y="889319"/>
                </a:lnTo>
                <a:cubicBezTo>
                  <a:pt x="1169134" y="996628"/>
                  <a:pt x="1107445" y="1045923"/>
                  <a:pt x="1000493" y="1045923"/>
                </a:cubicBezTo>
                <a:lnTo>
                  <a:pt x="918016" y="1045923"/>
                </a:lnTo>
                <a:cubicBezTo>
                  <a:pt x="811065" y="1045923"/>
                  <a:pt x="773850" y="971813"/>
                  <a:pt x="815088" y="872888"/>
                </a:cubicBezTo>
                <a:close/>
              </a:path>
            </a:pathLst>
          </a:custGeom>
          <a:solidFill>
            <a:schemeClr val="bg1">
              <a:alpha val="60929"/>
            </a:schemeClr>
          </a:solidFill>
          <a:ln w="6348" cap="flat">
            <a:noFill/>
            <a:prstDash val="solid"/>
            <a:miter/>
          </a:ln>
        </p:spPr>
        <p:txBody>
          <a:bodyPr rtlCol="0" anchor="ctr"/>
          <a:lstStyle/>
          <a:p>
            <a:endParaRPr lang="nl-NL"/>
          </a:p>
        </p:txBody>
      </p:sp>
      <p:sp>
        <p:nvSpPr>
          <p:cNvPr id="4" name="Tijdelijke aanduiding voor tekst 77">
            <a:extLst>
              <a:ext uri="{FF2B5EF4-FFF2-40B4-BE49-F238E27FC236}">
                <a16:creationId xmlns:a16="http://schemas.microsoft.com/office/drawing/2014/main" id="{42FB74B3-7B4A-61AC-8D99-84AED01D83BA}"/>
              </a:ext>
            </a:extLst>
          </p:cNvPr>
          <p:cNvSpPr>
            <a:spLocks noGrp="1"/>
          </p:cNvSpPr>
          <p:nvPr>
            <p:ph type="body" sz="quarter" idx="11" hasCustomPrompt="1"/>
          </p:nvPr>
        </p:nvSpPr>
        <p:spPr>
          <a:xfrm>
            <a:off x="4804256" y="3931496"/>
            <a:ext cx="5457825" cy="339168"/>
          </a:xfrm>
          <a:noFill/>
        </p:spPr>
        <p:txBody>
          <a:bodyPr>
            <a:normAutofit/>
          </a:bodyPr>
          <a:lstStyle>
            <a:lvl1pPr marL="0" indent="0">
              <a:buNone/>
              <a:defRPr sz="1500">
                <a:solidFill>
                  <a:srgbClr val="002B5F"/>
                </a:solidFill>
              </a:defRPr>
            </a:lvl1pPr>
            <a:lvl2pPr marL="457200" indent="0">
              <a:buNone/>
              <a:defRPr/>
            </a:lvl2pPr>
            <a:lvl3pPr marL="914400" indent="0">
              <a:buNone/>
              <a:defRPr/>
            </a:lvl3pPr>
            <a:lvl4pPr marL="1371600" indent="0">
              <a:buNone/>
              <a:defRPr/>
            </a:lvl4pPr>
            <a:lvl5pPr marL="1828800" indent="0">
              <a:buNone/>
              <a:defRPr/>
            </a:lvl5pPr>
          </a:lstStyle>
          <a:p>
            <a:pPr lvl="0"/>
            <a:r>
              <a:rPr lang="nl-NL"/>
              <a:t>Naam en functie</a:t>
            </a:r>
          </a:p>
        </p:txBody>
      </p:sp>
      <p:sp>
        <p:nvSpPr>
          <p:cNvPr id="5" name="Vrije vorm 4">
            <a:extLst>
              <a:ext uri="{FF2B5EF4-FFF2-40B4-BE49-F238E27FC236}">
                <a16:creationId xmlns:a16="http://schemas.microsoft.com/office/drawing/2014/main" id="{270D397F-FDF5-0814-47A9-E3B13A418047}"/>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6" name="Graphic 10">
            <a:extLst>
              <a:ext uri="{FF2B5EF4-FFF2-40B4-BE49-F238E27FC236}">
                <a16:creationId xmlns:a16="http://schemas.microsoft.com/office/drawing/2014/main" id="{4D414DD1-D7A1-6D66-818B-FC98F96813CC}"/>
              </a:ext>
            </a:extLst>
          </p:cNvPr>
          <p:cNvGrpSpPr/>
          <p:nvPr userDrawn="1"/>
        </p:nvGrpSpPr>
        <p:grpSpPr>
          <a:xfrm>
            <a:off x="10903435" y="299495"/>
            <a:ext cx="1082602" cy="448481"/>
            <a:chOff x="10903435" y="299495"/>
            <a:chExt cx="1082602" cy="448481"/>
          </a:xfrm>
        </p:grpSpPr>
        <p:sp>
          <p:nvSpPr>
            <p:cNvPr id="7" name="Vrije vorm 6">
              <a:extLst>
                <a:ext uri="{FF2B5EF4-FFF2-40B4-BE49-F238E27FC236}">
                  <a16:creationId xmlns:a16="http://schemas.microsoft.com/office/drawing/2014/main" id="{3565DCB6-7138-B72D-E8C7-287AA34921F4}"/>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431732B6-EB33-AF7E-3138-983D1B53D492}"/>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1A6344C6-C09E-1C54-B17E-6A3C1BF2DB1B}"/>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0" name="Vrije vorm 9">
              <a:extLst>
                <a:ext uri="{FF2B5EF4-FFF2-40B4-BE49-F238E27FC236}">
                  <a16:creationId xmlns:a16="http://schemas.microsoft.com/office/drawing/2014/main" id="{1B5C19DA-D3F8-BCA9-D1FA-F600B75C23EF}"/>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40B092DA-D821-3B51-0903-619B55684218}"/>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254E107-E4C9-17D8-0A22-3E2279DFE982}"/>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29" name="Vrije vorm 28">
              <a:extLst>
                <a:ext uri="{FF2B5EF4-FFF2-40B4-BE49-F238E27FC236}">
                  <a16:creationId xmlns:a16="http://schemas.microsoft.com/office/drawing/2014/main" id="{BC5F739B-E95A-707C-9B0A-1C8834B16182}"/>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30" name="Vrije vorm 29">
              <a:extLst>
                <a:ext uri="{FF2B5EF4-FFF2-40B4-BE49-F238E27FC236}">
                  <a16:creationId xmlns:a16="http://schemas.microsoft.com/office/drawing/2014/main" id="{39AB0E6E-E41A-E787-F0AB-3BC68183166B}"/>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36" name="Vrije vorm 35">
              <a:extLst>
                <a:ext uri="{FF2B5EF4-FFF2-40B4-BE49-F238E27FC236}">
                  <a16:creationId xmlns:a16="http://schemas.microsoft.com/office/drawing/2014/main" id="{5BB9D41A-BC6D-6CA4-BB7F-3FB8599B0247}"/>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37" name="Vrije vorm 36">
              <a:extLst>
                <a:ext uri="{FF2B5EF4-FFF2-40B4-BE49-F238E27FC236}">
                  <a16:creationId xmlns:a16="http://schemas.microsoft.com/office/drawing/2014/main" id="{08540A34-47FD-53DC-A2B7-4F697D3282E4}"/>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38" name="Vrije vorm 37">
              <a:extLst>
                <a:ext uri="{FF2B5EF4-FFF2-40B4-BE49-F238E27FC236}">
                  <a16:creationId xmlns:a16="http://schemas.microsoft.com/office/drawing/2014/main" id="{3BF7626E-FEC4-B8A0-13B5-F69C8DD4E53D}"/>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39" name="Vrije vorm 38">
              <a:extLst>
                <a:ext uri="{FF2B5EF4-FFF2-40B4-BE49-F238E27FC236}">
                  <a16:creationId xmlns:a16="http://schemas.microsoft.com/office/drawing/2014/main" id="{81235717-9CBE-2F03-D72A-F6D0B5205314}"/>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3927467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Eindslide">
    <p:bg>
      <p:bgPr>
        <a:solidFill>
          <a:srgbClr val="002B5F"/>
        </a:solidFill>
        <a:effectLst/>
      </p:bgPr>
    </p:bg>
    <p:spTree>
      <p:nvGrpSpPr>
        <p:cNvPr id="1" name=""/>
        <p:cNvGrpSpPr/>
        <p:nvPr/>
      </p:nvGrpSpPr>
      <p:grpSpPr>
        <a:xfrm>
          <a:off x="0" y="0"/>
          <a:ext cx="0" cy="0"/>
          <a:chOff x="0" y="0"/>
          <a:chExt cx="0" cy="0"/>
        </a:xfrm>
      </p:grpSpPr>
      <p:sp>
        <p:nvSpPr>
          <p:cNvPr id="7" name="Vrije vorm 6">
            <a:extLst>
              <a:ext uri="{FF2B5EF4-FFF2-40B4-BE49-F238E27FC236}">
                <a16:creationId xmlns:a16="http://schemas.microsoft.com/office/drawing/2014/main" id="{ADA9D255-9152-7A36-3F11-19DBB3987F51}"/>
              </a:ext>
            </a:extLst>
          </p:cNvPr>
          <p:cNvSpPr/>
          <p:nvPr userDrawn="1"/>
        </p:nvSpPr>
        <p:spPr>
          <a:xfrm>
            <a:off x="9648825" y="-1"/>
            <a:ext cx="2549525" cy="2073275"/>
          </a:xfrm>
          <a:custGeom>
            <a:avLst/>
            <a:gdLst>
              <a:gd name="connsiteX0" fmla="*/ 0 w 2266147"/>
              <a:gd name="connsiteY0" fmla="*/ 441940 h 1851137"/>
              <a:gd name="connsiteX1" fmla="*/ 1408952 w 2266147"/>
              <a:gd name="connsiteY1" fmla="*/ 1851137 h 1851137"/>
              <a:gd name="connsiteX2" fmla="*/ 2266148 w 2266147"/>
              <a:gd name="connsiteY2" fmla="*/ 1560294 h 1851137"/>
              <a:gd name="connsiteX3" fmla="*/ 2266148 w 2266147"/>
              <a:gd name="connsiteY3" fmla="*/ 0 h 1851137"/>
              <a:gd name="connsiteX4" fmla="*/ 70773 w 2266147"/>
              <a:gd name="connsiteY4" fmla="*/ 0 h 1851137"/>
              <a:gd name="connsiteX5" fmla="*/ 0 w 2266147"/>
              <a:gd name="connsiteY5" fmla="*/ 441940 h 185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6147" h="1851137">
                <a:moveTo>
                  <a:pt x="0" y="441940"/>
                </a:moveTo>
                <a:cubicBezTo>
                  <a:pt x="0" y="1220219"/>
                  <a:pt x="630809" y="1851137"/>
                  <a:pt x="1408952" y="1851137"/>
                </a:cubicBezTo>
                <a:cubicBezTo>
                  <a:pt x="1731497" y="1851137"/>
                  <a:pt x="2028664" y="1742658"/>
                  <a:pt x="2266148" y="1560294"/>
                </a:cubicBezTo>
                <a:lnTo>
                  <a:pt x="2266148" y="0"/>
                </a:lnTo>
                <a:lnTo>
                  <a:pt x="70773" y="0"/>
                </a:lnTo>
                <a:cubicBezTo>
                  <a:pt x="24904" y="139011"/>
                  <a:pt x="0" y="287558"/>
                  <a:pt x="0" y="441940"/>
                </a:cubicBezTo>
                <a:close/>
              </a:path>
            </a:pathLst>
          </a:custGeom>
          <a:solidFill>
            <a:srgbClr val="FFFFFF"/>
          </a:solidFill>
          <a:ln w="6348" cap="flat">
            <a:noFill/>
            <a:prstDash val="solid"/>
            <a:miter/>
          </a:ln>
        </p:spPr>
        <p:txBody>
          <a:bodyPr rtlCol="0" anchor="ctr"/>
          <a:lstStyle/>
          <a:p>
            <a:endParaRPr lang="nl-NL"/>
          </a:p>
        </p:txBody>
      </p:sp>
      <p:sp>
        <p:nvSpPr>
          <p:cNvPr id="5" name="Titel 1">
            <a:extLst>
              <a:ext uri="{FF2B5EF4-FFF2-40B4-BE49-F238E27FC236}">
                <a16:creationId xmlns:a16="http://schemas.microsoft.com/office/drawing/2014/main" id="{05CC9BB0-FAC3-88BA-021A-88951C049257}"/>
              </a:ext>
            </a:extLst>
          </p:cNvPr>
          <p:cNvSpPr>
            <a:spLocks noGrp="1"/>
          </p:cNvSpPr>
          <p:nvPr>
            <p:ph type="ctrTitle"/>
          </p:nvPr>
        </p:nvSpPr>
        <p:spPr>
          <a:xfrm>
            <a:off x="770504" y="1525070"/>
            <a:ext cx="4866248" cy="2387600"/>
          </a:xfrm>
        </p:spPr>
        <p:txBody>
          <a:bodyPr anchor="b"/>
          <a:lstStyle>
            <a:lvl1pPr algn="l">
              <a:defRPr sz="4000" b="1">
                <a:solidFill>
                  <a:schemeClr val="bg1"/>
                </a:solidFill>
              </a:defRPr>
            </a:lvl1pPr>
          </a:lstStyle>
          <a:p>
            <a:r>
              <a:rPr lang="nl-NL"/>
              <a:t>Klik om stijl te bewerken</a:t>
            </a:r>
          </a:p>
        </p:txBody>
      </p:sp>
      <p:sp>
        <p:nvSpPr>
          <p:cNvPr id="28" name="Tekstvak 27">
            <a:extLst>
              <a:ext uri="{FF2B5EF4-FFF2-40B4-BE49-F238E27FC236}">
                <a16:creationId xmlns:a16="http://schemas.microsoft.com/office/drawing/2014/main" id="{0D72C6C1-133D-74B2-A50A-2FD772ABD53D}"/>
              </a:ext>
            </a:extLst>
          </p:cNvPr>
          <p:cNvSpPr txBox="1"/>
          <p:nvPr userDrawn="1"/>
        </p:nvSpPr>
        <p:spPr>
          <a:xfrm>
            <a:off x="1021556" y="4307606"/>
            <a:ext cx="1470991" cy="307777"/>
          </a:xfrm>
          <a:prstGeom prst="rect">
            <a:avLst/>
          </a:prstGeom>
          <a:noFill/>
        </p:spPr>
        <p:txBody>
          <a:bodyPr wrap="square">
            <a:spAutoFit/>
          </a:bodyPr>
          <a:lstStyle/>
          <a:p>
            <a:r>
              <a:rPr lang="nl-NL" sz="1400" err="1">
                <a:solidFill>
                  <a:schemeClr val="bg1"/>
                </a:solidFill>
                <a:latin typeface="Arial" panose="020B0604020202020204" pitchFamily="34" charset="0"/>
                <a:cs typeface="Arial" panose="020B0604020202020204" pitchFamily="34" charset="0"/>
              </a:rPr>
              <a:t>zorgsaam.org</a:t>
            </a:r>
            <a:endParaRPr lang="nl-NL" sz="1400">
              <a:solidFill>
                <a:schemeClr val="bg1"/>
              </a:solidFill>
              <a:latin typeface="Arial" panose="020B0604020202020204" pitchFamily="34" charset="0"/>
              <a:cs typeface="Arial" panose="020B0604020202020204" pitchFamily="34" charset="0"/>
            </a:endParaRPr>
          </a:p>
        </p:txBody>
      </p:sp>
      <p:sp>
        <p:nvSpPr>
          <p:cNvPr id="30" name="Tekstvak 29">
            <a:extLst>
              <a:ext uri="{FF2B5EF4-FFF2-40B4-BE49-F238E27FC236}">
                <a16:creationId xmlns:a16="http://schemas.microsoft.com/office/drawing/2014/main" id="{3B38CB40-B588-2F9E-967C-FC211ACF2F1E}"/>
              </a:ext>
            </a:extLst>
          </p:cNvPr>
          <p:cNvSpPr txBox="1"/>
          <p:nvPr userDrawn="1"/>
        </p:nvSpPr>
        <p:spPr>
          <a:xfrm>
            <a:off x="2898342" y="4307606"/>
            <a:ext cx="1470991" cy="307777"/>
          </a:xfrm>
          <a:prstGeom prst="rect">
            <a:avLst/>
          </a:prstGeom>
          <a:noFill/>
        </p:spPr>
        <p:txBody>
          <a:bodyPr wrap="square">
            <a:spAutoFit/>
          </a:bodyPr>
          <a:lstStyle/>
          <a:p>
            <a:r>
              <a:rPr lang="nl-NL" sz="1400" err="1">
                <a:solidFill>
                  <a:schemeClr val="bg1"/>
                </a:solidFill>
                <a:latin typeface="Arial" panose="020B0604020202020204" pitchFamily="34" charset="0"/>
                <a:cs typeface="Arial" panose="020B0604020202020204" pitchFamily="34" charset="0"/>
              </a:rPr>
              <a:t>info@zzv.nl</a:t>
            </a:r>
            <a:endParaRPr lang="nl-NL" sz="1400">
              <a:solidFill>
                <a:schemeClr val="bg1"/>
              </a:solidFill>
              <a:latin typeface="Arial" panose="020B0604020202020204" pitchFamily="34" charset="0"/>
              <a:cs typeface="Arial" panose="020B0604020202020204" pitchFamily="34" charset="0"/>
            </a:endParaRPr>
          </a:p>
        </p:txBody>
      </p:sp>
      <p:pic>
        <p:nvPicPr>
          <p:cNvPr id="32" name="Graphic 31">
            <a:extLst>
              <a:ext uri="{FF2B5EF4-FFF2-40B4-BE49-F238E27FC236}">
                <a16:creationId xmlns:a16="http://schemas.microsoft.com/office/drawing/2014/main" id="{57BB3E02-8D10-44EE-F511-F57F38B8CB1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51025" y="4364259"/>
            <a:ext cx="251124" cy="251124"/>
          </a:xfrm>
          <a:prstGeom prst="rect">
            <a:avLst/>
          </a:prstGeom>
        </p:spPr>
      </p:pic>
      <p:pic>
        <p:nvPicPr>
          <p:cNvPr id="34" name="Graphic 33">
            <a:extLst>
              <a:ext uri="{FF2B5EF4-FFF2-40B4-BE49-F238E27FC236}">
                <a16:creationId xmlns:a16="http://schemas.microsoft.com/office/drawing/2014/main" id="{2B33CD2A-B178-C3A3-C364-7A95E20502E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2635537" y="4386841"/>
            <a:ext cx="243901" cy="184773"/>
          </a:xfrm>
          <a:prstGeom prst="rect">
            <a:avLst/>
          </a:prstGeom>
        </p:spPr>
      </p:pic>
      <p:sp>
        <p:nvSpPr>
          <p:cNvPr id="35" name="Tekstvak 34">
            <a:extLst>
              <a:ext uri="{FF2B5EF4-FFF2-40B4-BE49-F238E27FC236}">
                <a16:creationId xmlns:a16="http://schemas.microsoft.com/office/drawing/2014/main" id="{22846C25-5750-E395-32EA-7C6186DEB19E}"/>
              </a:ext>
            </a:extLst>
          </p:cNvPr>
          <p:cNvSpPr txBox="1"/>
          <p:nvPr userDrawn="1"/>
        </p:nvSpPr>
        <p:spPr>
          <a:xfrm>
            <a:off x="4511731" y="4307606"/>
            <a:ext cx="1470991" cy="307777"/>
          </a:xfrm>
          <a:prstGeom prst="rect">
            <a:avLst/>
          </a:prstGeom>
          <a:noFill/>
        </p:spPr>
        <p:txBody>
          <a:bodyPr wrap="square">
            <a:spAutoFit/>
          </a:bodyPr>
          <a:lstStyle/>
          <a:p>
            <a:r>
              <a:rPr lang="nl-NL" sz="1400" b="0" i="0" u="none" strike="noStrike" kern="1200">
                <a:solidFill>
                  <a:schemeClr val="bg1"/>
                </a:solidFill>
                <a:effectLst/>
                <a:latin typeface="Arial" panose="020B0604020202020204" pitchFamily="34" charset="0"/>
                <a:ea typeface="+mn-ea"/>
                <a:cs typeface="Arial" panose="020B0604020202020204" pitchFamily="34" charset="0"/>
              </a:rPr>
              <a:t>0115-688000</a:t>
            </a:r>
            <a:endParaRPr lang="nl-NL" sz="1400" b="0">
              <a:solidFill>
                <a:schemeClr val="bg1"/>
              </a:solidFill>
              <a:latin typeface="Arial" panose="020B0604020202020204" pitchFamily="34" charset="0"/>
              <a:cs typeface="Arial" panose="020B0604020202020204" pitchFamily="34" charset="0"/>
            </a:endParaRPr>
          </a:p>
        </p:txBody>
      </p:sp>
      <p:pic>
        <p:nvPicPr>
          <p:cNvPr id="39" name="Graphic 38">
            <a:extLst>
              <a:ext uri="{FF2B5EF4-FFF2-40B4-BE49-F238E27FC236}">
                <a16:creationId xmlns:a16="http://schemas.microsoft.com/office/drawing/2014/main" id="{B43A7C30-C715-7D90-2EC5-08A2F1D9D92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278920" y="4364259"/>
            <a:ext cx="216664" cy="216664"/>
          </a:xfrm>
          <a:prstGeom prst="rect">
            <a:avLst/>
          </a:prstGeom>
        </p:spPr>
      </p:pic>
      <p:grpSp>
        <p:nvGrpSpPr>
          <p:cNvPr id="22" name="Graphic 4">
            <a:extLst>
              <a:ext uri="{FF2B5EF4-FFF2-40B4-BE49-F238E27FC236}">
                <a16:creationId xmlns:a16="http://schemas.microsoft.com/office/drawing/2014/main" id="{82F51D92-6076-7A03-6A84-06C0F294310E}"/>
              </a:ext>
            </a:extLst>
          </p:cNvPr>
          <p:cNvGrpSpPr/>
          <p:nvPr userDrawn="1"/>
        </p:nvGrpSpPr>
        <p:grpSpPr>
          <a:xfrm>
            <a:off x="10195954" y="424108"/>
            <a:ext cx="1698595" cy="703233"/>
            <a:chOff x="10360557" y="424109"/>
            <a:chExt cx="1533992" cy="635086"/>
          </a:xfrm>
        </p:grpSpPr>
        <p:sp>
          <p:nvSpPr>
            <p:cNvPr id="23" name="Vrije vorm 22">
              <a:extLst>
                <a:ext uri="{FF2B5EF4-FFF2-40B4-BE49-F238E27FC236}">
                  <a16:creationId xmlns:a16="http://schemas.microsoft.com/office/drawing/2014/main" id="{DA5382DD-A163-4852-26F7-59A03FA7CC21}"/>
                </a:ext>
              </a:extLst>
            </p:cNvPr>
            <p:cNvSpPr/>
            <p:nvPr/>
          </p:nvSpPr>
          <p:spPr>
            <a:xfrm>
              <a:off x="11418038" y="891171"/>
              <a:ext cx="135596" cy="128444"/>
            </a:xfrm>
            <a:custGeom>
              <a:avLst/>
              <a:gdLst>
                <a:gd name="connsiteX0" fmla="*/ 20775 w 135596"/>
                <a:gd name="connsiteY0" fmla="*/ 110012 h 128444"/>
                <a:gd name="connsiteX1" fmla="*/ 68185 w 135596"/>
                <a:gd name="connsiteY1" fmla="*/ 128429 h 128444"/>
                <a:gd name="connsiteX2" fmla="*/ 68185 w 135596"/>
                <a:gd name="connsiteY2" fmla="*/ 128429 h 128444"/>
                <a:gd name="connsiteX3" fmla="*/ 135596 w 135596"/>
                <a:gd name="connsiteY3" fmla="*/ 63970 h 128444"/>
                <a:gd name="connsiteX4" fmla="*/ 115278 w 135596"/>
                <a:gd name="connsiteY4" fmla="*/ 18563 h 128444"/>
                <a:gd name="connsiteX5" fmla="*/ 20034 w 135596"/>
                <a:gd name="connsiteY5" fmla="*/ 18563 h 128444"/>
                <a:gd name="connsiteX6" fmla="*/ 16192 w 135596"/>
                <a:gd name="connsiteY6" fmla="*/ 105745 h 128444"/>
                <a:gd name="connsiteX7" fmla="*/ 20034 w 135596"/>
                <a:gd name="connsiteY7" fmla="*/ 109589 h 128444"/>
                <a:gd name="connsiteX8" fmla="*/ 20775 w 135596"/>
                <a:gd name="connsiteY8" fmla="*/ 110012 h 128444"/>
                <a:gd name="connsiteX9" fmla="*/ 68080 w 135596"/>
                <a:gd name="connsiteY9" fmla="*/ 31794 h 128444"/>
                <a:gd name="connsiteX10" fmla="*/ 68080 w 135596"/>
                <a:gd name="connsiteY10" fmla="*/ 31794 h 128444"/>
                <a:gd name="connsiteX11" fmla="*/ 93689 w 135596"/>
                <a:gd name="connsiteY11" fmla="*/ 41426 h 128444"/>
                <a:gd name="connsiteX12" fmla="*/ 96530 w 135596"/>
                <a:gd name="connsiteY12" fmla="*/ 83991 h 128444"/>
                <a:gd name="connsiteX13" fmla="*/ 93689 w 135596"/>
                <a:gd name="connsiteY13" fmla="*/ 86833 h 128444"/>
                <a:gd name="connsiteX14" fmla="*/ 42258 w 135596"/>
                <a:gd name="connsiteY14" fmla="*/ 86833 h 128444"/>
                <a:gd name="connsiteX15" fmla="*/ 31676 w 135596"/>
                <a:gd name="connsiteY15" fmla="*/ 64182 h 128444"/>
                <a:gd name="connsiteX16" fmla="*/ 67962 w 135596"/>
                <a:gd name="connsiteY16" fmla="*/ 31787 h 128444"/>
                <a:gd name="connsiteX17" fmla="*/ 68080 w 135596"/>
                <a:gd name="connsiteY17" fmla="*/ 31794 h 128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5596" h="128444">
                  <a:moveTo>
                    <a:pt x="20775" y="110012"/>
                  </a:moveTo>
                  <a:cubicBezTo>
                    <a:pt x="33669" y="121947"/>
                    <a:pt x="50618" y="128531"/>
                    <a:pt x="68185" y="128429"/>
                  </a:cubicBezTo>
                  <a:lnTo>
                    <a:pt x="68185" y="128429"/>
                  </a:lnTo>
                  <a:cubicBezTo>
                    <a:pt x="104578" y="129198"/>
                    <a:pt x="134729" y="100367"/>
                    <a:pt x="135596" y="63970"/>
                  </a:cubicBezTo>
                  <a:cubicBezTo>
                    <a:pt x="135454" y="46662"/>
                    <a:pt x="128089" y="30200"/>
                    <a:pt x="115278" y="18563"/>
                  </a:cubicBezTo>
                  <a:cubicBezTo>
                    <a:pt x="88352" y="-6188"/>
                    <a:pt x="46960" y="-6188"/>
                    <a:pt x="20034" y="18563"/>
                  </a:cubicBezTo>
                  <a:cubicBezTo>
                    <a:pt x="-5097" y="41577"/>
                    <a:pt x="-6818" y="80609"/>
                    <a:pt x="16192" y="105745"/>
                  </a:cubicBezTo>
                  <a:cubicBezTo>
                    <a:pt x="17415" y="107082"/>
                    <a:pt x="18698" y="108365"/>
                    <a:pt x="20034" y="109589"/>
                  </a:cubicBezTo>
                  <a:lnTo>
                    <a:pt x="20775" y="110012"/>
                  </a:lnTo>
                  <a:close/>
                  <a:moveTo>
                    <a:pt x="68080" y="31794"/>
                  </a:moveTo>
                  <a:lnTo>
                    <a:pt x="68080" y="31794"/>
                  </a:lnTo>
                  <a:cubicBezTo>
                    <a:pt x="77519" y="31691"/>
                    <a:pt x="86656" y="35127"/>
                    <a:pt x="93689" y="41426"/>
                  </a:cubicBezTo>
                  <a:cubicBezTo>
                    <a:pt x="106226" y="52395"/>
                    <a:pt x="107497" y="71452"/>
                    <a:pt x="96530" y="83991"/>
                  </a:cubicBezTo>
                  <a:cubicBezTo>
                    <a:pt x="95647" y="85000"/>
                    <a:pt x="94698" y="85950"/>
                    <a:pt x="93689" y="86833"/>
                  </a:cubicBezTo>
                  <a:cubicBezTo>
                    <a:pt x="79020" y="99860"/>
                    <a:pt x="56928" y="99860"/>
                    <a:pt x="42258" y="86833"/>
                  </a:cubicBezTo>
                  <a:cubicBezTo>
                    <a:pt x="35676" y="81127"/>
                    <a:pt x="31829" y="72892"/>
                    <a:pt x="31676" y="64182"/>
                  </a:cubicBezTo>
                  <a:cubicBezTo>
                    <a:pt x="32751" y="45214"/>
                    <a:pt x="48997" y="30711"/>
                    <a:pt x="67962" y="31787"/>
                  </a:cubicBezTo>
                  <a:lnTo>
                    <a:pt x="68080" y="31794"/>
                  </a:lnTo>
                  <a:close/>
                </a:path>
              </a:pathLst>
            </a:custGeom>
            <a:solidFill>
              <a:srgbClr val="0065B0"/>
            </a:solidFill>
            <a:ln w="6348"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3C43758C-DFFE-A3A9-792B-75C057C748C8}"/>
                </a:ext>
              </a:extLst>
            </p:cNvPr>
            <p:cNvSpPr/>
            <p:nvPr/>
          </p:nvSpPr>
          <p:spPr>
            <a:xfrm>
              <a:off x="11228794" y="906875"/>
              <a:ext cx="513403" cy="152320"/>
            </a:xfrm>
            <a:custGeom>
              <a:avLst/>
              <a:gdLst>
                <a:gd name="connsiteX0" fmla="*/ 506330 w 513403"/>
                <a:gd name="connsiteY0" fmla="*/ 2964 h 152320"/>
                <a:gd name="connsiteX1" fmla="*/ 497018 w 513403"/>
                <a:gd name="connsiteY1" fmla="*/ 1 h 152320"/>
                <a:gd name="connsiteX2" fmla="*/ 497018 w 513403"/>
                <a:gd name="connsiteY2" fmla="*/ 1 h 152320"/>
                <a:gd name="connsiteX3" fmla="*/ 484213 w 513403"/>
                <a:gd name="connsiteY3" fmla="*/ 6563 h 152320"/>
                <a:gd name="connsiteX4" fmla="*/ 256370 w 513403"/>
                <a:gd name="connsiteY4" fmla="*/ 120557 h 152320"/>
                <a:gd name="connsiteX5" fmla="*/ 254889 w 513403"/>
                <a:gd name="connsiteY5" fmla="*/ 120557 h 152320"/>
                <a:gd name="connsiteX6" fmla="*/ 28528 w 513403"/>
                <a:gd name="connsiteY6" fmla="*/ 10479 h 152320"/>
                <a:gd name="connsiteX7" fmla="*/ 6411 w 513403"/>
                <a:gd name="connsiteY7" fmla="*/ 7198 h 152320"/>
                <a:gd name="connsiteX8" fmla="*/ 3079 w 513403"/>
                <a:gd name="connsiteY8" fmla="*/ 29251 h 152320"/>
                <a:gd name="connsiteX9" fmla="*/ 3130 w 513403"/>
                <a:gd name="connsiteY9" fmla="*/ 29319 h 152320"/>
                <a:gd name="connsiteX10" fmla="*/ 254783 w 513403"/>
                <a:gd name="connsiteY10" fmla="*/ 152310 h 152320"/>
                <a:gd name="connsiteX11" fmla="*/ 256476 w 513403"/>
                <a:gd name="connsiteY11" fmla="*/ 152310 h 152320"/>
                <a:gd name="connsiteX12" fmla="*/ 510457 w 513403"/>
                <a:gd name="connsiteY12" fmla="*/ 25297 h 152320"/>
                <a:gd name="connsiteX13" fmla="*/ 506810 w 513403"/>
                <a:gd name="connsiteY13" fmla="*/ 3294 h 152320"/>
                <a:gd name="connsiteX14" fmla="*/ 506330 w 513403"/>
                <a:gd name="connsiteY14" fmla="*/ 2964 h 152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13403" h="152320">
                  <a:moveTo>
                    <a:pt x="506330" y="2964"/>
                  </a:moveTo>
                  <a:cubicBezTo>
                    <a:pt x="503622" y="1008"/>
                    <a:pt x="500358" y="-30"/>
                    <a:pt x="497018" y="1"/>
                  </a:cubicBezTo>
                  <a:lnTo>
                    <a:pt x="497018" y="1"/>
                  </a:lnTo>
                  <a:cubicBezTo>
                    <a:pt x="491946" y="17"/>
                    <a:pt x="487188" y="2455"/>
                    <a:pt x="484213" y="6563"/>
                  </a:cubicBezTo>
                  <a:cubicBezTo>
                    <a:pt x="430786" y="78727"/>
                    <a:pt x="346147" y="121073"/>
                    <a:pt x="256370" y="120557"/>
                  </a:cubicBezTo>
                  <a:lnTo>
                    <a:pt x="254889" y="120557"/>
                  </a:lnTo>
                  <a:cubicBezTo>
                    <a:pt x="166337" y="121459"/>
                    <a:pt x="82508" y="80694"/>
                    <a:pt x="28528" y="10479"/>
                  </a:cubicBezTo>
                  <a:cubicBezTo>
                    <a:pt x="23307" y="3497"/>
                    <a:pt x="13433" y="2032"/>
                    <a:pt x="6411" y="7198"/>
                  </a:cubicBezTo>
                  <a:cubicBezTo>
                    <a:pt x="-599" y="12368"/>
                    <a:pt x="-2090" y="22241"/>
                    <a:pt x="3079" y="29251"/>
                  </a:cubicBezTo>
                  <a:lnTo>
                    <a:pt x="3130" y="29319"/>
                  </a:lnTo>
                  <a:cubicBezTo>
                    <a:pt x="63039" y="107579"/>
                    <a:pt x="156239" y="153128"/>
                    <a:pt x="254783" y="152310"/>
                  </a:cubicBezTo>
                  <a:lnTo>
                    <a:pt x="256476" y="152310"/>
                  </a:lnTo>
                  <a:cubicBezTo>
                    <a:pt x="356563" y="152988"/>
                    <a:pt x="450947" y="105787"/>
                    <a:pt x="510457" y="25297"/>
                  </a:cubicBezTo>
                  <a:cubicBezTo>
                    <a:pt x="515525" y="18214"/>
                    <a:pt x="513892" y="8363"/>
                    <a:pt x="506810" y="3294"/>
                  </a:cubicBezTo>
                  <a:cubicBezTo>
                    <a:pt x="506652" y="3181"/>
                    <a:pt x="506492" y="3071"/>
                    <a:pt x="506330" y="2964"/>
                  </a:cubicBezTo>
                  <a:close/>
                </a:path>
              </a:pathLst>
            </a:custGeom>
            <a:solidFill>
              <a:srgbClr val="0065B0"/>
            </a:solidFill>
            <a:ln w="6348" cap="flat">
              <a:noFill/>
              <a:prstDash val="solid"/>
              <a:miter/>
            </a:ln>
          </p:spPr>
          <p:txBody>
            <a:bodyPr rtlCol="0" anchor="ctr"/>
            <a:lstStyle/>
            <a:p>
              <a:endParaRPr lang="nl-NL"/>
            </a:p>
          </p:txBody>
        </p:sp>
        <p:sp>
          <p:nvSpPr>
            <p:cNvPr id="29" name="Vrije vorm 28">
              <a:extLst>
                <a:ext uri="{FF2B5EF4-FFF2-40B4-BE49-F238E27FC236}">
                  <a16:creationId xmlns:a16="http://schemas.microsoft.com/office/drawing/2014/main" id="{94C87468-49C8-714C-45DD-3C1280EBDBB3}"/>
                </a:ext>
              </a:extLst>
            </p:cNvPr>
            <p:cNvSpPr/>
            <p:nvPr/>
          </p:nvSpPr>
          <p:spPr>
            <a:xfrm>
              <a:off x="10744669" y="463706"/>
              <a:ext cx="135100" cy="128285"/>
            </a:xfrm>
            <a:custGeom>
              <a:avLst/>
              <a:gdLst>
                <a:gd name="connsiteX0" fmla="*/ 115066 w 135100"/>
                <a:gd name="connsiteY0" fmla="*/ 18418 h 128285"/>
                <a:gd name="connsiteX1" fmla="*/ 67656 w 135100"/>
                <a:gd name="connsiteY1" fmla="*/ 1 h 128285"/>
                <a:gd name="connsiteX2" fmla="*/ 67656 w 135100"/>
                <a:gd name="connsiteY2" fmla="*/ 1 h 128285"/>
                <a:gd name="connsiteX3" fmla="*/ 20035 w 135100"/>
                <a:gd name="connsiteY3" fmla="*/ 18841 h 128285"/>
                <a:gd name="connsiteX4" fmla="*/ 16192 w 135100"/>
                <a:gd name="connsiteY4" fmla="*/ 106024 h 128285"/>
                <a:gd name="connsiteX5" fmla="*/ 20035 w 135100"/>
                <a:gd name="connsiteY5" fmla="*/ 109867 h 128285"/>
                <a:gd name="connsiteX6" fmla="*/ 67445 w 135100"/>
                <a:gd name="connsiteY6" fmla="*/ 128284 h 128285"/>
                <a:gd name="connsiteX7" fmla="*/ 67445 w 135100"/>
                <a:gd name="connsiteY7" fmla="*/ 128284 h 128285"/>
                <a:gd name="connsiteX8" fmla="*/ 115066 w 135100"/>
                <a:gd name="connsiteY8" fmla="*/ 109444 h 128285"/>
                <a:gd name="connsiteX9" fmla="*/ 118909 w 135100"/>
                <a:gd name="connsiteY9" fmla="*/ 22262 h 128285"/>
                <a:gd name="connsiteX10" fmla="*/ 115066 w 135100"/>
                <a:gd name="connsiteY10" fmla="*/ 18418 h 128285"/>
                <a:gd name="connsiteX11" fmla="*/ 42046 w 135100"/>
                <a:gd name="connsiteY11" fmla="*/ 87428 h 128285"/>
                <a:gd name="connsiteX12" fmla="*/ 31464 w 135100"/>
                <a:gd name="connsiteY12" fmla="*/ 64778 h 128285"/>
                <a:gd name="connsiteX13" fmla="*/ 67339 w 135100"/>
                <a:gd name="connsiteY13" fmla="*/ 32072 h 128285"/>
                <a:gd name="connsiteX14" fmla="*/ 67339 w 135100"/>
                <a:gd name="connsiteY14" fmla="*/ 32072 h 128285"/>
                <a:gd name="connsiteX15" fmla="*/ 92949 w 135100"/>
                <a:gd name="connsiteY15" fmla="*/ 41704 h 128285"/>
                <a:gd name="connsiteX16" fmla="*/ 103531 w 135100"/>
                <a:gd name="connsiteY16" fmla="*/ 64354 h 128285"/>
                <a:gd name="connsiteX17" fmla="*/ 67656 w 135100"/>
                <a:gd name="connsiteY17" fmla="*/ 97060 h 128285"/>
                <a:gd name="connsiteX18" fmla="*/ 42046 w 135100"/>
                <a:gd name="connsiteY18" fmla="*/ 87428 h 128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35100" h="128285">
                  <a:moveTo>
                    <a:pt x="115066" y="18418"/>
                  </a:moveTo>
                  <a:cubicBezTo>
                    <a:pt x="102172" y="6483"/>
                    <a:pt x="85223" y="-101"/>
                    <a:pt x="67656" y="1"/>
                  </a:cubicBezTo>
                  <a:lnTo>
                    <a:pt x="67656" y="1"/>
                  </a:lnTo>
                  <a:cubicBezTo>
                    <a:pt x="49960" y="-29"/>
                    <a:pt x="32922" y="6712"/>
                    <a:pt x="20035" y="18841"/>
                  </a:cubicBezTo>
                  <a:cubicBezTo>
                    <a:pt x="-5097" y="41855"/>
                    <a:pt x="-6818" y="80888"/>
                    <a:pt x="16192" y="106024"/>
                  </a:cubicBezTo>
                  <a:cubicBezTo>
                    <a:pt x="17415" y="107361"/>
                    <a:pt x="18698" y="108643"/>
                    <a:pt x="20035" y="109867"/>
                  </a:cubicBezTo>
                  <a:cubicBezTo>
                    <a:pt x="32928" y="121802"/>
                    <a:pt x="49877" y="128386"/>
                    <a:pt x="67445" y="128284"/>
                  </a:cubicBezTo>
                  <a:lnTo>
                    <a:pt x="67445" y="128284"/>
                  </a:lnTo>
                  <a:cubicBezTo>
                    <a:pt x="85141" y="128314"/>
                    <a:pt x="102178" y="121574"/>
                    <a:pt x="115066" y="109444"/>
                  </a:cubicBezTo>
                  <a:cubicBezTo>
                    <a:pt x="140197" y="86431"/>
                    <a:pt x="141918" y="47398"/>
                    <a:pt x="118909" y="22262"/>
                  </a:cubicBezTo>
                  <a:cubicBezTo>
                    <a:pt x="117685" y="20925"/>
                    <a:pt x="116403" y="19642"/>
                    <a:pt x="115066" y="18418"/>
                  </a:cubicBezTo>
                  <a:close/>
                  <a:moveTo>
                    <a:pt x="42046" y="87428"/>
                  </a:moveTo>
                  <a:cubicBezTo>
                    <a:pt x="35465" y="81722"/>
                    <a:pt x="31617" y="73488"/>
                    <a:pt x="31464" y="64778"/>
                  </a:cubicBezTo>
                  <a:cubicBezTo>
                    <a:pt x="32378" y="45855"/>
                    <a:pt x="48417" y="31234"/>
                    <a:pt x="67339" y="32072"/>
                  </a:cubicBezTo>
                  <a:lnTo>
                    <a:pt x="67339" y="32072"/>
                  </a:lnTo>
                  <a:cubicBezTo>
                    <a:pt x="76779" y="31969"/>
                    <a:pt x="85915" y="35406"/>
                    <a:pt x="92949" y="41704"/>
                  </a:cubicBezTo>
                  <a:cubicBezTo>
                    <a:pt x="99530" y="47410"/>
                    <a:pt x="103377" y="55644"/>
                    <a:pt x="103531" y="64354"/>
                  </a:cubicBezTo>
                  <a:cubicBezTo>
                    <a:pt x="102617" y="83277"/>
                    <a:pt x="86579" y="97898"/>
                    <a:pt x="67656" y="97060"/>
                  </a:cubicBezTo>
                  <a:cubicBezTo>
                    <a:pt x="58213" y="97183"/>
                    <a:pt x="49069" y="93744"/>
                    <a:pt x="42046" y="87428"/>
                  </a:cubicBezTo>
                  <a:close/>
                </a:path>
              </a:pathLst>
            </a:custGeom>
            <a:solidFill>
              <a:srgbClr val="DC2215"/>
            </a:solidFill>
            <a:ln w="6348" cap="flat">
              <a:noFill/>
              <a:prstDash val="solid"/>
              <a:miter/>
            </a:ln>
          </p:spPr>
          <p:txBody>
            <a:bodyPr rtlCol="0" anchor="ctr"/>
            <a:lstStyle/>
            <a:p>
              <a:endParaRPr lang="nl-NL"/>
            </a:p>
          </p:txBody>
        </p:sp>
        <p:sp>
          <p:nvSpPr>
            <p:cNvPr id="31" name="Vrije vorm 30">
              <a:extLst>
                <a:ext uri="{FF2B5EF4-FFF2-40B4-BE49-F238E27FC236}">
                  <a16:creationId xmlns:a16="http://schemas.microsoft.com/office/drawing/2014/main" id="{6E507345-1278-012B-8F4A-AA1B4ABEC796}"/>
                </a:ext>
              </a:extLst>
            </p:cNvPr>
            <p:cNvSpPr/>
            <p:nvPr/>
          </p:nvSpPr>
          <p:spPr>
            <a:xfrm>
              <a:off x="10556092" y="424109"/>
              <a:ext cx="512970" cy="152325"/>
            </a:xfrm>
            <a:custGeom>
              <a:avLst/>
              <a:gdLst>
                <a:gd name="connsiteX0" fmla="*/ 510639 w 512970"/>
                <a:gd name="connsiteY0" fmla="*/ 122897 h 152325"/>
                <a:gd name="connsiteX1" fmla="*/ 258879 w 512970"/>
                <a:gd name="connsiteY1" fmla="*/ 12 h 152325"/>
                <a:gd name="connsiteX2" fmla="*/ 257187 w 512970"/>
                <a:gd name="connsiteY2" fmla="*/ 12 h 152325"/>
                <a:gd name="connsiteX3" fmla="*/ 3205 w 512970"/>
                <a:gd name="connsiteY3" fmla="*/ 127025 h 152325"/>
                <a:gd name="connsiteX4" fmla="*/ 6241 w 512970"/>
                <a:gd name="connsiteY4" fmla="*/ 149121 h 152325"/>
                <a:gd name="connsiteX5" fmla="*/ 16116 w 512970"/>
                <a:gd name="connsiteY5" fmla="*/ 152322 h 152325"/>
                <a:gd name="connsiteX6" fmla="*/ 16116 w 512970"/>
                <a:gd name="connsiteY6" fmla="*/ 152322 h 152325"/>
                <a:gd name="connsiteX7" fmla="*/ 28921 w 512970"/>
                <a:gd name="connsiteY7" fmla="*/ 145760 h 152325"/>
                <a:gd name="connsiteX8" fmla="*/ 257398 w 512970"/>
                <a:gd name="connsiteY8" fmla="*/ 31766 h 152325"/>
                <a:gd name="connsiteX9" fmla="*/ 258880 w 512970"/>
                <a:gd name="connsiteY9" fmla="*/ 31766 h 152325"/>
                <a:gd name="connsiteX10" fmla="*/ 485241 w 512970"/>
                <a:gd name="connsiteY10" fmla="*/ 141843 h 152325"/>
                <a:gd name="connsiteX11" fmla="*/ 507652 w 512970"/>
                <a:gd name="connsiteY11" fmla="*/ 143144 h 152325"/>
                <a:gd name="connsiteX12" fmla="*/ 510639 w 512970"/>
                <a:gd name="connsiteY12" fmla="*/ 123003 h 152325"/>
                <a:gd name="connsiteX13" fmla="*/ 510639 w 512970"/>
                <a:gd name="connsiteY13" fmla="*/ 122897 h 152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2970" h="152325">
                  <a:moveTo>
                    <a:pt x="510639" y="122897"/>
                  </a:moveTo>
                  <a:cubicBezTo>
                    <a:pt x="450685" y="44648"/>
                    <a:pt x="357442" y="-864"/>
                    <a:pt x="258879" y="12"/>
                  </a:cubicBezTo>
                  <a:lnTo>
                    <a:pt x="257187" y="12"/>
                  </a:lnTo>
                  <a:cubicBezTo>
                    <a:pt x="157099" y="-665"/>
                    <a:pt x="62715" y="46535"/>
                    <a:pt x="3205" y="127025"/>
                  </a:cubicBezTo>
                  <a:cubicBezTo>
                    <a:pt x="-2057" y="133965"/>
                    <a:pt x="-698" y="143858"/>
                    <a:pt x="6241" y="149121"/>
                  </a:cubicBezTo>
                  <a:cubicBezTo>
                    <a:pt x="9077" y="151272"/>
                    <a:pt x="12557" y="152400"/>
                    <a:pt x="16116" y="152322"/>
                  </a:cubicBezTo>
                  <a:lnTo>
                    <a:pt x="16116" y="152322"/>
                  </a:lnTo>
                  <a:cubicBezTo>
                    <a:pt x="21187" y="152306"/>
                    <a:pt x="25946" y="149867"/>
                    <a:pt x="28921" y="145760"/>
                  </a:cubicBezTo>
                  <a:cubicBezTo>
                    <a:pt x="82480" y="73415"/>
                    <a:pt x="167398" y="31046"/>
                    <a:pt x="257398" y="31766"/>
                  </a:cubicBezTo>
                  <a:lnTo>
                    <a:pt x="258880" y="31766"/>
                  </a:lnTo>
                  <a:cubicBezTo>
                    <a:pt x="347435" y="30847"/>
                    <a:pt x="431271" y="71616"/>
                    <a:pt x="485241" y="141843"/>
                  </a:cubicBezTo>
                  <a:cubicBezTo>
                    <a:pt x="491070" y="148392"/>
                    <a:pt x="501105" y="148974"/>
                    <a:pt x="507652" y="143144"/>
                  </a:cubicBezTo>
                  <a:cubicBezTo>
                    <a:pt x="513387" y="138036"/>
                    <a:pt x="514645" y="129555"/>
                    <a:pt x="510639" y="123003"/>
                  </a:cubicBezTo>
                  <a:lnTo>
                    <a:pt x="510639" y="122897"/>
                  </a:lnTo>
                  <a:close/>
                </a:path>
              </a:pathLst>
            </a:custGeom>
            <a:solidFill>
              <a:srgbClr val="DC2215"/>
            </a:solidFill>
            <a:ln w="6348" cap="flat">
              <a:noFill/>
              <a:prstDash val="solid"/>
              <a:miter/>
            </a:ln>
          </p:spPr>
          <p:txBody>
            <a:bodyPr rtlCol="0" anchor="ctr"/>
            <a:lstStyle/>
            <a:p>
              <a:endParaRPr lang="nl-NL"/>
            </a:p>
          </p:txBody>
        </p:sp>
        <p:sp>
          <p:nvSpPr>
            <p:cNvPr id="33" name="Vrije vorm 32">
              <a:extLst>
                <a:ext uri="{FF2B5EF4-FFF2-40B4-BE49-F238E27FC236}">
                  <a16:creationId xmlns:a16="http://schemas.microsoft.com/office/drawing/2014/main" id="{DD4BC7C3-D7EF-EA78-3E11-0128EB385803}"/>
                </a:ext>
              </a:extLst>
            </p:cNvPr>
            <p:cNvSpPr/>
            <p:nvPr/>
          </p:nvSpPr>
          <p:spPr>
            <a:xfrm>
              <a:off x="10561297" y="660677"/>
              <a:ext cx="169658" cy="181537"/>
            </a:xfrm>
            <a:custGeom>
              <a:avLst/>
              <a:gdLst>
                <a:gd name="connsiteX0" fmla="*/ 169649 w 169658"/>
                <a:gd name="connsiteY0" fmla="*/ 90502 h 181537"/>
                <a:gd name="connsiteX1" fmla="*/ 163722 w 169658"/>
                <a:gd name="connsiteY1" fmla="*/ 127653 h 181537"/>
                <a:gd name="connsiteX2" fmla="*/ 146684 w 169658"/>
                <a:gd name="connsiteY2" fmla="*/ 156443 h 181537"/>
                <a:gd name="connsiteX3" fmla="*/ 119911 w 169658"/>
                <a:gd name="connsiteY3" fmla="*/ 174966 h 181537"/>
                <a:gd name="connsiteX4" fmla="*/ 84989 w 169658"/>
                <a:gd name="connsiteY4" fmla="*/ 181528 h 181537"/>
                <a:gd name="connsiteX5" fmla="*/ 50384 w 169658"/>
                <a:gd name="connsiteY5" fmla="*/ 174966 h 181537"/>
                <a:gd name="connsiteX6" fmla="*/ 23609 w 169658"/>
                <a:gd name="connsiteY6" fmla="*/ 156443 h 181537"/>
                <a:gd name="connsiteX7" fmla="*/ 6254 w 169658"/>
                <a:gd name="connsiteY7" fmla="*/ 127653 h 181537"/>
                <a:gd name="connsiteX8" fmla="*/ 10 w 169658"/>
                <a:gd name="connsiteY8" fmla="*/ 90502 h 181537"/>
                <a:gd name="connsiteX9" fmla="*/ 6360 w 169658"/>
                <a:gd name="connsiteY9" fmla="*/ 53457 h 181537"/>
                <a:gd name="connsiteX10" fmla="*/ 24032 w 169658"/>
                <a:gd name="connsiteY10" fmla="*/ 24985 h 181537"/>
                <a:gd name="connsiteX11" fmla="*/ 50489 w 169658"/>
                <a:gd name="connsiteY11" fmla="*/ 6885 h 181537"/>
                <a:gd name="connsiteX12" fmla="*/ 84989 w 169658"/>
                <a:gd name="connsiteY12" fmla="*/ 6 h 181537"/>
                <a:gd name="connsiteX13" fmla="*/ 119276 w 169658"/>
                <a:gd name="connsiteY13" fmla="*/ 6568 h 181537"/>
                <a:gd name="connsiteX14" fmla="*/ 146050 w 169658"/>
                <a:gd name="connsiteY14" fmla="*/ 24879 h 181537"/>
                <a:gd name="connsiteX15" fmla="*/ 163405 w 169658"/>
                <a:gd name="connsiteY15" fmla="*/ 53351 h 181537"/>
                <a:gd name="connsiteX16" fmla="*/ 169649 w 169658"/>
                <a:gd name="connsiteY16" fmla="*/ 90502 h 181537"/>
                <a:gd name="connsiteX17" fmla="*/ 119805 w 169658"/>
                <a:gd name="connsiteY17" fmla="*/ 90502 h 181537"/>
                <a:gd name="connsiteX18" fmla="*/ 110810 w 169658"/>
                <a:gd name="connsiteY18" fmla="*/ 54939 h 181537"/>
                <a:gd name="connsiteX19" fmla="*/ 84988 w 169658"/>
                <a:gd name="connsiteY19" fmla="*/ 42025 h 181537"/>
                <a:gd name="connsiteX20" fmla="*/ 59061 w 169658"/>
                <a:gd name="connsiteY20" fmla="*/ 54939 h 181537"/>
                <a:gd name="connsiteX21" fmla="*/ 49854 w 169658"/>
                <a:gd name="connsiteY21" fmla="*/ 90502 h 181537"/>
                <a:gd name="connsiteX22" fmla="*/ 59061 w 169658"/>
                <a:gd name="connsiteY22" fmla="*/ 126383 h 181537"/>
                <a:gd name="connsiteX23" fmla="*/ 84988 w 169658"/>
                <a:gd name="connsiteY23" fmla="*/ 139614 h 181537"/>
                <a:gd name="connsiteX24" fmla="*/ 110704 w 169658"/>
                <a:gd name="connsiteY24" fmla="*/ 126383 h 181537"/>
                <a:gd name="connsiteX25" fmla="*/ 119276 w 169658"/>
                <a:gd name="connsiteY25" fmla="*/ 90502 h 181537"/>
                <a:gd name="connsiteX26" fmla="*/ 119805 w 169658"/>
                <a:gd name="connsiteY26" fmla="*/ 90502 h 181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69658" h="181537">
                  <a:moveTo>
                    <a:pt x="169649" y="90502"/>
                  </a:moveTo>
                  <a:cubicBezTo>
                    <a:pt x="169784" y="103132"/>
                    <a:pt x="167780" y="115693"/>
                    <a:pt x="163722" y="127653"/>
                  </a:cubicBezTo>
                  <a:cubicBezTo>
                    <a:pt x="160115" y="138334"/>
                    <a:pt x="154310" y="148141"/>
                    <a:pt x="146684" y="156443"/>
                  </a:cubicBezTo>
                  <a:cubicBezTo>
                    <a:pt x="139188" y="164462"/>
                    <a:pt x="130057" y="170778"/>
                    <a:pt x="119911" y="174966"/>
                  </a:cubicBezTo>
                  <a:cubicBezTo>
                    <a:pt x="108826" y="179467"/>
                    <a:pt x="96951" y="181699"/>
                    <a:pt x="84989" y="181528"/>
                  </a:cubicBezTo>
                  <a:cubicBezTo>
                    <a:pt x="73130" y="181682"/>
                    <a:pt x="61362" y="179451"/>
                    <a:pt x="50384" y="174966"/>
                  </a:cubicBezTo>
                  <a:cubicBezTo>
                    <a:pt x="40235" y="170781"/>
                    <a:pt x="31104" y="164464"/>
                    <a:pt x="23609" y="156443"/>
                  </a:cubicBezTo>
                  <a:cubicBezTo>
                    <a:pt x="15958" y="148103"/>
                    <a:pt x="10057" y="138313"/>
                    <a:pt x="6254" y="127653"/>
                  </a:cubicBezTo>
                  <a:cubicBezTo>
                    <a:pt x="1982" y="115739"/>
                    <a:pt x="-132" y="103159"/>
                    <a:pt x="10" y="90502"/>
                  </a:cubicBezTo>
                  <a:cubicBezTo>
                    <a:pt x="-168" y="77868"/>
                    <a:pt x="1985" y="65310"/>
                    <a:pt x="6360" y="53457"/>
                  </a:cubicBezTo>
                  <a:cubicBezTo>
                    <a:pt x="10278" y="42874"/>
                    <a:pt x="16288" y="33191"/>
                    <a:pt x="24032" y="24985"/>
                  </a:cubicBezTo>
                  <a:cubicBezTo>
                    <a:pt x="31533" y="17219"/>
                    <a:pt x="40534" y="11061"/>
                    <a:pt x="50489" y="6885"/>
                  </a:cubicBezTo>
                  <a:cubicBezTo>
                    <a:pt x="61399" y="2260"/>
                    <a:pt x="73140" y="-81"/>
                    <a:pt x="84989" y="6"/>
                  </a:cubicBezTo>
                  <a:cubicBezTo>
                    <a:pt x="96742" y="-126"/>
                    <a:pt x="108402" y="2105"/>
                    <a:pt x="119276" y="6568"/>
                  </a:cubicBezTo>
                  <a:cubicBezTo>
                    <a:pt x="129385" y="10728"/>
                    <a:pt x="138506" y="16966"/>
                    <a:pt x="146050" y="24879"/>
                  </a:cubicBezTo>
                  <a:cubicBezTo>
                    <a:pt x="153694" y="33103"/>
                    <a:pt x="159598" y="42787"/>
                    <a:pt x="163405" y="53351"/>
                  </a:cubicBezTo>
                  <a:cubicBezTo>
                    <a:pt x="167704" y="65258"/>
                    <a:pt x="169819" y="77844"/>
                    <a:pt x="169649" y="90502"/>
                  </a:cubicBezTo>
                  <a:close/>
                  <a:moveTo>
                    <a:pt x="119805" y="90502"/>
                  </a:moveTo>
                  <a:cubicBezTo>
                    <a:pt x="120508" y="78007"/>
                    <a:pt x="117369" y="65596"/>
                    <a:pt x="110810" y="54939"/>
                  </a:cubicBezTo>
                  <a:cubicBezTo>
                    <a:pt x="105037" y="46432"/>
                    <a:pt x="95256" y="41541"/>
                    <a:pt x="84988" y="42025"/>
                  </a:cubicBezTo>
                  <a:cubicBezTo>
                    <a:pt x="74701" y="41586"/>
                    <a:pt x="64910" y="46463"/>
                    <a:pt x="59061" y="54939"/>
                  </a:cubicBezTo>
                  <a:cubicBezTo>
                    <a:pt x="52377" y="65550"/>
                    <a:pt x="49159" y="77979"/>
                    <a:pt x="49854" y="90502"/>
                  </a:cubicBezTo>
                  <a:cubicBezTo>
                    <a:pt x="49197" y="103121"/>
                    <a:pt x="52410" y="115640"/>
                    <a:pt x="59061" y="126383"/>
                  </a:cubicBezTo>
                  <a:cubicBezTo>
                    <a:pt x="64807" y="135011"/>
                    <a:pt x="74631" y="140024"/>
                    <a:pt x="84988" y="139614"/>
                  </a:cubicBezTo>
                  <a:cubicBezTo>
                    <a:pt x="95290" y="140034"/>
                    <a:pt x="105055" y="135010"/>
                    <a:pt x="110704" y="126383"/>
                  </a:cubicBezTo>
                  <a:cubicBezTo>
                    <a:pt x="117084" y="115549"/>
                    <a:pt x="120070" y="103051"/>
                    <a:pt x="119276" y="90502"/>
                  </a:cubicBezTo>
                  <a:lnTo>
                    <a:pt x="119805" y="90502"/>
                  </a:lnTo>
                  <a:close/>
                </a:path>
              </a:pathLst>
            </a:custGeom>
            <a:solidFill>
              <a:srgbClr val="0065B0"/>
            </a:solidFill>
            <a:ln w="6348" cap="flat">
              <a:noFill/>
              <a:prstDash val="solid"/>
              <a:miter/>
            </a:ln>
          </p:spPr>
          <p:txBody>
            <a:bodyPr rtlCol="0" anchor="ctr"/>
            <a:lstStyle/>
            <a:p>
              <a:endParaRPr lang="nl-NL"/>
            </a:p>
          </p:txBody>
        </p:sp>
        <p:sp>
          <p:nvSpPr>
            <p:cNvPr id="36" name="Vrije vorm 35">
              <a:extLst>
                <a:ext uri="{FF2B5EF4-FFF2-40B4-BE49-F238E27FC236}">
                  <a16:creationId xmlns:a16="http://schemas.microsoft.com/office/drawing/2014/main" id="{2ABB51B1-0FF3-677C-6245-531E5604C693}"/>
                </a:ext>
              </a:extLst>
            </p:cNvPr>
            <p:cNvSpPr/>
            <p:nvPr/>
          </p:nvSpPr>
          <p:spPr>
            <a:xfrm>
              <a:off x="10768197" y="661628"/>
              <a:ext cx="112174" cy="176025"/>
            </a:xfrm>
            <a:custGeom>
              <a:avLst/>
              <a:gdLst>
                <a:gd name="connsiteX0" fmla="*/ 104026 w 112174"/>
                <a:gd name="connsiteY0" fmla="*/ 46896 h 176025"/>
                <a:gd name="connsiteX1" fmla="*/ 88576 w 112174"/>
                <a:gd name="connsiteY1" fmla="*/ 43509 h 176025"/>
                <a:gd name="connsiteX2" fmla="*/ 69527 w 112174"/>
                <a:gd name="connsiteY2" fmla="*/ 41710 h 176025"/>
                <a:gd name="connsiteX3" fmla="*/ 58944 w 112174"/>
                <a:gd name="connsiteY3" fmla="*/ 42557 h 176025"/>
                <a:gd name="connsiteX4" fmla="*/ 49209 w 112174"/>
                <a:gd name="connsiteY4" fmla="*/ 44356 h 176025"/>
                <a:gd name="connsiteX5" fmla="*/ 49209 w 112174"/>
                <a:gd name="connsiteY5" fmla="*/ 176026 h 176025"/>
                <a:gd name="connsiteX6" fmla="*/ 0 w 112174"/>
                <a:gd name="connsiteY6" fmla="*/ 176026 h 176025"/>
                <a:gd name="connsiteX7" fmla="*/ 0 w 112174"/>
                <a:gd name="connsiteY7" fmla="*/ 12814 h 176025"/>
                <a:gd name="connsiteX8" fmla="*/ 31007 w 112174"/>
                <a:gd name="connsiteY8" fmla="*/ 4135 h 176025"/>
                <a:gd name="connsiteX9" fmla="*/ 70903 w 112174"/>
                <a:gd name="connsiteY9" fmla="*/ 7 h 176025"/>
                <a:gd name="connsiteX10" fmla="*/ 80427 w 112174"/>
                <a:gd name="connsiteY10" fmla="*/ 7 h 176025"/>
                <a:gd name="connsiteX11" fmla="*/ 91539 w 112174"/>
                <a:gd name="connsiteY11" fmla="*/ 1277 h 176025"/>
                <a:gd name="connsiteX12" fmla="*/ 102650 w 112174"/>
                <a:gd name="connsiteY12" fmla="*/ 3288 h 176025"/>
                <a:gd name="connsiteX13" fmla="*/ 112174 w 112174"/>
                <a:gd name="connsiteY13" fmla="*/ 6040 h 176025"/>
                <a:gd name="connsiteX14" fmla="*/ 104026 w 112174"/>
                <a:gd name="connsiteY14" fmla="*/ 46896 h 176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174" h="176025">
                  <a:moveTo>
                    <a:pt x="104026" y="46896"/>
                  </a:moveTo>
                  <a:cubicBezTo>
                    <a:pt x="99652" y="45838"/>
                    <a:pt x="94502" y="44709"/>
                    <a:pt x="88576" y="43509"/>
                  </a:cubicBezTo>
                  <a:cubicBezTo>
                    <a:pt x="82302" y="42271"/>
                    <a:pt x="75921" y="41669"/>
                    <a:pt x="69527" y="41710"/>
                  </a:cubicBezTo>
                  <a:cubicBezTo>
                    <a:pt x="65986" y="41782"/>
                    <a:pt x="62452" y="42064"/>
                    <a:pt x="58944" y="42557"/>
                  </a:cubicBezTo>
                  <a:cubicBezTo>
                    <a:pt x="55658" y="42909"/>
                    <a:pt x="52404" y="43511"/>
                    <a:pt x="49209" y="44356"/>
                  </a:cubicBezTo>
                  <a:lnTo>
                    <a:pt x="49209" y="176026"/>
                  </a:lnTo>
                  <a:lnTo>
                    <a:pt x="0" y="176026"/>
                  </a:lnTo>
                  <a:lnTo>
                    <a:pt x="0" y="12814"/>
                  </a:lnTo>
                  <a:cubicBezTo>
                    <a:pt x="10170" y="9360"/>
                    <a:pt x="20521" y="6462"/>
                    <a:pt x="31007" y="4135"/>
                  </a:cubicBezTo>
                  <a:cubicBezTo>
                    <a:pt x="44109" y="1271"/>
                    <a:pt x="57492" y="-114"/>
                    <a:pt x="70903" y="7"/>
                  </a:cubicBezTo>
                  <a:lnTo>
                    <a:pt x="80427" y="7"/>
                  </a:lnTo>
                  <a:cubicBezTo>
                    <a:pt x="84166" y="7"/>
                    <a:pt x="87870" y="431"/>
                    <a:pt x="91539" y="1277"/>
                  </a:cubicBezTo>
                  <a:cubicBezTo>
                    <a:pt x="95278" y="1842"/>
                    <a:pt x="98982" y="2512"/>
                    <a:pt x="102650" y="3288"/>
                  </a:cubicBezTo>
                  <a:cubicBezTo>
                    <a:pt x="105905" y="3906"/>
                    <a:pt x="109093" y="4827"/>
                    <a:pt x="112174" y="6040"/>
                  </a:cubicBezTo>
                  <a:lnTo>
                    <a:pt x="104026" y="46896"/>
                  </a:lnTo>
                  <a:close/>
                </a:path>
              </a:pathLst>
            </a:custGeom>
            <a:solidFill>
              <a:srgbClr val="0065B0"/>
            </a:solidFill>
            <a:ln w="6348" cap="flat">
              <a:noFill/>
              <a:prstDash val="solid"/>
              <a:miter/>
            </a:ln>
          </p:spPr>
          <p:txBody>
            <a:bodyPr rtlCol="0" anchor="ctr"/>
            <a:lstStyle/>
            <a:p>
              <a:endParaRPr lang="nl-NL"/>
            </a:p>
          </p:txBody>
        </p:sp>
        <p:sp>
          <p:nvSpPr>
            <p:cNvPr id="37" name="Vrije vorm 36">
              <a:extLst>
                <a:ext uri="{FF2B5EF4-FFF2-40B4-BE49-F238E27FC236}">
                  <a16:creationId xmlns:a16="http://schemas.microsoft.com/office/drawing/2014/main" id="{CE86BFB6-6574-E906-45A7-7AC67B27B86B}"/>
                </a:ext>
              </a:extLst>
            </p:cNvPr>
            <p:cNvSpPr/>
            <p:nvPr/>
          </p:nvSpPr>
          <p:spPr>
            <a:xfrm>
              <a:off x="10895024" y="661517"/>
              <a:ext cx="157419" cy="237420"/>
            </a:xfrm>
            <a:custGeom>
              <a:avLst/>
              <a:gdLst>
                <a:gd name="connsiteX0" fmla="*/ 157420 w 157419"/>
                <a:gd name="connsiteY0" fmla="*/ 154227 h 237420"/>
                <a:gd name="connsiteX1" fmla="*/ 136255 w 157419"/>
                <a:gd name="connsiteY1" fmla="*/ 216993 h 237420"/>
                <a:gd name="connsiteX2" fmla="*/ 69796 w 157419"/>
                <a:gd name="connsiteY2" fmla="*/ 237421 h 237420"/>
                <a:gd name="connsiteX3" fmla="*/ 38049 w 157419"/>
                <a:gd name="connsiteY3" fmla="*/ 234669 h 237420"/>
                <a:gd name="connsiteX4" fmla="*/ 8841 w 157419"/>
                <a:gd name="connsiteY4" fmla="*/ 227260 h 237420"/>
                <a:gd name="connsiteX5" fmla="*/ 17412 w 157419"/>
                <a:gd name="connsiteY5" fmla="*/ 186298 h 237420"/>
                <a:gd name="connsiteX6" fmla="*/ 41541 w 157419"/>
                <a:gd name="connsiteY6" fmla="*/ 193496 h 237420"/>
                <a:gd name="connsiteX7" fmla="*/ 70219 w 157419"/>
                <a:gd name="connsiteY7" fmla="*/ 196142 h 237420"/>
                <a:gd name="connsiteX8" fmla="*/ 99957 w 157419"/>
                <a:gd name="connsiteY8" fmla="*/ 186933 h 237420"/>
                <a:gd name="connsiteX9" fmla="*/ 108634 w 157419"/>
                <a:gd name="connsiteY9" fmla="*/ 163330 h 237420"/>
                <a:gd name="connsiteX10" fmla="*/ 108634 w 157419"/>
                <a:gd name="connsiteY10" fmla="*/ 157085 h 237420"/>
                <a:gd name="connsiteX11" fmla="*/ 92337 w 157419"/>
                <a:gd name="connsiteY11" fmla="*/ 162483 h 237420"/>
                <a:gd name="connsiteX12" fmla="*/ 74029 w 157419"/>
                <a:gd name="connsiteY12" fmla="*/ 164812 h 237420"/>
                <a:gd name="connsiteX13" fmla="*/ 19212 w 157419"/>
                <a:gd name="connsiteY13" fmla="*/ 143643 h 237420"/>
                <a:gd name="connsiteX14" fmla="*/ 163 w 157419"/>
                <a:gd name="connsiteY14" fmla="*/ 84476 h 237420"/>
                <a:gd name="connsiteX15" fmla="*/ 6090 w 157419"/>
                <a:gd name="connsiteY15" fmla="*/ 49865 h 237420"/>
                <a:gd name="connsiteX16" fmla="*/ 23339 w 157419"/>
                <a:gd name="connsiteY16" fmla="*/ 23193 h 237420"/>
                <a:gd name="connsiteX17" fmla="*/ 51065 w 157419"/>
                <a:gd name="connsiteY17" fmla="*/ 6046 h 237420"/>
                <a:gd name="connsiteX18" fmla="*/ 88104 w 157419"/>
                <a:gd name="connsiteY18" fmla="*/ 13 h 237420"/>
                <a:gd name="connsiteX19" fmla="*/ 106306 w 157419"/>
                <a:gd name="connsiteY19" fmla="*/ 860 h 237420"/>
                <a:gd name="connsiteX20" fmla="*/ 124826 w 157419"/>
                <a:gd name="connsiteY20" fmla="*/ 2977 h 237420"/>
                <a:gd name="connsiteX21" fmla="*/ 142392 w 157419"/>
                <a:gd name="connsiteY21" fmla="*/ 6046 h 237420"/>
                <a:gd name="connsiteX22" fmla="*/ 157314 w 157419"/>
                <a:gd name="connsiteY22" fmla="*/ 9856 h 237420"/>
                <a:gd name="connsiteX23" fmla="*/ 157420 w 157419"/>
                <a:gd name="connsiteY23" fmla="*/ 154228 h 237420"/>
                <a:gd name="connsiteX24" fmla="*/ 50113 w 157419"/>
                <a:gd name="connsiteY24" fmla="*/ 84370 h 237420"/>
                <a:gd name="connsiteX25" fmla="*/ 83237 w 157419"/>
                <a:gd name="connsiteY25" fmla="*/ 125332 h 237420"/>
                <a:gd name="connsiteX26" fmla="*/ 97311 w 157419"/>
                <a:gd name="connsiteY26" fmla="*/ 123321 h 237420"/>
                <a:gd name="connsiteX27" fmla="*/ 108423 w 157419"/>
                <a:gd name="connsiteY27" fmla="*/ 118770 h 237420"/>
                <a:gd name="connsiteX28" fmla="*/ 108423 w 157419"/>
                <a:gd name="connsiteY28" fmla="*/ 40869 h 237420"/>
                <a:gd name="connsiteX29" fmla="*/ 99850 w 157419"/>
                <a:gd name="connsiteY29" fmla="*/ 39704 h 237420"/>
                <a:gd name="connsiteX30" fmla="*/ 88316 w 157419"/>
                <a:gd name="connsiteY30" fmla="*/ 39704 h 237420"/>
                <a:gd name="connsiteX31" fmla="*/ 59425 w 157419"/>
                <a:gd name="connsiteY31" fmla="*/ 52511 h 237420"/>
                <a:gd name="connsiteX32" fmla="*/ 50113 w 157419"/>
                <a:gd name="connsiteY32" fmla="*/ 84370 h 237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57419" h="237420">
                  <a:moveTo>
                    <a:pt x="157420" y="154227"/>
                  </a:moveTo>
                  <a:cubicBezTo>
                    <a:pt x="157420" y="182452"/>
                    <a:pt x="150365" y="203374"/>
                    <a:pt x="136255" y="216993"/>
                  </a:cubicBezTo>
                  <a:cubicBezTo>
                    <a:pt x="122144" y="230611"/>
                    <a:pt x="99991" y="237421"/>
                    <a:pt x="69796" y="237421"/>
                  </a:cubicBezTo>
                  <a:cubicBezTo>
                    <a:pt x="59154" y="237438"/>
                    <a:pt x="48530" y="236517"/>
                    <a:pt x="38049" y="234669"/>
                  </a:cubicBezTo>
                  <a:cubicBezTo>
                    <a:pt x="28138" y="232949"/>
                    <a:pt x="18373" y="230472"/>
                    <a:pt x="8841" y="227260"/>
                  </a:cubicBezTo>
                  <a:lnTo>
                    <a:pt x="17412" y="186298"/>
                  </a:lnTo>
                  <a:cubicBezTo>
                    <a:pt x="25230" y="189397"/>
                    <a:pt x="33303" y="191806"/>
                    <a:pt x="41541" y="193496"/>
                  </a:cubicBezTo>
                  <a:cubicBezTo>
                    <a:pt x="50987" y="195345"/>
                    <a:pt x="60595" y="196232"/>
                    <a:pt x="70219" y="196142"/>
                  </a:cubicBezTo>
                  <a:cubicBezTo>
                    <a:pt x="80971" y="197239"/>
                    <a:pt x="91706" y="193914"/>
                    <a:pt x="99957" y="186933"/>
                  </a:cubicBezTo>
                  <a:cubicBezTo>
                    <a:pt x="105858" y="180524"/>
                    <a:pt x="108979" y="172036"/>
                    <a:pt x="108634" y="163330"/>
                  </a:cubicBezTo>
                  <a:lnTo>
                    <a:pt x="108634" y="157085"/>
                  </a:lnTo>
                  <a:cubicBezTo>
                    <a:pt x="103416" y="159476"/>
                    <a:pt x="97951" y="161286"/>
                    <a:pt x="92337" y="162483"/>
                  </a:cubicBezTo>
                  <a:cubicBezTo>
                    <a:pt x="86335" y="163911"/>
                    <a:pt x="80198" y="164691"/>
                    <a:pt x="74029" y="164812"/>
                  </a:cubicBezTo>
                  <a:cubicBezTo>
                    <a:pt x="53536" y="166146"/>
                    <a:pt x="33492" y="158406"/>
                    <a:pt x="19212" y="143643"/>
                  </a:cubicBezTo>
                  <a:cubicBezTo>
                    <a:pt x="5639" y="127024"/>
                    <a:pt x="-1163" y="105894"/>
                    <a:pt x="163" y="84476"/>
                  </a:cubicBezTo>
                  <a:cubicBezTo>
                    <a:pt x="11" y="72674"/>
                    <a:pt x="2019" y="60944"/>
                    <a:pt x="6090" y="49865"/>
                  </a:cubicBezTo>
                  <a:cubicBezTo>
                    <a:pt x="9844" y="39832"/>
                    <a:pt x="15728" y="30732"/>
                    <a:pt x="23339" y="23193"/>
                  </a:cubicBezTo>
                  <a:cubicBezTo>
                    <a:pt x="31253" y="15564"/>
                    <a:pt x="40706" y="9718"/>
                    <a:pt x="51065" y="6046"/>
                  </a:cubicBezTo>
                  <a:cubicBezTo>
                    <a:pt x="62958" y="1859"/>
                    <a:pt x="75498" y="-183"/>
                    <a:pt x="88104" y="13"/>
                  </a:cubicBezTo>
                  <a:cubicBezTo>
                    <a:pt x="94030" y="13"/>
                    <a:pt x="100098" y="295"/>
                    <a:pt x="106306" y="860"/>
                  </a:cubicBezTo>
                  <a:cubicBezTo>
                    <a:pt x="112515" y="1424"/>
                    <a:pt x="118688" y="2130"/>
                    <a:pt x="124826" y="2977"/>
                  </a:cubicBezTo>
                  <a:cubicBezTo>
                    <a:pt x="130963" y="3823"/>
                    <a:pt x="136819" y="4846"/>
                    <a:pt x="142392" y="6046"/>
                  </a:cubicBezTo>
                  <a:cubicBezTo>
                    <a:pt x="147966" y="7246"/>
                    <a:pt x="152940" y="8516"/>
                    <a:pt x="157314" y="9856"/>
                  </a:cubicBezTo>
                  <a:lnTo>
                    <a:pt x="157420" y="154228"/>
                  </a:lnTo>
                  <a:close/>
                  <a:moveTo>
                    <a:pt x="50113" y="84370"/>
                  </a:moveTo>
                  <a:cubicBezTo>
                    <a:pt x="50113" y="111678"/>
                    <a:pt x="61154" y="125332"/>
                    <a:pt x="83237" y="125332"/>
                  </a:cubicBezTo>
                  <a:cubicBezTo>
                    <a:pt x="88001" y="125350"/>
                    <a:pt x="92742" y="124672"/>
                    <a:pt x="97311" y="123321"/>
                  </a:cubicBezTo>
                  <a:cubicBezTo>
                    <a:pt x="101173" y="122224"/>
                    <a:pt x="104900" y="120698"/>
                    <a:pt x="108423" y="118770"/>
                  </a:cubicBezTo>
                  <a:lnTo>
                    <a:pt x="108423" y="40869"/>
                  </a:lnTo>
                  <a:cubicBezTo>
                    <a:pt x="106024" y="40445"/>
                    <a:pt x="103167" y="40057"/>
                    <a:pt x="99850" y="39704"/>
                  </a:cubicBezTo>
                  <a:cubicBezTo>
                    <a:pt x="96535" y="39351"/>
                    <a:pt x="92690" y="39351"/>
                    <a:pt x="88316" y="39704"/>
                  </a:cubicBezTo>
                  <a:cubicBezTo>
                    <a:pt x="77156" y="38904"/>
                    <a:pt x="66328" y="43704"/>
                    <a:pt x="59425" y="52511"/>
                  </a:cubicBezTo>
                  <a:cubicBezTo>
                    <a:pt x="52985" y="61857"/>
                    <a:pt x="49720" y="73027"/>
                    <a:pt x="50113" y="84370"/>
                  </a:cubicBezTo>
                  <a:close/>
                </a:path>
              </a:pathLst>
            </a:custGeom>
            <a:solidFill>
              <a:srgbClr val="0065B0"/>
            </a:solidFill>
            <a:ln w="6348" cap="flat">
              <a:noFill/>
              <a:prstDash val="solid"/>
              <a:miter/>
            </a:ln>
          </p:spPr>
          <p:txBody>
            <a:bodyPr rtlCol="0" anchor="ctr"/>
            <a:lstStyle/>
            <a:p>
              <a:endParaRPr lang="nl-NL"/>
            </a:p>
          </p:txBody>
        </p:sp>
        <p:sp>
          <p:nvSpPr>
            <p:cNvPr id="38" name="Vrije vorm 37">
              <a:extLst>
                <a:ext uri="{FF2B5EF4-FFF2-40B4-BE49-F238E27FC236}">
                  <a16:creationId xmlns:a16="http://schemas.microsoft.com/office/drawing/2014/main" id="{C48C7473-C72B-54FB-55E1-8A4B9A386F5D}"/>
                </a:ext>
              </a:extLst>
            </p:cNvPr>
            <p:cNvSpPr/>
            <p:nvPr/>
          </p:nvSpPr>
          <p:spPr>
            <a:xfrm>
              <a:off x="11088001" y="605297"/>
              <a:ext cx="165799" cy="236912"/>
            </a:xfrm>
            <a:custGeom>
              <a:avLst/>
              <a:gdLst>
                <a:gd name="connsiteX0" fmla="*/ 75771 w 165799"/>
                <a:gd name="connsiteY0" fmla="*/ 193406 h 236912"/>
                <a:gd name="connsiteX1" fmla="*/ 93656 w 165799"/>
                <a:gd name="connsiteY1" fmla="*/ 191607 h 236912"/>
                <a:gd name="connsiteX2" fmla="*/ 104979 w 165799"/>
                <a:gd name="connsiteY2" fmla="*/ 186738 h 236912"/>
                <a:gd name="connsiteX3" fmla="*/ 110905 w 165799"/>
                <a:gd name="connsiteY3" fmla="*/ 179329 h 236912"/>
                <a:gd name="connsiteX4" fmla="*/ 112598 w 165799"/>
                <a:gd name="connsiteY4" fmla="*/ 169803 h 236912"/>
                <a:gd name="connsiteX5" fmla="*/ 102016 w 165799"/>
                <a:gd name="connsiteY5" fmla="*/ 151280 h 236912"/>
                <a:gd name="connsiteX6" fmla="*/ 66246 w 165799"/>
                <a:gd name="connsiteY6" fmla="*/ 135404 h 236912"/>
                <a:gd name="connsiteX7" fmla="*/ 43918 w 165799"/>
                <a:gd name="connsiteY7" fmla="*/ 126407 h 236912"/>
                <a:gd name="connsiteX8" fmla="*/ 23916 w 165799"/>
                <a:gd name="connsiteY8" fmla="*/ 113600 h 236912"/>
                <a:gd name="connsiteX9" fmla="*/ 9524 w 165799"/>
                <a:gd name="connsiteY9" fmla="*/ 94971 h 236912"/>
                <a:gd name="connsiteX10" fmla="*/ 3915 w 165799"/>
                <a:gd name="connsiteY10" fmla="*/ 68299 h 236912"/>
                <a:gd name="connsiteX11" fmla="*/ 9842 w 165799"/>
                <a:gd name="connsiteY11" fmla="*/ 39932 h 236912"/>
                <a:gd name="connsiteX12" fmla="*/ 26562 w 165799"/>
                <a:gd name="connsiteY12" fmla="*/ 18764 h 236912"/>
                <a:gd name="connsiteX13" fmla="*/ 52807 w 165799"/>
                <a:gd name="connsiteY13" fmla="*/ 5216 h 236912"/>
                <a:gd name="connsiteX14" fmla="*/ 87411 w 165799"/>
                <a:gd name="connsiteY14" fmla="*/ 29 h 236912"/>
                <a:gd name="connsiteX15" fmla="*/ 154716 w 165799"/>
                <a:gd name="connsiteY15" fmla="*/ 15800 h 236912"/>
                <a:gd name="connsiteX16" fmla="*/ 139901 w 165799"/>
                <a:gd name="connsiteY16" fmla="*/ 56127 h 236912"/>
                <a:gd name="connsiteX17" fmla="*/ 118736 w 165799"/>
                <a:gd name="connsiteY17" fmla="*/ 47447 h 236912"/>
                <a:gd name="connsiteX18" fmla="*/ 90692 w 165799"/>
                <a:gd name="connsiteY18" fmla="*/ 43637 h 236912"/>
                <a:gd name="connsiteX19" fmla="*/ 64236 w 165799"/>
                <a:gd name="connsiteY19" fmla="*/ 48718 h 236912"/>
                <a:gd name="connsiteX20" fmla="*/ 55664 w 165799"/>
                <a:gd name="connsiteY20" fmla="*/ 64277 h 236912"/>
                <a:gd name="connsiteX21" fmla="*/ 58627 w 165799"/>
                <a:gd name="connsiteY21" fmla="*/ 74861 h 236912"/>
                <a:gd name="connsiteX22" fmla="*/ 66987 w 165799"/>
                <a:gd name="connsiteY22" fmla="*/ 82588 h 236912"/>
                <a:gd name="connsiteX23" fmla="*/ 79474 w 165799"/>
                <a:gd name="connsiteY23" fmla="*/ 88832 h 236912"/>
                <a:gd name="connsiteX24" fmla="*/ 95031 w 165799"/>
                <a:gd name="connsiteY24" fmla="*/ 94548 h 236912"/>
                <a:gd name="connsiteX25" fmla="*/ 125932 w 165799"/>
                <a:gd name="connsiteY25" fmla="*/ 107461 h 236912"/>
                <a:gd name="connsiteX26" fmla="*/ 147732 w 165799"/>
                <a:gd name="connsiteY26" fmla="*/ 122385 h 236912"/>
                <a:gd name="connsiteX27" fmla="*/ 161489 w 165799"/>
                <a:gd name="connsiteY27" fmla="*/ 142284 h 236912"/>
                <a:gd name="connsiteX28" fmla="*/ 165722 w 165799"/>
                <a:gd name="connsiteY28" fmla="*/ 170121 h 236912"/>
                <a:gd name="connsiteX29" fmla="*/ 143393 w 165799"/>
                <a:gd name="connsiteY29" fmla="*/ 219444 h 236912"/>
                <a:gd name="connsiteX30" fmla="*/ 75771 w 165799"/>
                <a:gd name="connsiteY30" fmla="*/ 236908 h 236912"/>
                <a:gd name="connsiteX31" fmla="*/ 48574 w 165799"/>
                <a:gd name="connsiteY31" fmla="*/ 235109 h 236912"/>
                <a:gd name="connsiteX32" fmla="*/ 27408 w 165799"/>
                <a:gd name="connsiteY32" fmla="*/ 230663 h 236912"/>
                <a:gd name="connsiteX33" fmla="*/ 11323 w 165799"/>
                <a:gd name="connsiteY33" fmla="*/ 225054 h 236912"/>
                <a:gd name="connsiteX34" fmla="*/ 0 w 165799"/>
                <a:gd name="connsiteY34" fmla="*/ 219444 h 236912"/>
                <a:gd name="connsiteX35" fmla="*/ 14074 w 165799"/>
                <a:gd name="connsiteY35" fmla="*/ 178694 h 236912"/>
                <a:gd name="connsiteX36" fmla="*/ 39155 w 165799"/>
                <a:gd name="connsiteY36" fmla="*/ 188643 h 236912"/>
                <a:gd name="connsiteX37" fmla="*/ 75771 w 165799"/>
                <a:gd name="connsiteY37" fmla="*/ 193406 h 23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65799" h="236912">
                  <a:moveTo>
                    <a:pt x="75771" y="193406"/>
                  </a:moveTo>
                  <a:cubicBezTo>
                    <a:pt x="81783" y="193535"/>
                    <a:pt x="87789" y="192930"/>
                    <a:pt x="93656" y="191607"/>
                  </a:cubicBezTo>
                  <a:cubicBezTo>
                    <a:pt x="97703" y="190712"/>
                    <a:pt x="101544" y="189060"/>
                    <a:pt x="104979" y="186738"/>
                  </a:cubicBezTo>
                  <a:cubicBezTo>
                    <a:pt x="107637" y="184901"/>
                    <a:pt x="109697" y="182325"/>
                    <a:pt x="110905" y="179329"/>
                  </a:cubicBezTo>
                  <a:cubicBezTo>
                    <a:pt x="112055" y="176286"/>
                    <a:pt x="112629" y="173056"/>
                    <a:pt x="112598" y="169803"/>
                  </a:cubicBezTo>
                  <a:cubicBezTo>
                    <a:pt x="112517" y="162212"/>
                    <a:pt x="108513" y="155204"/>
                    <a:pt x="102016" y="151280"/>
                  </a:cubicBezTo>
                  <a:cubicBezTo>
                    <a:pt x="90834" y="144454"/>
                    <a:pt x="78810" y="139116"/>
                    <a:pt x="66246" y="135404"/>
                  </a:cubicBezTo>
                  <a:cubicBezTo>
                    <a:pt x="58839" y="132793"/>
                    <a:pt x="51396" y="129794"/>
                    <a:pt x="43918" y="126407"/>
                  </a:cubicBezTo>
                  <a:cubicBezTo>
                    <a:pt x="36665" y="123130"/>
                    <a:pt x="29928" y="118816"/>
                    <a:pt x="23916" y="113600"/>
                  </a:cubicBezTo>
                  <a:cubicBezTo>
                    <a:pt x="17955" y="108385"/>
                    <a:pt x="13066" y="102057"/>
                    <a:pt x="9524" y="94971"/>
                  </a:cubicBezTo>
                  <a:cubicBezTo>
                    <a:pt x="5575" y="86648"/>
                    <a:pt x="3653" y="77508"/>
                    <a:pt x="3915" y="68299"/>
                  </a:cubicBezTo>
                  <a:cubicBezTo>
                    <a:pt x="3767" y="58521"/>
                    <a:pt x="5791" y="48833"/>
                    <a:pt x="9842" y="39932"/>
                  </a:cubicBezTo>
                  <a:cubicBezTo>
                    <a:pt x="13753" y="31708"/>
                    <a:pt x="19468" y="24472"/>
                    <a:pt x="26562" y="18764"/>
                  </a:cubicBezTo>
                  <a:cubicBezTo>
                    <a:pt x="34349" y="12588"/>
                    <a:pt x="43263" y="7987"/>
                    <a:pt x="52807" y="5216"/>
                  </a:cubicBezTo>
                  <a:cubicBezTo>
                    <a:pt x="64021" y="1779"/>
                    <a:pt x="75683" y="31"/>
                    <a:pt x="87411" y="29"/>
                  </a:cubicBezTo>
                  <a:cubicBezTo>
                    <a:pt x="110815" y="-450"/>
                    <a:pt x="133962" y="4973"/>
                    <a:pt x="154716" y="15800"/>
                  </a:cubicBezTo>
                  <a:lnTo>
                    <a:pt x="139901" y="56127"/>
                  </a:lnTo>
                  <a:cubicBezTo>
                    <a:pt x="133094" y="52664"/>
                    <a:pt x="126015" y="49761"/>
                    <a:pt x="118736" y="47447"/>
                  </a:cubicBezTo>
                  <a:cubicBezTo>
                    <a:pt x="109641" y="44738"/>
                    <a:pt x="100180" y="43452"/>
                    <a:pt x="90692" y="43637"/>
                  </a:cubicBezTo>
                  <a:cubicBezTo>
                    <a:pt x="81579" y="42954"/>
                    <a:pt x="72448" y="44708"/>
                    <a:pt x="64236" y="48718"/>
                  </a:cubicBezTo>
                  <a:cubicBezTo>
                    <a:pt x="58706" y="51904"/>
                    <a:pt x="55403" y="57899"/>
                    <a:pt x="55664" y="64277"/>
                  </a:cubicBezTo>
                  <a:cubicBezTo>
                    <a:pt x="55523" y="68027"/>
                    <a:pt x="56560" y="71728"/>
                    <a:pt x="58627" y="74861"/>
                  </a:cubicBezTo>
                  <a:cubicBezTo>
                    <a:pt x="60872" y="77967"/>
                    <a:pt x="63714" y="80594"/>
                    <a:pt x="66987" y="82588"/>
                  </a:cubicBezTo>
                  <a:cubicBezTo>
                    <a:pt x="70941" y="85062"/>
                    <a:pt x="75123" y="87153"/>
                    <a:pt x="79474" y="88832"/>
                  </a:cubicBezTo>
                  <a:cubicBezTo>
                    <a:pt x="84201" y="90667"/>
                    <a:pt x="89387" y="92572"/>
                    <a:pt x="95031" y="94548"/>
                  </a:cubicBezTo>
                  <a:cubicBezTo>
                    <a:pt x="106813" y="98923"/>
                    <a:pt x="117114" y="103227"/>
                    <a:pt x="125932" y="107461"/>
                  </a:cubicBezTo>
                  <a:cubicBezTo>
                    <a:pt x="133953" y="111233"/>
                    <a:pt x="141313" y="116272"/>
                    <a:pt x="147732" y="122385"/>
                  </a:cubicBezTo>
                  <a:cubicBezTo>
                    <a:pt x="153762" y="127894"/>
                    <a:pt x="158464" y="134697"/>
                    <a:pt x="161489" y="142284"/>
                  </a:cubicBezTo>
                  <a:cubicBezTo>
                    <a:pt x="164528" y="151241"/>
                    <a:pt x="165961" y="160665"/>
                    <a:pt x="165722" y="170121"/>
                  </a:cubicBezTo>
                  <a:cubicBezTo>
                    <a:pt x="166697" y="189207"/>
                    <a:pt x="158377" y="207584"/>
                    <a:pt x="143393" y="219444"/>
                  </a:cubicBezTo>
                  <a:cubicBezTo>
                    <a:pt x="128295" y="231087"/>
                    <a:pt x="105755" y="236908"/>
                    <a:pt x="75771" y="236908"/>
                  </a:cubicBezTo>
                  <a:cubicBezTo>
                    <a:pt x="66673" y="236970"/>
                    <a:pt x="57583" y="236369"/>
                    <a:pt x="48574" y="235109"/>
                  </a:cubicBezTo>
                  <a:cubicBezTo>
                    <a:pt x="41434" y="234060"/>
                    <a:pt x="34366" y="232575"/>
                    <a:pt x="27408" y="230663"/>
                  </a:cubicBezTo>
                  <a:cubicBezTo>
                    <a:pt x="21924" y="229168"/>
                    <a:pt x="16549" y="227293"/>
                    <a:pt x="11323" y="225054"/>
                  </a:cubicBezTo>
                  <a:cubicBezTo>
                    <a:pt x="7453" y="223383"/>
                    <a:pt x="3674" y="221510"/>
                    <a:pt x="0" y="219444"/>
                  </a:cubicBezTo>
                  <a:lnTo>
                    <a:pt x="14074" y="178694"/>
                  </a:lnTo>
                  <a:cubicBezTo>
                    <a:pt x="22062" y="182882"/>
                    <a:pt x="30469" y="186216"/>
                    <a:pt x="39155" y="188643"/>
                  </a:cubicBezTo>
                  <a:cubicBezTo>
                    <a:pt x="51073" y="191957"/>
                    <a:pt x="63401" y="193561"/>
                    <a:pt x="75771" y="193406"/>
                  </a:cubicBezTo>
                  <a:close/>
                </a:path>
              </a:pathLst>
            </a:custGeom>
            <a:solidFill>
              <a:srgbClr val="DC2215"/>
            </a:solidFill>
            <a:ln w="6348" cap="flat">
              <a:noFill/>
              <a:prstDash val="solid"/>
              <a:miter/>
            </a:ln>
          </p:spPr>
          <p:txBody>
            <a:bodyPr rtlCol="0" anchor="ctr"/>
            <a:lstStyle/>
            <a:p>
              <a:endParaRPr lang="nl-NL"/>
            </a:p>
          </p:txBody>
        </p:sp>
        <p:sp>
          <p:nvSpPr>
            <p:cNvPr id="40" name="Vrije vorm 39">
              <a:extLst>
                <a:ext uri="{FF2B5EF4-FFF2-40B4-BE49-F238E27FC236}">
                  <a16:creationId xmlns:a16="http://schemas.microsoft.com/office/drawing/2014/main" id="{B1398329-2EFA-EBBD-AA2F-E12F179B4CD0}"/>
                </a:ext>
              </a:extLst>
            </p:cNvPr>
            <p:cNvSpPr/>
            <p:nvPr/>
          </p:nvSpPr>
          <p:spPr>
            <a:xfrm>
              <a:off x="11281952" y="660642"/>
              <a:ext cx="148506" cy="180423"/>
            </a:xfrm>
            <a:custGeom>
              <a:avLst/>
              <a:gdLst>
                <a:gd name="connsiteX0" fmla="*/ 73365 w 148506"/>
                <a:gd name="connsiteY0" fmla="*/ 41 h 180423"/>
                <a:gd name="connsiteX1" fmla="*/ 109451 w 148506"/>
                <a:gd name="connsiteY1" fmla="*/ 4910 h 180423"/>
                <a:gd name="connsiteX2" fmla="*/ 132627 w 148506"/>
                <a:gd name="connsiteY2" fmla="*/ 18987 h 180423"/>
                <a:gd name="connsiteX3" fmla="*/ 144903 w 148506"/>
                <a:gd name="connsiteY3" fmla="*/ 41215 h 180423"/>
                <a:gd name="connsiteX4" fmla="*/ 148500 w 148506"/>
                <a:gd name="connsiteY4" fmla="*/ 70322 h 180423"/>
                <a:gd name="connsiteX5" fmla="*/ 148500 w 148506"/>
                <a:gd name="connsiteY5" fmla="*/ 171932 h 180423"/>
                <a:gd name="connsiteX6" fmla="*/ 119293 w 148506"/>
                <a:gd name="connsiteY6" fmla="*/ 177330 h 180423"/>
                <a:gd name="connsiteX7" fmla="*/ 73999 w 148506"/>
                <a:gd name="connsiteY7" fmla="*/ 180399 h 180423"/>
                <a:gd name="connsiteX8" fmla="*/ 43627 w 148506"/>
                <a:gd name="connsiteY8" fmla="*/ 177436 h 180423"/>
                <a:gd name="connsiteX9" fmla="*/ 20451 w 148506"/>
                <a:gd name="connsiteY9" fmla="*/ 168016 h 180423"/>
                <a:gd name="connsiteX10" fmla="*/ 5318 w 148506"/>
                <a:gd name="connsiteY10" fmla="*/ 150445 h 180423"/>
                <a:gd name="connsiteX11" fmla="*/ 27 w 148506"/>
                <a:gd name="connsiteY11" fmla="*/ 123879 h 180423"/>
                <a:gd name="connsiteX12" fmla="*/ 6059 w 148506"/>
                <a:gd name="connsiteY12" fmla="*/ 98370 h 180423"/>
                <a:gd name="connsiteX13" fmla="*/ 22356 w 148506"/>
                <a:gd name="connsiteY13" fmla="*/ 81647 h 180423"/>
                <a:gd name="connsiteX14" fmla="*/ 45638 w 148506"/>
                <a:gd name="connsiteY14" fmla="*/ 72650 h 180423"/>
                <a:gd name="connsiteX15" fmla="*/ 72835 w 148506"/>
                <a:gd name="connsiteY15" fmla="*/ 69898 h 180423"/>
                <a:gd name="connsiteX16" fmla="*/ 89767 w 148506"/>
                <a:gd name="connsiteY16" fmla="*/ 70745 h 180423"/>
                <a:gd name="connsiteX17" fmla="*/ 101725 w 148506"/>
                <a:gd name="connsiteY17" fmla="*/ 72862 h 180423"/>
                <a:gd name="connsiteX18" fmla="*/ 101725 w 148506"/>
                <a:gd name="connsiteY18" fmla="*/ 68311 h 180423"/>
                <a:gd name="connsiteX19" fmla="*/ 94529 w 148506"/>
                <a:gd name="connsiteY19" fmla="*/ 48200 h 180423"/>
                <a:gd name="connsiteX20" fmla="*/ 68284 w 148506"/>
                <a:gd name="connsiteY20" fmla="*/ 40685 h 180423"/>
                <a:gd name="connsiteX21" fmla="*/ 43627 w 148506"/>
                <a:gd name="connsiteY21" fmla="*/ 42485 h 180423"/>
                <a:gd name="connsiteX22" fmla="*/ 22462 w 148506"/>
                <a:gd name="connsiteY22" fmla="*/ 47565 h 180423"/>
                <a:gd name="connsiteX23" fmla="*/ 16218 w 148506"/>
                <a:gd name="connsiteY23" fmla="*/ 8297 h 180423"/>
                <a:gd name="connsiteX24" fmla="*/ 26801 w 148506"/>
                <a:gd name="connsiteY24" fmla="*/ 5545 h 180423"/>
                <a:gd name="connsiteX25" fmla="*/ 40770 w 148506"/>
                <a:gd name="connsiteY25" fmla="*/ 2899 h 180423"/>
                <a:gd name="connsiteX26" fmla="*/ 56644 w 148506"/>
                <a:gd name="connsiteY26" fmla="*/ 888 h 180423"/>
                <a:gd name="connsiteX27" fmla="*/ 73364 w 148506"/>
                <a:gd name="connsiteY27" fmla="*/ 41 h 180423"/>
                <a:gd name="connsiteX28" fmla="*/ 77280 w 148506"/>
                <a:gd name="connsiteY28" fmla="*/ 142931 h 180423"/>
                <a:gd name="connsiteX29" fmla="*/ 91037 w 148506"/>
                <a:gd name="connsiteY29" fmla="*/ 142931 h 180423"/>
                <a:gd name="connsiteX30" fmla="*/ 101620 w 148506"/>
                <a:gd name="connsiteY30" fmla="*/ 141978 h 180423"/>
                <a:gd name="connsiteX31" fmla="*/ 101620 w 148506"/>
                <a:gd name="connsiteY31" fmla="*/ 104933 h 180423"/>
                <a:gd name="connsiteX32" fmla="*/ 92731 w 148506"/>
                <a:gd name="connsiteY32" fmla="*/ 103662 h 180423"/>
                <a:gd name="connsiteX33" fmla="*/ 82148 w 148506"/>
                <a:gd name="connsiteY33" fmla="*/ 103027 h 180423"/>
                <a:gd name="connsiteX34" fmla="*/ 69131 w 148506"/>
                <a:gd name="connsiteY34" fmla="*/ 103874 h 180423"/>
                <a:gd name="connsiteX35" fmla="*/ 58549 w 148506"/>
                <a:gd name="connsiteY35" fmla="*/ 106944 h 180423"/>
                <a:gd name="connsiteX36" fmla="*/ 51353 w 148506"/>
                <a:gd name="connsiteY36" fmla="*/ 113188 h 180423"/>
                <a:gd name="connsiteX37" fmla="*/ 48707 w 148506"/>
                <a:gd name="connsiteY37" fmla="*/ 123032 h 180423"/>
                <a:gd name="connsiteX38" fmla="*/ 56432 w 148506"/>
                <a:gd name="connsiteY38" fmla="*/ 138908 h 180423"/>
                <a:gd name="connsiteX39" fmla="*/ 77385 w 148506"/>
                <a:gd name="connsiteY39" fmla="*/ 142930 h 180423"/>
                <a:gd name="connsiteX40" fmla="*/ 77280 w 148506"/>
                <a:gd name="connsiteY40" fmla="*/ 142930 h 180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48506" h="180423">
                  <a:moveTo>
                    <a:pt x="73365" y="41"/>
                  </a:moveTo>
                  <a:cubicBezTo>
                    <a:pt x="85576" y="-288"/>
                    <a:pt x="97762" y="1356"/>
                    <a:pt x="109451" y="4910"/>
                  </a:cubicBezTo>
                  <a:cubicBezTo>
                    <a:pt x="118209" y="7640"/>
                    <a:pt x="126166" y="12473"/>
                    <a:pt x="132627" y="18987"/>
                  </a:cubicBezTo>
                  <a:cubicBezTo>
                    <a:pt x="138497" y="25265"/>
                    <a:pt x="142715" y="32903"/>
                    <a:pt x="144903" y="41215"/>
                  </a:cubicBezTo>
                  <a:cubicBezTo>
                    <a:pt x="147398" y="50712"/>
                    <a:pt x="148608" y="60502"/>
                    <a:pt x="148500" y="70322"/>
                  </a:cubicBezTo>
                  <a:lnTo>
                    <a:pt x="148500" y="171932"/>
                  </a:lnTo>
                  <a:cubicBezTo>
                    <a:pt x="141445" y="173484"/>
                    <a:pt x="131710" y="175284"/>
                    <a:pt x="119293" y="177330"/>
                  </a:cubicBezTo>
                  <a:cubicBezTo>
                    <a:pt x="104302" y="179570"/>
                    <a:pt x="89155" y="180597"/>
                    <a:pt x="73999" y="180399"/>
                  </a:cubicBezTo>
                  <a:cubicBezTo>
                    <a:pt x="63799" y="180491"/>
                    <a:pt x="53617" y="179497"/>
                    <a:pt x="43627" y="177436"/>
                  </a:cubicBezTo>
                  <a:cubicBezTo>
                    <a:pt x="35372" y="175804"/>
                    <a:pt x="27505" y="172606"/>
                    <a:pt x="20451" y="168016"/>
                  </a:cubicBezTo>
                  <a:cubicBezTo>
                    <a:pt x="13935" y="163609"/>
                    <a:pt x="8711" y="157544"/>
                    <a:pt x="5318" y="150445"/>
                  </a:cubicBezTo>
                  <a:cubicBezTo>
                    <a:pt x="1564" y="142106"/>
                    <a:pt x="-245" y="133021"/>
                    <a:pt x="27" y="123879"/>
                  </a:cubicBezTo>
                  <a:cubicBezTo>
                    <a:pt x="-258" y="114991"/>
                    <a:pt x="1824" y="106188"/>
                    <a:pt x="6059" y="98370"/>
                  </a:cubicBezTo>
                  <a:cubicBezTo>
                    <a:pt x="9987" y="91505"/>
                    <a:pt x="15595" y="85750"/>
                    <a:pt x="22356" y="81647"/>
                  </a:cubicBezTo>
                  <a:cubicBezTo>
                    <a:pt x="29552" y="77353"/>
                    <a:pt x="37424" y="74311"/>
                    <a:pt x="45638" y="72650"/>
                  </a:cubicBezTo>
                  <a:cubicBezTo>
                    <a:pt x="54583" y="70787"/>
                    <a:pt x="63698" y="69864"/>
                    <a:pt x="72835" y="69898"/>
                  </a:cubicBezTo>
                  <a:cubicBezTo>
                    <a:pt x="78490" y="69874"/>
                    <a:pt x="84143" y="70156"/>
                    <a:pt x="89767" y="70745"/>
                  </a:cubicBezTo>
                  <a:cubicBezTo>
                    <a:pt x="93803" y="71130"/>
                    <a:pt x="97802" y="71838"/>
                    <a:pt x="101725" y="72862"/>
                  </a:cubicBezTo>
                  <a:lnTo>
                    <a:pt x="101725" y="68311"/>
                  </a:lnTo>
                  <a:cubicBezTo>
                    <a:pt x="102193" y="60903"/>
                    <a:pt x="99591" y="53629"/>
                    <a:pt x="94529" y="48200"/>
                  </a:cubicBezTo>
                  <a:cubicBezTo>
                    <a:pt x="87077" y="42405"/>
                    <a:pt x="77674" y="39713"/>
                    <a:pt x="68284" y="40685"/>
                  </a:cubicBezTo>
                  <a:cubicBezTo>
                    <a:pt x="60032" y="40678"/>
                    <a:pt x="51791" y="41279"/>
                    <a:pt x="43627" y="42485"/>
                  </a:cubicBezTo>
                  <a:cubicBezTo>
                    <a:pt x="36417" y="43446"/>
                    <a:pt x="29324" y="45149"/>
                    <a:pt x="22462" y="47565"/>
                  </a:cubicBezTo>
                  <a:lnTo>
                    <a:pt x="16218" y="8297"/>
                  </a:lnTo>
                  <a:cubicBezTo>
                    <a:pt x="19040" y="7450"/>
                    <a:pt x="22568" y="6533"/>
                    <a:pt x="26801" y="5545"/>
                  </a:cubicBezTo>
                  <a:cubicBezTo>
                    <a:pt x="31034" y="4557"/>
                    <a:pt x="35690" y="3675"/>
                    <a:pt x="40770" y="2899"/>
                  </a:cubicBezTo>
                  <a:cubicBezTo>
                    <a:pt x="45779" y="2123"/>
                    <a:pt x="51071" y="1452"/>
                    <a:pt x="56644" y="888"/>
                  </a:cubicBezTo>
                  <a:cubicBezTo>
                    <a:pt x="62217" y="323"/>
                    <a:pt x="67791" y="41"/>
                    <a:pt x="73364" y="41"/>
                  </a:cubicBezTo>
                  <a:close/>
                  <a:moveTo>
                    <a:pt x="77280" y="142931"/>
                  </a:moveTo>
                  <a:lnTo>
                    <a:pt x="91037" y="142931"/>
                  </a:lnTo>
                  <a:cubicBezTo>
                    <a:pt x="94580" y="142810"/>
                    <a:pt x="98113" y="142492"/>
                    <a:pt x="101620" y="141978"/>
                  </a:cubicBezTo>
                  <a:lnTo>
                    <a:pt x="101620" y="104933"/>
                  </a:lnTo>
                  <a:cubicBezTo>
                    <a:pt x="99644" y="104509"/>
                    <a:pt x="96681" y="104086"/>
                    <a:pt x="92731" y="103662"/>
                  </a:cubicBezTo>
                  <a:cubicBezTo>
                    <a:pt x="89217" y="103263"/>
                    <a:pt x="85684" y="103051"/>
                    <a:pt x="82148" y="103027"/>
                  </a:cubicBezTo>
                  <a:cubicBezTo>
                    <a:pt x="77795" y="103020"/>
                    <a:pt x="73447" y="103303"/>
                    <a:pt x="69131" y="103874"/>
                  </a:cubicBezTo>
                  <a:cubicBezTo>
                    <a:pt x="65461" y="104316"/>
                    <a:pt x="61887" y="105353"/>
                    <a:pt x="58549" y="106944"/>
                  </a:cubicBezTo>
                  <a:cubicBezTo>
                    <a:pt x="55638" y="108349"/>
                    <a:pt x="53155" y="110505"/>
                    <a:pt x="51353" y="113188"/>
                  </a:cubicBezTo>
                  <a:cubicBezTo>
                    <a:pt x="49500" y="116128"/>
                    <a:pt x="48577" y="119559"/>
                    <a:pt x="48707" y="123032"/>
                  </a:cubicBezTo>
                  <a:cubicBezTo>
                    <a:pt x="48051" y="129363"/>
                    <a:pt x="51046" y="135518"/>
                    <a:pt x="56432" y="138908"/>
                  </a:cubicBezTo>
                  <a:cubicBezTo>
                    <a:pt x="62958" y="142016"/>
                    <a:pt x="70172" y="143401"/>
                    <a:pt x="77385" y="142930"/>
                  </a:cubicBezTo>
                  <a:lnTo>
                    <a:pt x="77280" y="142930"/>
                  </a:lnTo>
                  <a:close/>
                </a:path>
              </a:pathLst>
            </a:custGeom>
            <a:solidFill>
              <a:srgbClr val="DC2215"/>
            </a:solidFill>
            <a:ln w="6348" cap="flat">
              <a:noFill/>
              <a:prstDash val="solid"/>
              <a:miter/>
            </a:ln>
          </p:spPr>
          <p:txBody>
            <a:bodyPr rtlCol="0" anchor="ctr"/>
            <a:lstStyle/>
            <a:p>
              <a:endParaRPr lang="nl-NL"/>
            </a:p>
          </p:txBody>
        </p:sp>
        <p:sp>
          <p:nvSpPr>
            <p:cNvPr id="41" name="Vrije vorm 40">
              <a:extLst>
                <a:ext uri="{FF2B5EF4-FFF2-40B4-BE49-F238E27FC236}">
                  <a16:creationId xmlns:a16="http://schemas.microsoft.com/office/drawing/2014/main" id="{D1EBF8CF-E337-1B76-1152-1A6DF1BA8BD8}"/>
                </a:ext>
              </a:extLst>
            </p:cNvPr>
            <p:cNvSpPr/>
            <p:nvPr/>
          </p:nvSpPr>
          <p:spPr>
            <a:xfrm>
              <a:off x="11463232" y="660642"/>
              <a:ext cx="148824" cy="180423"/>
            </a:xfrm>
            <a:custGeom>
              <a:avLst/>
              <a:gdLst>
                <a:gd name="connsiteX0" fmla="*/ 73681 w 148824"/>
                <a:gd name="connsiteY0" fmla="*/ 41 h 180423"/>
                <a:gd name="connsiteX1" fmla="*/ 109768 w 148824"/>
                <a:gd name="connsiteY1" fmla="*/ 4910 h 180423"/>
                <a:gd name="connsiteX2" fmla="*/ 132944 w 148824"/>
                <a:gd name="connsiteY2" fmla="*/ 18987 h 180423"/>
                <a:gd name="connsiteX3" fmla="*/ 145219 w 148824"/>
                <a:gd name="connsiteY3" fmla="*/ 41215 h 180423"/>
                <a:gd name="connsiteX4" fmla="*/ 148817 w 148824"/>
                <a:gd name="connsiteY4" fmla="*/ 70322 h 180423"/>
                <a:gd name="connsiteX5" fmla="*/ 148817 w 148824"/>
                <a:gd name="connsiteY5" fmla="*/ 171932 h 180423"/>
                <a:gd name="connsiteX6" fmla="*/ 119610 w 148824"/>
                <a:gd name="connsiteY6" fmla="*/ 177330 h 180423"/>
                <a:gd name="connsiteX7" fmla="*/ 74316 w 148824"/>
                <a:gd name="connsiteY7" fmla="*/ 180399 h 180423"/>
                <a:gd name="connsiteX8" fmla="*/ 43944 w 148824"/>
                <a:gd name="connsiteY8" fmla="*/ 177436 h 180423"/>
                <a:gd name="connsiteX9" fmla="*/ 20451 w 148824"/>
                <a:gd name="connsiteY9" fmla="*/ 167804 h 180423"/>
                <a:gd name="connsiteX10" fmla="*/ 5318 w 148824"/>
                <a:gd name="connsiteY10" fmla="*/ 150234 h 180423"/>
                <a:gd name="connsiteX11" fmla="*/ 27 w 148824"/>
                <a:gd name="connsiteY11" fmla="*/ 123667 h 180423"/>
                <a:gd name="connsiteX12" fmla="*/ 6059 w 148824"/>
                <a:gd name="connsiteY12" fmla="*/ 98159 h 180423"/>
                <a:gd name="connsiteX13" fmla="*/ 22356 w 148824"/>
                <a:gd name="connsiteY13" fmla="*/ 81435 h 180423"/>
                <a:gd name="connsiteX14" fmla="*/ 45637 w 148824"/>
                <a:gd name="connsiteY14" fmla="*/ 72438 h 180423"/>
                <a:gd name="connsiteX15" fmla="*/ 72835 w 148824"/>
                <a:gd name="connsiteY15" fmla="*/ 69687 h 180423"/>
                <a:gd name="connsiteX16" fmla="*/ 89766 w 148824"/>
                <a:gd name="connsiteY16" fmla="*/ 70533 h 180423"/>
                <a:gd name="connsiteX17" fmla="*/ 101725 w 148824"/>
                <a:gd name="connsiteY17" fmla="*/ 72650 h 180423"/>
                <a:gd name="connsiteX18" fmla="*/ 101725 w 148824"/>
                <a:gd name="connsiteY18" fmla="*/ 68099 h 180423"/>
                <a:gd name="connsiteX19" fmla="*/ 94211 w 148824"/>
                <a:gd name="connsiteY19" fmla="*/ 48094 h 180423"/>
                <a:gd name="connsiteX20" fmla="*/ 67967 w 148824"/>
                <a:gd name="connsiteY20" fmla="*/ 40579 h 180423"/>
                <a:gd name="connsiteX21" fmla="*/ 43309 w 148824"/>
                <a:gd name="connsiteY21" fmla="*/ 42379 h 180423"/>
                <a:gd name="connsiteX22" fmla="*/ 22144 w 148824"/>
                <a:gd name="connsiteY22" fmla="*/ 47459 h 180423"/>
                <a:gd name="connsiteX23" fmla="*/ 15901 w 148824"/>
                <a:gd name="connsiteY23" fmla="*/ 8191 h 180423"/>
                <a:gd name="connsiteX24" fmla="*/ 26483 w 148824"/>
                <a:gd name="connsiteY24" fmla="*/ 5439 h 180423"/>
                <a:gd name="connsiteX25" fmla="*/ 40451 w 148824"/>
                <a:gd name="connsiteY25" fmla="*/ 2793 h 180423"/>
                <a:gd name="connsiteX26" fmla="*/ 56325 w 148824"/>
                <a:gd name="connsiteY26" fmla="*/ 782 h 180423"/>
                <a:gd name="connsiteX27" fmla="*/ 73681 w 148824"/>
                <a:gd name="connsiteY27" fmla="*/ 41 h 180423"/>
                <a:gd name="connsiteX28" fmla="*/ 77597 w 148824"/>
                <a:gd name="connsiteY28" fmla="*/ 142931 h 180423"/>
                <a:gd name="connsiteX29" fmla="*/ 91354 w 148824"/>
                <a:gd name="connsiteY29" fmla="*/ 142931 h 180423"/>
                <a:gd name="connsiteX30" fmla="*/ 101937 w 148824"/>
                <a:gd name="connsiteY30" fmla="*/ 141978 h 180423"/>
                <a:gd name="connsiteX31" fmla="*/ 101937 w 148824"/>
                <a:gd name="connsiteY31" fmla="*/ 104933 h 180423"/>
                <a:gd name="connsiteX32" fmla="*/ 93048 w 148824"/>
                <a:gd name="connsiteY32" fmla="*/ 103662 h 180423"/>
                <a:gd name="connsiteX33" fmla="*/ 82465 w 148824"/>
                <a:gd name="connsiteY33" fmla="*/ 103027 h 180423"/>
                <a:gd name="connsiteX34" fmla="*/ 69449 w 148824"/>
                <a:gd name="connsiteY34" fmla="*/ 103874 h 180423"/>
                <a:gd name="connsiteX35" fmla="*/ 58866 w 148824"/>
                <a:gd name="connsiteY35" fmla="*/ 106944 h 180423"/>
                <a:gd name="connsiteX36" fmla="*/ 51670 w 148824"/>
                <a:gd name="connsiteY36" fmla="*/ 113188 h 180423"/>
                <a:gd name="connsiteX37" fmla="*/ 49024 w 148824"/>
                <a:gd name="connsiteY37" fmla="*/ 123032 h 180423"/>
                <a:gd name="connsiteX38" fmla="*/ 56749 w 148824"/>
                <a:gd name="connsiteY38" fmla="*/ 138908 h 180423"/>
                <a:gd name="connsiteX39" fmla="*/ 77597 w 148824"/>
                <a:gd name="connsiteY39" fmla="*/ 142930 h 180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8824" h="180423">
                  <a:moveTo>
                    <a:pt x="73681" y="41"/>
                  </a:moveTo>
                  <a:cubicBezTo>
                    <a:pt x="85894" y="-288"/>
                    <a:pt x="98079" y="1356"/>
                    <a:pt x="109768" y="4910"/>
                  </a:cubicBezTo>
                  <a:cubicBezTo>
                    <a:pt x="118526" y="7640"/>
                    <a:pt x="126483" y="12473"/>
                    <a:pt x="132944" y="18987"/>
                  </a:cubicBezTo>
                  <a:cubicBezTo>
                    <a:pt x="138814" y="25265"/>
                    <a:pt x="143032" y="32903"/>
                    <a:pt x="145219" y="41215"/>
                  </a:cubicBezTo>
                  <a:cubicBezTo>
                    <a:pt x="147715" y="50712"/>
                    <a:pt x="148925" y="60502"/>
                    <a:pt x="148817" y="70322"/>
                  </a:cubicBezTo>
                  <a:lnTo>
                    <a:pt x="148817" y="171932"/>
                  </a:lnTo>
                  <a:cubicBezTo>
                    <a:pt x="141763" y="173484"/>
                    <a:pt x="132026" y="175284"/>
                    <a:pt x="119610" y="177330"/>
                  </a:cubicBezTo>
                  <a:cubicBezTo>
                    <a:pt x="104619" y="179570"/>
                    <a:pt x="89472" y="180597"/>
                    <a:pt x="74316" y="180399"/>
                  </a:cubicBezTo>
                  <a:cubicBezTo>
                    <a:pt x="64116" y="180491"/>
                    <a:pt x="53934" y="179497"/>
                    <a:pt x="43944" y="177436"/>
                  </a:cubicBezTo>
                  <a:cubicBezTo>
                    <a:pt x="35563" y="175778"/>
                    <a:pt x="27584" y="172507"/>
                    <a:pt x="20451" y="167804"/>
                  </a:cubicBezTo>
                  <a:cubicBezTo>
                    <a:pt x="13934" y="163397"/>
                    <a:pt x="8710" y="157332"/>
                    <a:pt x="5318" y="150234"/>
                  </a:cubicBezTo>
                  <a:cubicBezTo>
                    <a:pt x="1564" y="141894"/>
                    <a:pt x="-246" y="132809"/>
                    <a:pt x="27" y="123667"/>
                  </a:cubicBezTo>
                  <a:cubicBezTo>
                    <a:pt x="-258" y="114780"/>
                    <a:pt x="1823" y="105977"/>
                    <a:pt x="6059" y="98159"/>
                  </a:cubicBezTo>
                  <a:cubicBezTo>
                    <a:pt x="9987" y="91293"/>
                    <a:pt x="15595" y="85539"/>
                    <a:pt x="22356" y="81435"/>
                  </a:cubicBezTo>
                  <a:cubicBezTo>
                    <a:pt x="29552" y="77141"/>
                    <a:pt x="37424" y="74099"/>
                    <a:pt x="45637" y="72438"/>
                  </a:cubicBezTo>
                  <a:cubicBezTo>
                    <a:pt x="54582" y="70575"/>
                    <a:pt x="63698" y="69653"/>
                    <a:pt x="72835" y="69687"/>
                  </a:cubicBezTo>
                  <a:cubicBezTo>
                    <a:pt x="78490" y="69662"/>
                    <a:pt x="84142" y="69944"/>
                    <a:pt x="89766" y="70533"/>
                  </a:cubicBezTo>
                  <a:cubicBezTo>
                    <a:pt x="93803" y="70919"/>
                    <a:pt x="97802" y="71627"/>
                    <a:pt x="101725" y="72650"/>
                  </a:cubicBezTo>
                  <a:lnTo>
                    <a:pt x="101725" y="68099"/>
                  </a:lnTo>
                  <a:cubicBezTo>
                    <a:pt x="102079" y="60681"/>
                    <a:pt x="99361" y="53445"/>
                    <a:pt x="94211" y="48094"/>
                  </a:cubicBezTo>
                  <a:cubicBezTo>
                    <a:pt x="86758" y="42299"/>
                    <a:pt x="77356" y="39607"/>
                    <a:pt x="67967" y="40579"/>
                  </a:cubicBezTo>
                  <a:cubicBezTo>
                    <a:pt x="59714" y="40572"/>
                    <a:pt x="51473" y="41174"/>
                    <a:pt x="43309" y="42379"/>
                  </a:cubicBezTo>
                  <a:cubicBezTo>
                    <a:pt x="36098" y="43340"/>
                    <a:pt x="29006" y="45043"/>
                    <a:pt x="22144" y="47459"/>
                  </a:cubicBezTo>
                  <a:lnTo>
                    <a:pt x="15901" y="8191"/>
                  </a:lnTo>
                  <a:cubicBezTo>
                    <a:pt x="18722" y="7344"/>
                    <a:pt x="22250" y="6427"/>
                    <a:pt x="26483" y="5439"/>
                  </a:cubicBezTo>
                  <a:cubicBezTo>
                    <a:pt x="30716" y="4451"/>
                    <a:pt x="35372" y="3569"/>
                    <a:pt x="40451" y="2793"/>
                  </a:cubicBezTo>
                  <a:cubicBezTo>
                    <a:pt x="45461" y="2017"/>
                    <a:pt x="50752" y="1347"/>
                    <a:pt x="56325" y="782"/>
                  </a:cubicBezTo>
                  <a:cubicBezTo>
                    <a:pt x="61899" y="218"/>
                    <a:pt x="67685" y="-29"/>
                    <a:pt x="73681" y="41"/>
                  </a:cubicBezTo>
                  <a:close/>
                  <a:moveTo>
                    <a:pt x="77597" y="142931"/>
                  </a:moveTo>
                  <a:lnTo>
                    <a:pt x="91354" y="142931"/>
                  </a:lnTo>
                  <a:cubicBezTo>
                    <a:pt x="94897" y="142810"/>
                    <a:pt x="98429" y="142492"/>
                    <a:pt x="101937" y="141978"/>
                  </a:cubicBezTo>
                  <a:lnTo>
                    <a:pt x="101937" y="104933"/>
                  </a:lnTo>
                  <a:cubicBezTo>
                    <a:pt x="99962" y="104509"/>
                    <a:pt x="96998" y="104086"/>
                    <a:pt x="93048" y="103662"/>
                  </a:cubicBezTo>
                  <a:cubicBezTo>
                    <a:pt x="89534" y="103263"/>
                    <a:pt x="86001" y="103051"/>
                    <a:pt x="82465" y="103027"/>
                  </a:cubicBezTo>
                  <a:cubicBezTo>
                    <a:pt x="78112" y="103020"/>
                    <a:pt x="73764" y="103303"/>
                    <a:pt x="69449" y="103874"/>
                  </a:cubicBezTo>
                  <a:cubicBezTo>
                    <a:pt x="65777" y="104316"/>
                    <a:pt x="62204" y="105353"/>
                    <a:pt x="58866" y="106944"/>
                  </a:cubicBezTo>
                  <a:cubicBezTo>
                    <a:pt x="55956" y="108349"/>
                    <a:pt x="53472" y="110505"/>
                    <a:pt x="51670" y="113188"/>
                  </a:cubicBezTo>
                  <a:cubicBezTo>
                    <a:pt x="49817" y="116128"/>
                    <a:pt x="48894" y="119559"/>
                    <a:pt x="49024" y="123032"/>
                  </a:cubicBezTo>
                  <a:cubicBezTo>
                    <a:pt x="48368" y="129363"/>
                    <a:pt x="51363" y="135518"/>
                    <a:pt x="56749" y="138908"/>
                  </a:cubicBezTo>
                  <a:cubicBezTo>
                    <a:pt x="63244" y="141999"/>
                    <a:pt x="70419" y="143383"/>
                    <a:pt x="77597" y="142930"/>
                  </a:cubicBezTo>
                  <a:close/>
                </a:path>
              </a:pathLst>
            </a:custGeom>
            <a:solidFill>
              <a:srgbClr val="DC2215"/>
            </a:solidFill>
            <a:ln w="6348" cap="flat">
              <a:noFill/>
              <a:prstDash val="solid"/>
              <a:miter/>
            </a:ln>
          </p:spPr>
          <p:txBody>
            <a:bodyPr rtlCol="0" anchor="ctr"/>
            <a:lstStyle/>
            <a:p>
              <a:endParaRPr lang="nl-NL"/>
            </a:p>
          </p:txBody>
        </p:sp>
        <p:sp>
          <p:nvSpPr>
            <p:cNvPr id="42" name="Vrije vorm 41">
              <a:extLst>
                <a:ext uri="{FF2B5EF4-FFF2-40B4-BE49-F238E27FC236}">
                  <a16:creationId xmlns:a16="http://schemas.microsoft.com/office/drawing/2014/main" id="{9578E1B2-7F9C-1799-8E16-B0360C5A8505}"/>
                </a:ext>
              </a:extLst>
            </p:cNvPr>
            <p:cNvSpPr/>
            <p:nvPr/>
          </p:nvSpPr>
          <p:spPr>
            <a:xfrm>
              <a:off x="11656284" y="661271"/>
              <a:ext cx="238264" cy="176912"/>
            </a:xfrm>
            <a:custGeom>
              <a:avLst/>
              <a:gdLst>
                <a:gd name="connsiteX0" fmla="*/ 235780 w 238264"/>
                <a:gd name="connsiteY0" fmla="*/ 46936 h 176912"/>
                <a:gd name="connsiteX1" fmla="*/ 225198 w 238264"/>
                <a:gd name="connsiteY1" fmla="*/ 22063 h 176912"/>
                <a:gd name="connsiteX2" fmla="*/ 204032 w 238264"/>
                <a:gd name="connsiteY2" fmla="*/ 5869 h 176912"/>
                <a:gd name="connsiteX3" fmla="*/ 170062 w 238264"/>
                <a:gd name="connsiteY3" fmla="*/ 153 h 176912"/>
                <a:gd name="connsiteX4" fmla="*/ 120853 w 238264"/>
                <a:gd name="connsiteY4" fmla="*/ 16241 h 176912"/>
                <a:gd name="connsiteX5" fmla="*/ 101169 w 238264"/>
                <a:gd name="connsiteY5" fmla="*/ 4810 h 176912"/>
                <a:gd name="connsiteX6" fmla="*/ 70797 w 238264"/>
                <a:gd name="connsiteY6" fmla="*/ 47 h 176912"/>
                <a:gd name="connsiteX7" fmla="*/ 51431 w 238264"/>
                <a:gd name="connsiteY7" fmla="*/ 894 h 176912"/>
                <a:gd name="connsiteX8" fmla="*/ 32277 w 238264"/>
                <a:gd name="connsiteY8" fmla="*/ 3222 h 176912"/>
                <a:gd name="connsiteX9" fmla="*/ 14604 w 238264"/>
                <a:gd name="connsiteY9" fmla="*/ 6504 h 176912"/>
                <a:gd name="connsiteX10" fmla="*/ 0 w 238264"/>
                <a:gd name="connsiteY10" fmla="*/ 9891 h 176912"/>
                <a:gd name="connsiteX11" fmla="*/ 0 w 238264"/>
                <a:gd name="connsiteY11" fmla="*/ 176383 h 176912"/>
                <a:gd name="connsiteX12" fmla="*/ 48892 w 238264"/>
                <a:gd name="connsiteY12" fmla="*/ 176383 h 176912"/>
                <a:gd name="connsiteX13" fmla="*/ 48892 w 238264"/>
                <a:gd name="connsiteY13" fmla="*/ 43337 h 176912"/>
                <a:gd name="connsiteX14" fmla="*/ 58416 w 238264"/>
                <a:gd name="connsiteY14" fmla="*/ 42173 h 176912"/>
                <a:gd name="connsiteX15" fmla="*/ 67941 w 238264"/>
                <a:gd name="connsiteY15" fmla="*/ 42173 h 176912"/>
                <a:gd name="connsiteX16" fmla="*/ 89105 w 238264"/>
                <a:gd name="connsiteY16" fmla="*/ 52017 h 176912"/>
                <a:gd name="connsiteX17" fmla="*/ 95137 w 238264"/>
                <a:gd name="connsiteY17" fmla="*/ 85463 h 176912"/>
                <a:gd name="connsiteX18" fmla="*/ 95137 w 238264"/>
                <a:gd name="connsiteY18" fmla="*/ 176912 h 176912"/>
                <a:gd name="connsiteX19" fmla="*/ 143500 w 238264"/>
                <a:gd name="connsiteY19" fmla="*/ 176912 h 176912"/>
                <a:gd name="connsiteX20" fmla="*/ 143500 w 238264"/>
                <a:gd name="connsiteY20" fmla="*/ 82394 h 176912"/>
                <a:gd name="connsiteX21" fmla="*/ 142865 w 238264"/>
                <a:gd name="connsiteY21" fmla="*/ 64506 h 176912"/>
                <a:gd name="connsiteX22" fmla="*/ 139901 w 238264"/>
                <a:gd name="connsiteY22" fmla="*/ 48630 h 176912"/>
                <a:gd name="connsiteX23" fmla="*/ 151543 w 238264"/>
                <a:gd name="connsiteY23" fmla="*/ 43761 h 176912"/>
                <a:gd name="connsiteX24" fmla="*/ 162125 w 238264"/>
                <a:gd name="connsiteY24" fmla="*/ 41750 h 176912"/>
                <a:gd name="connsiteX25" fmla="*/ 183290 w 238264"/>
                <a:gd name="connsiteY25" fmla="*/ 51593 h 176912"/>
                <a:gd name="connsiteX26" fmla="*/ 189322 w 238264"/>
                <a:gd name="connsiteY26" fmla="*/ 85040 h 176912"/>
                <a:gd name="connsiteX27" fmla="*/ 189322 w 238264"/>
                <a:gd name="connsiteY27" fmla="*/ 148546 h 176912"/>
                <a:gd name="connsiteX28" fmla="*/ 238214 w 238264"/>
                <a:gd name="connsiteY28" fmla="*/ 176489 h 176912"/>
                <a:gd name="connsiteX29" fmla="*/ 238214 w 238264"/>
                <a:gd name="connsiteY29" fmla="*/ 79113 h 176912"/>
                <a:gd name="connsiteX30" fmla="*/ 235780 w 238264"/>
                <a:gd name="connsiteY30" fmla="*/ 46936 h 176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238264" h="176912">
                  <a:moveTo>
                    <a:pt x="235780" y="46936"/>
                  </a:moveTo>
                  <a:cubicBezTo>
                    <a:pt x="234143" y="37962"/>
                    <a:pt x="230529" y="29464"/>
                    <a:pt x="225198" y="22063"/>
                  </a:cubicBezTo>
                  <a:cubicBezTo>
                    <a:pt x="219694" y="14892"/>
                    <a:pt x="212392" y="9304"/>
                    <a:pt x="204032" y="5869"/>
                  </a:cubicBezTo>
                  <a:cubicBezTo>
                    <a:pt x="193207" y="1704"/>
                    <a:pt x="181654" y="-240"/>
                    <a:pt x="170062" y="153"/>
                  </a:cubicBezTo>
                  <a:cubicBezTo>
                    <a:pt x="152453" y="668"/>
                    <a:pt x="135367" y="6254"/>
                    <a:pt x="120853" y="16241"/>
                  </a:cubicBezTo>
                  <a:cubicBezTo>
                    <a:pt x="114975" y="11361"/>
                    <a:pt x="108322" y="7497"/>
                    <a:pt x="101169" y="4810"/>
                  </a:cubicBezTo>
                  <a:cubicBezTo>
                    <a:pt x="91439" y="1312"/>
                    <a:pt x="81132" y="-304"/>
                    <a:pt x="70797" y="47"/>
                  </a:cubicBezTo>
                  <a:cubicBezTo>
                    <a:pt x="64448" y="47"/>
                    <a:pt x="57993" y="329"/>
                    <a:pt x="51431" y="894"/>
                  </a:cubicBezTo>
                  <a:cubicBezTo>
                    <a:pt x="44870" y="1458"/>
                    <a:pt x="38486" y="2235"/>
                    <a:pt x="32277" y="3222"/>
                  </a:cubicBezTo>
                  <a:cubicBezTo>
                    <a:pt x="26069" y="4210"/>
                    <a:pt x="20178" y="5304"/>
                    <a:pt x="14604" y="6504"/>
                  </a:cubicBezTo>
                  <a:cubicBezTo>
                    <a:pt x="9030" y="7703"/>
                    <a:pt x="4163" y="8832"/>
                    <a:pt x="0" y="9891"/>
                  </a:cubicBezTo>
                  <a:lnTo>
                    <a:pt x="0" y="176383"/>
                  </a:lnTo>
                  <a:lnTo>
                    <a:pt x="48892" y="176383"/>
                  </a:lnTo>
                  <a:lnTo>
                    <a:pt x="48892" y="43337"/>
                  </a:lnTo>
                  <a:lnTo>
                    <a:pt x="58416" y="42173"/>
                  </a:lnTo>
                  <a:lnTo>
                    <a:pt x="67941" y="42173"/>
                  </a:lnTo>
                  <a:cubicBezTo>
                    <a:pt x="76277" y="41261"/>
                    <a:pt x="84431" y="45053"/>
                    <a:pt x="89105" y="52017"/>
                  </a:cubicBezTo>
                  <a:cubicBezTo>
                    <a:pt x="93948" y="62465"/>
                    <a:pt x="96025" y="73982"/>
                    <a:pt x="95137" y="85463"/>
                  </a:cubicBezTo>
                  <a:lnTo>
                    <a:pt x="95137" y="176912"/>
                  </a:lnTo>
                  <a:lnTo>
                    <a:pt x="143500" y="176912"/>
                  </a:lnTo>
                  <a:lnTo>
                    <a:pt x="143500" y="82394"/>
                  </a:lnTo>
                  <a:cubicBezTo>
                    <a:pt x="143500" y="76043"/>
                    <a:pt x="143288" y="70081"/>
                    <a:pt x="142865" y="64506"/>
                  </a:cubicBezTo>
                  <a:cubicBezTo>
                    <a:pt x="142453" y="59123"/>
                    <a:pt x="141459" y="53799"/>
                    <a:pt x="139901" y="48630"/>
                  </a:cubicBezTo>
                  <a:cubicBezTo>
                    <a:pt x="143521" y="46441"/>
                    <a:pt x="147443" y="44800"/>
                    <a:pt x="151543" y="43761"/>
                  </a:cubicBezTo>
                  <a:cubicBezTo>
                    <a:pt x="154974" y="42661"/>
                    <a:pt x="158529" y="41985"/>
                    <a:pt x="162125" y="41750"/>
                  </a:cubicBezTo>
                  <a:cubicBezTo>
                    <a:pt x="170462" y="40838"/>
                    <a:pt x="178615" y="44630"/>
                    <a:pt x="183290" y="51593"/>
                  </a:cubicBezTo>
                  <a:cubicBezTo>
                    <a:pt x="188133" y="62041"/>
                    <a:pt x="190210" y="73558"/>
                    <a:pt x="189322" y="85040"/>
                  </a:cubicBezTo>
                  <a:lnTo>
                    <a:pt x="189322" y="148546"/>
                  </a:lnTo>
                  <a:cubicBezTo>
                    <a:pt x="189322" y="163682"/>
                    <a:pt x="211123" y="175960"/>
                    <a:pt x="238214" y="176489"/>
                  </a:cubicBezTo>
                  <a:lnTo>
                    <a:pt x="238214" y="79113"/>
                  </a:lnTo>
                  <a:cubicBezTo>
                    <a:pt x="238485" y="68333"/>
                    <a:pt x="237670" y="57553"/>
                    <a:pt x="235780" y="46936"/>
                  </a:cubicBezTo>
                  <a:close/>
                </a:path>
              </a:pathLst>
            </a:custGeom>
            <a:solidFill>
              <a:srgbClr val="E32013"/>
            </a:solidFill>
            <a:ln w="6348" cap="flat">
              <a:noFill/>
              <a:prstDash val="solid"/>
              <a:miter/>
            </a:ln>
          </p:spPr>
          <p:txBody>
            <a:bodyPr rtlCol="0" anchor="ctr"/>
            <a:lstStyle/>
            <a:p>
              <a:endParaRPr lang="nl-NL"/>
            </a:p>
          </p:txBody>
        </p:sp>
        <p:sp>
          <p:nvSpPr>
            <p:cNvPr id="43" name="Vrije vorm 42">
              <a:extLst>
                <a:ext uri="{FF2B5EF4-FFF2-40B4-BE49-F238E27FC236}">
                  <a16:creationId xmlns:a16="http://schemas.microsoft.com/office/drawing/2014/main" id="{8445B32C-81DF-38E7-4425-0BFBE29A11B6}"/>
                </a:ext>
              </a:extLst>
            </p:cNvPr>
            <p:cNvSpPr/>
            <p:nvPr/>
          </p:nvSpPr>
          <p:spPr>
            <a:xfrm>
              <a:off x="10360557" y="610619"/>
              <a:ext cx="178844" cy="227035"/>
            </a:xfrm>
            <a:custGeom>
              <a:avLst/>
              <a:gdLst>
                <a:gd name="connsiteX0" fmla="*/ 63495 w 178844"/>
                <a:gd name="connsiteY0" fmla="*/ 183957 h 227035"/>
                <a:gd name="connsiteX1" fmla="*/ 90375 w 178844"/>
                <a:gd name="connsiteY1" fmla="*/ 142678 h 227035"/>
                <a:gd name="connsiteX2" fmla="*/ 120958 w 178844"/>
                <a:gd name="connsiteY2" fmla="*/ 100340 h 227035"/>
                <a:gd name="connsiteX3" fmla="*/ 150801 w 178844"/>
                <a:gd name="connsiteY3" fmla="*/ 62871 h 227035"/>
                <a:gd name="connsiteX4" fmla="*/ 175246 w 178844"/>
                <a:gd name="connsiteY4" fmla="*/ 35775 h 227035"/>
                <a:gd name="connsiteX5" fmla="*/ 175246 w 178844"/>
                <a:gd name="connsiteY5" fmla="*/ 0 h 227035"/>
                <a:gd name="connsiteX6" fmla="*/ 5291 w 178844"/>
                <a:gd name="connsiteY6" fmla="*/ 0 h 227035"/>
                <a:gd name="connsiteX7" fmla="*/ 33229 w 178844"/>
                <a:gd name="connsiteY7" fmla="*/ 42973 h 227035"/>
                <a:gd name="connsiteX8" fmla="*/ 107307 w 178844"/>
                <a:gd name="connsiteY8" fmla="*/ 42973 h 227035"/>
                <a:gd name="connsiteX9" fmla="*/ 79581 w 178844"/>
                <a:gd name="connsiteY9" fmla="*/ 78113 h 227035"/>
                <a:gd name="connsiteX10" fmla="*/ 50266 w 178844"/>
                <a:gd name="connsiteY10" fmla="*/ 118122 h 227035"/>
                <a:gd name="connsiteX11" fmla="*/ 22540 w 178844"/>
                <a:gd name="connsiteY11" fmla="*/ 159401 h 227035"/>
                <a:gd name="connsiteX12" fmla="*/ 0 w 178844"/>
                <a:gd name="connsiteY12" fmla="*/ 196552 h 227035"/>
                <a:gd name="connsiteX13" fmla="*/ 0 w 178844"/>
                <a:gd name="connsiteY13" fmla="*/ 227035 h 227035"/>
                <a:gd name="connsiteX14" fmla="*/ 178845 w 178844"/>
                <a:gd name="connsiteY14" fmla="*/ 227035 h 227035"/>
                <a:gd name="connsiteX15" fmla="*/ 178845 w 178844"/>
                <a:gd name="connsiteY15" fmla="*/ 183957 h 227035"/>
                <a:gd name="connsiteX16" fmla="*/ 63495 w 178844"/>
                <a:gd name="connsiteY16" fmla="*/ 183957 h 2270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8844" h="227035">
                  <a:moveTo>
                    <a:pt x="63495" y="183957"/>
                  </a:moveTo>
                  <a:cubicBezTo>
                    <a:pt x="71396" y="170832"/>
                    <a:pt x="80356" y="157072"/>
                    <a:pt x="90375" y="142678"/>
                  </a:cubicBezTo>
                  <a:cubicBezTo>
                    <a:pt x="100393" y="128283"/>
                    <a:pt x="110587" y="114170"/>
                    <a:pt x="120958" y="100340"/>
                  </a:cubicBezTo>
                  <a:cubicBezTo>
                    <a:pt x="131258" y="86792"/>
                    <a:pt x="141206" y="74302"/>
                    <a:pt x="150801" y="62871"/>
                  </a:cubicBezTo>
                  <a:cubicBezTo>
                    <a:pt x="160396" y="51440"/>
                    <a:pt x="168544" y="42408"/>
                    <a:pt x="175246" y="35775"/>
                  </a:cubicBezTo>
                  <a:lnTo>
                    <a:pt x="175246" y="0"/>
                  </a:lnTo>
                  <a:lnTo>
                    <a:pt x="5291" y="0"/>
                  </a:lnTo>
                  <a:cubicBezTo>
                    <a:pt x="5291" y="23815"/>
                    <a:pt x="18096" y="42973"/>
                    <a:pt x="33229" y="42973"/>
                  </a:cubicBezTo>
                  <a:lnTo>
                    <a:pt x="107307" y="42973"/>
                  </a:lnTo>
                  <a:cubicBezTo>
                    <a:pt x="98771" y="53204"/>
                    <a:pt x="89528" y="64918"/>
                    <a:pt x="79581" y="78113"/>
                  </a:cubicBezTo>
                  <a:cubicBezTo>
                    <a:pt x="69632" y="91308"/>
                    <a:pt x="59862" y="104644"/>
                    <a:pt x="50266" y="118122"/>
                  </a:cubicBezTo>
                  <a:cubicBezTo>
                    <a:pt x="40601" y="132234"/>
                    <a:pt x="31359" y="145994"/>
                    <a:pt x="22540" y="159401"/>
                  </a:cubicBezTo>
                  <a:cubicBezTo>
                    <a:pt x="13722" y="172808"/>
                    <a:pt x="6208" y="185192"/>
                    <a:pt x="0" y="196552"/>
                  </a:cubicBezTo>
                  <a:lnTo>
                    <a:pt x="0" y="227035"/>
                  </a:lnTo>
                  <a:lnTo>
                    <a:pt x="178845" y="227035"/>
                  </a:lnTo>
                  <a:lnTo>
                    <a:pt x="178845" y="183957"/>
                  </a:lnTo>
                  <a:lnTo>
                    <a:pt x="63495" y="183957"/>
                  </a:lnTo>
                  <a:close/>
                </a:path>
              </a:pathLst>
            </a:custGeom>
            <a:solidFill>
              <a:srgbClr val="0065B0"/>
            </a:solidFill>
            <a:ln w="6348" cap="flat">
              <a:noFill/>
              <a:prstDash val="solid"/>
              <a:miter/>
            </a:ln>
          </p:spPr>
          <p:txBody>
            <a:bodyPr rtlCol="0" anchor="ctr"/>
            <a:lstStyle/>
            <a:p>
              <a:endParaRPr lang="nl-NL"/>
            </a:p>
          </p:txBody>
        </p:sp>
      </p:grpSp>
      <p:sp>
        <p:nvSpPr>
          <p:cNvPr id="2" name="Tijdelijke aanduiding voor afbeelding 1">
            <a:extLst>
              <a:ext uri="{FF2B5EF4-FFF2-40B4-BE49-F238E27FC236}">
                <a16:creationId xmlns:a16="http://schemas.microsoft.com/office/drawing/2014/main" id="{02801EB2-1D8B-2BD3-4DBA-7480DCA467BA}"/>
              </a:ext>
            </a:extLst>
          </p:cNvPr>
          <p:cNvSpPr>
            <a:spLocks noGrp="1"/>
          </p:cNvSpPr>
          <p:nvPr>
            <p:ph type="pic" sz="quarter" idx="17" hasCustomPrompt="1"/>
          </p:nvPr>
        </p:nvSpPr>
        <p:spPr>
          <a:xfrm>
            <a:off x="6162675" y="0"/>
            <a:ext cx="6029310" cy="6858000"/>
          </a:xfrm>
          <a:custGeom>
            <a:avLst/>
            <a:gdLst>
              <a:gd name="connsiteX0" fmla="*/ 1020582 w 6029310"/>
              <a:gd name="connsiteY0" fmla="*/ 0 h 6858000"/>
              <a:gd name="connsiteX1" fmla="*/ 6029310 w 6029310"/>
              <a:gd name="connsiteY1" fmla="*/ 0 h 6858000"/>
              <a:gd name="connsiteX2" fmla="*/ 6029310 w 6029310"/>
              <a:gd name="connsiteY2" fmla="*/ 3 h 6858000"/>
              <a:gd name="connsiteX3" fmla="*/ 3722178 w 6029310"/>
              <a:gd name="connsiteY3" fmla="*/ 3 h 6858000"/>
              <a:gd name="connsiteX4" fmla="*/ 3647798 w 6029310"/>
              <a:gd name="connsiteY4" fmla="*/ 463930 h 6858000"/>
              <a:gd name="connsiteX5" fmla="*/ 5128475 w 6029310"/>
              <a:gd name="connsiteY5" fmla="*/ 1943237 h 6858000"/>
              <a:gd name="connsiteX6" fmla="*/ 5932851 w 6029310"/>
              <a:gd name="connsiteY6" fmla="*/ 1706000 h 6858000"/>
              <a:gd name="connsiteX7" fmla="*/ 6029310 w 6029310"/>
              <a:gd name="connsiteY7" fmla="*/ 1637917 h 6858000"/>
              <a:gd name="connsiteX8" fmla="*/ 6029310 w 6029310"/>
              <a:gd name="connsiteY8" fmla="*/ 6858000 h 6858000"/>
              <a:gd name="connsiteX9" fmla="*/ 0 w 6029310"/>
              <a:gd name="connsiteY9" fmla="*/ 6858000 h 6858000"/>
              <a:gd name="connsiteX10" fmla="*/ 0 w 6029310"/>
              <a:gd name="connsiteY10" fmla="*/ 6851442 h 6858000"/>
              <a:gd name="connsiteX11" fmla="*/ 1697230 w 6029310"/>
              <a:gd name="connsiteY11" fmla="*/ 6851624 h 6858000"/>
              <a:gd name="connsiteX12" fmla="*/ 1700981 w 6029310"/>
              <a:gd name="connsiteY12" fmla="*/ 6854828 h 6858000"/>
              <a:gd name="connsiteX13" fmla="*/ 2294579 w 6029310"/>
              <a:gd name="connsiteY13" fmla="*/ 6854828 h 6858000"/>
              <a:gd name="connsiteX14" fmla="*/ 2100332 w 6029310"/>
              <a:gd name="connsiteY14" fmla="*/ 6708849 h 6858000"/>
              <a:gd name="connsiteX15" fmla="*/ 2098935 w 6029310"/>
              <a:gd name="connsiteY15" fmla="*/ 6707771 h 6858000"/>
              <a:gd name="connsiteX16" fmla="*/ 711207 w 6029310"/>
              <a:gd name="connsiteY16" fmla="*/ 5087481 h 6858000"/>
              <a:gd name="connsiteX17" fmla="*/ 327094 w 6029310"/>
              <a:gd name="connsiteY17" fmla="*/ 4069375 h 6858000"/>
              <a:gd name="connsiteX18" fmla="*/ 191904 w 6029310"/>
              <a:gd name="connsiteY18" fmla="*/ 2954204 h 6858000"/>
              <a:gd name="connsiteX19" fmla="*/ 48210 w 6029310"/>
              <a:gd name="connsiteY19" fmla="*/ 2778065 h 6858000"/>
              <a:gd name="connsiteX20" fmla="*/ 19353 w 6029310"/>
              <a:gd name="connsiteY20" fmla="*/ 2775158 h 6858000"/>
              <a:gd name="connsiteX21" fmla="*/ 29323 w 6029310"/>
              <a:gd name="connsiteY21" fmla="*/ 2539088 h 6858000"/>
              <a:gd name="connsiteX22" fmla="*/ 822405 w 6029310"/>
              <a:gd name="connsiteY22" fmla="*/ 27564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6029310" h="6858000">
                <a:moveTo>
                  <a:pt x="1020582" y="0"/>
                </a:moveTo>
                <a:lnTo>
                  <a:pt x="6029310" y="0"/>
                </a:lnTo>
                <a:lnTo>
                  <a:pt x="6029310" y="3"/>
                </a:lnTo>
                <a:lnTo>
                  <a:pt x="3722178" y="3"/>
                </a:lnTo>
                <a:cubicBezTo>
                  <a:pt x="3673981" y="145919"/>
                  <a:pt x="3647798" y="301859"/>
                  <a:pt x="3647798" y="463930"/>
                </a:cubicBezTo>
                <a:cubicBezTo>
                  <a:pt x="3647798" y="1280940"/>
                  <a:pt x="4310727" y="1943237"/>
                  <a:pt x="5128475" y="1943237"/>
                </a:cubicBezTo>
                <a:cubicBezTo>
                  <a:pt x="5425078" y="1943237"/>
                  <a:pt x="5701246" y="1856048"/>
                  <a:pt x="5932851" y="1706000"/>
                </a:cubicBezTo>
                <a:lnTo>
                  <a:pt x="6029310" y="1637917"/>
                </a:lnTo>
                <a:lnTo>
                  <a:pt x="6029310" y="6858000"/>
                </a:lnTo>
                <a:lnTo>
                  <a:pt x="0" y="6858000"/>
                </a:lnTo>
                <a:lnTo>
                  <a:pt x="0" y="6851442"/>
                </a:lnTo>
                <a:lnTo>
                  <a:pt x="1697230" y="6851624"/>
                </a:lnTo>
                <a:lnTo>
                  <a:pt x="1700981" y="6854828"/>
                </a:lnTo>
                <a:lnTo>
                  <a:pt x="2294579" y="6854828"/>
                </a:lnTo>
                <a:lnTo>
                  <a:pt x="2100332" y="6708849"/>
                </a:lnTo>
                <a:lnTo>
                  <a:pt x="2098935" y="6707771"/>
                </a:lnTo>
                <a:cubicBezTo>
                  <a:pt x="1519879" y="6281382"/>
                  <a:pt x="1040009" y="5721068"/>
                  <a:pt x="711207" y="5087481"/>
                </a:cubicBezTo>
                <a:cubicBezTo>
                  <a:pt x="543439" y="4764311"/>
                  <a:pt x="414217" y="4421728"/>
                  <a:pt x="327094" y="4069375"/>
                </a:cubicBezTo>
                <a:cubicBezTo>
                  <a:pt x="237370" y="3706555"/>
                  <a:pt x="191904" y="3331363"/>
                  <a:pt x="191904" y="2954204"/>
                </a:cubicBezTo>
                <a:cubicBezTo>
                  <a:pt x="191904" y="2867330"/>
                  <a:pt x="130208" y="2794832"/>
                  <a:pt x="48210" y="2778065"/>
                </a:cubicBezTo>
                <a:lnTo>
                  <a:pt x="19353" y="2775158"/>
                </a:lnTo>
                <a:lnTo>
                  <a:pt x="29323" y="2539088"/>
                </a:lnTo>
                <a:cubicBezTo>
                  <a:pt x="99892" y="1707295"/>
                  <a:pt x="382185" y="935245"/>
                  <a:pt x="822405" y="275646"/>
                </a:cubicBezTo>
                <a:close/>
              </a:path>
            </a:pathLst>
          </a:custGeom>
          <a:solidFill>
            <a:schemeClr val="bg1">
              <a:lumMod val="95000"/>
            </a:schemeClr>
          </a:solidFill>
        </p:spPr>
        <p:txBody>
          <a:bodyPr wrap="square" anchor="ctr">
            <a:noAutofit/>
          </a:bodyPr>
          <a:lstStyle>
            <a:lvl1pPr marL="0" indent="0" algn="ctr">
              <a:buNone/>
              <a:defRPr sz="1400">
                <a:solidFill>
                  <a:schemeClr val="bg1"/>
                </a:solidFill>
              </a:defRPr>
            </a:lvl1pPr>
          </a:lstStyle>
          <a:p>
            <a:r>
              <a:rPr lang="nl-NL"/>
              <a:t>Voeg hier een afbeelding toe</a:t>
            </a:r>
          </a:p>
        </p:txBody>
      </p:sp>
      <p:sp>
        <p:nvSpPr>
          <p:cNvPr id="9" name="Vrije vorm 8">
            <a:extLst>
              <a:ext uri="{FF2B5EF4-FFF2-40B4-BE49-F238E27FC236}">
                <a16:creationId xmlns:a16="http://schemas.microsoft.com/office/drawing/2014/main" id="{7DB3F6DC-C728-009B-5F48-0CFB2B6CA2E7}"/>
              </a:ext>
            </a:extLst>
          </p:cNvPr>
          <p:cNvSpPr/>
          <p:nvPr userDrawn="1"/>
        </p:nvSpPr>
        <p:spPr>
          <a:xfrm>
            <a:off x="5994595" y="2774412"/>
            <a:ext cx="2462658" cy="4080415"/>
          </a:xfrm>
          <a:custGeom>
            <a:avLst/>
            <a:gdLst>
              <a:gd name="connsiteX0" fmla="*/ 2462658 w 2462658"/>
              <a:gd name="connsiteY0" fmla="*/ 4080416 h 4080415"/>
              <a:gd name="connsiteX1" fmla="*/ 1869060 w 2462658"/>
              <a:gd name="connsiteY1" fmla="*/ 4080416 h 4080415"/>
              <a:gd name="connsiteX2" fmla="*/ 559690 w 2462658"/>
              <a:gd name="connsiteY2" fmla="*/ 2478650 h 4080415"/>
              <a:gd name="connsiteX3" fmla="*/ 145669 w 2462658"/>
              <a:gd name="connsiteY3" fmla="*/ 1381180 h 4080415"/>
              <a:gd name="connsiteX4" fmla="*/ 0 w 2462658"/>
              <a:gd name="connsiteY4" fmla="*/ 179792 h 4080415"/>
              <a:gd name="connsiteX5" fmla="*/ 180023 w 2462658"/>
              <a:gd name="connsiteY5" fmla="*/ 0 h 4080415"/>
              <a:gd name="connsiteX6" fmla="*/ 359982 w 2462658"/>
              <a:gd name="connsiteY6" fmla="*/ 179792 h 4080415"/>
              <a:gd name="connsiteX7" fmla="*/ 495173 w 2462658"/>
              <a:gd name="connsiteY7" fmla="*/ 1294963 h 4080415"/>
              <a:gd name="connsiteX8" fmla="*/ 879285 w 2462658"/>
              <a:gd name="connsiteY8" fmla="*/ 2313069 h 4080415"/>
              <a:gd name="connsiteX9" fmla="*/ 2267014 w 2462658"/>
              <a:gd name="connsiteY9" fmla="*/ 3933359 h 4080415"/>
              <a:gd name="connsiteX10" fmla="*/ 2268411 w 2462658"/>
              <a:gd name="connsiteY10" fmla="*/ 3934437 h 4080415"/>
              <a:gd name="connsiteX11" fmla="*/ 2462658 w 2462658"/>
              <a:gd name="connsiteY11" fmla="*/ 4080416 h 40804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58" h="4080415">
                <a:moveTo>
                  <a:pt x="2462658" y="4080416"/>
                </a:moveTo>
                <a:lnTo>
                  <a:pt x="1869060" y="4080416"/>
                </a:lnTo>
                <a:cubicBezTo>
                  <a:pt x="1328230" y="3642100"/>
                  <a:pt x="878206" y="3092381"/>
                  <a:pt x="559690" y="2478650"/>
                </a:cubicBezTo>
                <a:cubicBezTo>
                  <a:pt x="378905" y="2130294"/>
                  <a:pt x="239586" y="1761066"/>
                  <a:pt x="145669" y="1381180"/>
                </a:cubicBezTo>
                <a:cubicBezTo>
                  <a:pt x="49022" y="990191"/>
                  <a:pt x="0" y="586007"/>
                  <a:pt x="0" y="179792"/>
                </a:cubicBezTo>
                <a:cubicBezTo>
                  <a:pt x="0" y="80507"/>
                  <a:pt x="80582" y="0"/>
                  <a:pt x="180023" y="0"/>
                </a:cubicBezTo>
                <a:cubicBezTo>
                  <a:pt x="279400" y="0"/>
                  <a:pt x="359982" y="80507"/>
                  <a:pt x="359982" y="179792"/>
                </a:cubicBezTo>
                <a:cubicBezTo>
                  <a:pt x="359982" y="556951"/>
                  <a:pt x="405448" y="932143"/>
                  <a:pt x="495173" y="1294963"/>
                </a:cubicBezTo>
                <a:cubicBezTo>
                  <a:pt x="582295" y="1647316"/>
                  <a:pt x="711518" y="1989899"/>
                  <a:pt x="879285" y="2313069"/>
                </a:cubicBezTo>
                <a:cubicBezTo>
                  <a:pt x="1208088" y="2946656"/>
                  <a:pt x="1687958" y="3506970"/>
                  <a:pt x="2267014" y="3933359"/>
                </a:cubicBezTo>
                <a:lnTo>
                  <a:pt x="2268411" y="3934437"/>
                </a:lnTo>
                <a:lnTo>
                  <a:pt x="2462658" y="4080416"/>
                </a:lnTo>
                <a:close/>
              </a:path>
            </a:pathLst>
          </a:custGeom>
          <a:solidFill>
            <a:srgbClr val="DB2114"/>
          </a:solidFill>
          <a:ln w="6350" cap="flat">
            <a:noFill/>
            <a:prstDash val="solid"/>
            <a:miter/>
          </a:ln>
        </p:spPr>
        <p:txBody>
          <a:bodyPr rtlCol="0" anchor="ctr"/>
          <a:lstStyle/>
          <a:p>
            <a:endParaRPr lang="nl-NL"/>
          </a:p>
        </p:txBody>
      </p:sp>
    </p:spTree>
    <p:extLst>
      <p:ext uri="{BB962C8B-B14F-4D97-AF65-F5344CB8AC3E}">
        <p14:creationId xmlns:p14="http://schemas.microsoft.com/office/powerpoint/2010/main" val="93595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Afbeelding (zonde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272632" y="-426091"/>
            <a:ext cx="1646010" cy="276999"/>
          </a:xfrm>
        </p:spPr>
        <p:txBody>
          <a:bodyPr wrap="none" lIns="72000" rIns="72000" anchor="ctr">
            <a:spAutoFit/>
          </a:bodyPr>
          <a:lstStyle>
            <a:lvl1pPr algn="ctr">
              <a:lnSpc>
                <a:spcPct val="100000"/>
              </a:lnSpc>
              <a:defRPr sz="1800" b="0">
                <a:ln w="12700">
                  <a:noFill/>
                </a:ln>
                <a:solidFill>
                  <a:schemeClr val="accent3"/>
                </a:solidFill>
                <a:latin typeface="+mj-lt"/>
              </a:defRPr>
            </a:lvl1pPr>
          </a:lstStyle>
          <a:p>
            <a:r>
              <a:rPr lang="nl-NL" noProof="0" dirty="0"/>
              <a:t>Plaats hier je titel</a:t>
            </a:r>
          </a:p>
        </p:txBody>
      </p:sp>
      <p:sp>
        <p:nvSpPr>
          <p:cNvPr id="3" name="image">
            <a:extLst>
              <a:ext uri="{FF2B5EF4-FFF2-40B4-BE49-F238E27FC236}">
                <a16:creationId xmlns:a16="http://schemas.microsoft.com/office/drawing/2014/main" id="{AA2819B8-63B1-D33F-2C33-D3D446C08775}"/>
              </a:ext>
            </a:extLst>
          </p:cNvPr>
          <p:cNvSpPr>
            <a:spLocks noGrp="1"/>
          </p:cNvSpPr>
          <p:nvPr>
            <p:ph type="pic" sz="quarter" idx="14" hasCustomPrompt="1"/>
          </p:nvPr>
        </p:nvSpPr>
        <p:spPr>
          <a:xfrm>
            <a:off x="0" y="0"/>
            <a:ext cx="12191999" cy="6858000"/>
          </a:xfrm>
          <a:pattFill prst="wdUpDiag">
            <a:fgClr>
              <a:schemeClr val="accent6"/>
            </a:fgClr>
            <a:bgClr>
              <a:schemeClr val="bg1"/>
            </a:bgClr>
          </a:pattFill>
        </p:spPr>
        <p:txBody>
          <a:bodyPr bIns="1260000" anchor="ctr" anchorCtr="0">
            <a:normAutofit/>
          </a:bodyPr>
          <a:lstStyle>
            <a:lvl1pPr marL="0" indent="0" algn="ctr">
              <a:lnSpc>
                <a:spcPct val="100000"/>
              </a:lnSpc>
              <a:spcBef>
                <a:spcPts val="0"/>
              </a:spcBef>
              <a:spcAft>
                <a:spcPts val="0"/>
              </a:spcAft>
              <a:buNone/>
              <a:defRPr sz="1200" i="1">
                <a:solidFill>
                  <a:schemeClr val="bg1">
                    <a:lumMod val="50000"/>
                  </a:schemeClr>
                </a:solidFill>
              </a:defRPr>
            </a:lvl1pPr>
          </a:lstStyle>
          <a:p>
            <a:r>
              <a:rPr lang="nl-NL" dirty="0"/>
              <a:t>Klik op onderstaand pictogram </a:t>
            </a:r>
            <a:br>
              <a:rPr lang="nl-NL" dirty="0"/>
            </a:br>
            <a:r>
              <a:rPr lang="nl-NL" dirty="0"/>
              <a:t>om een afbeelding in te voegen</a:t>
            </a:r>
          </a:p>
        </p:txBody>
      </p:sp>
      <p:grpSp>
        <p:nvGrpSpPr>
          <p:cNvPr id="81" name="INSTRUCTIE">
            <a:extLst>
              <a:ext uri="{FF2B5EF4-FFF2-40B4-BE49-F238E27FC236}">
                <a16:creationId xmlns:a16="http://schemas.microsoft.com/office/drawing/2014/main" id="{27400122-497F-7FEB-D9C0-5AC7C96A9F4D}"/>
              </a:ext>
            </a:extLst>
          </p:cNvPr>
          <p:cNvGrpSpPr/>
          <p:nvPr userDrawn="1"/>
        </p:nvGrpSpPr>
        <p:grpSpPr>
          <a:xfrm>
            <a:off x="12377595" y="0"/>
            <a:ext cx="3693386" cy="6452863"/>
            <a:chOff x="-3786437" y="0"/>
            <a:chExt cx="3693386" cy="6452863"/>
          </a:xfrm>
        </p:grpSpPr>
        <p:sp>
          <p:nvSpPr>
            <p:cNvPr id="82" name="Rechthoek 81">
              <a:extLst>
                <a:ext uri="{FF2B5EF4-FFF2-40B4-BE49-F238E27FC236}">
                  <a16:creationId xmlns:a16="http://schemas.microsoft.com/office/drawing/2014/main" id="{680BF273-4BE2-12D8-4409-DF49709D7B06}"/>
                </a:ext>
              </a:extLst>
            </p:cNvPr>
            <p:cNvSpPr/>
            <p:nvPr userDrawn="1"/>
          </p:nvSpPr>
          <p:spPr>
            <a:xfrm>
              <a:off x="-3786437" y="562486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83" name="INSTRUCTIE">
              <a:extLst>
                <a:ext uri="{FF2B5EF4-FFF2-40B4-BE49-F238E27FC236}">
                  <a16:creationId xmlns:a16="http://schemas.microsoft.com/office/drawing/2014/main" id="{42791F7D-71CC-1AAA-3AF1-3DEF83E007A4}"/>
                </a:ext>
              </a:extLst>
            </p:cNvPr>
            <p:cNvGrpSpPr/>
            <p:nvPr userDrawn="1"/>
          </p:nvGrpSpPr>
          <p:grpSpPr>
            <a:xfrm>
              <a:off x="-3786165" y="0"/>
              <a:ext cx="3693114" cy="5782322"/>
              <a:chOff x="-3786165" y="0"/>
              <a:chExt cx="3693114" cy="5782322"/>
            </a:xfrm>
          </p:grpSpPr>
          <p:sp>
            <p:nvSpPr>
              <p:cNvPr id="84" name="Rechthoek 83">
                <a:extLst>
                  <a:ext uri="{FF2B5EF4-FFF2-40B4-BE49-F238E27FC236}">
                    <a16:creationId xmlns:a16="http://schemas.microsoft.com/office/drawing/2014/main" id="{22031A96-FBE2-6A1B-7A6C-D03BDD7EEC5F}"/>
                  </a:ext>
                </a:extLst>
              </p:cNvPr>
              <p:cNvSpPr/>
              <p:nvPr userDrawn="1"/>
            </p:nvSpPr>
            <p:spPr>
              <a:xfrm>
                <a:off x="-3786165" y="0"/>
                <a:ext cx="3593091" cy="5624863"/>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Afbeelding invoegen/opmaken</a:t>
                </a:r>
              </a:p>
            </p:txBody>
          </p:sp>
          <p:sp>
            <p:nvSpPr>
              <p:cNvPr id="85" name="Ovaal 84">
                <a:extLst>
                  <a:ext uri="{FF2B5EF4-FFF2-40B4-BE49-F238E27FC236}">
                    <a16:creationId xmlns:a16="http://schemas.microsoft.com/office/drawing/2014/main" id="{66D45C02-F802-8D4C-EBE0-CFFC5C5E8719}"/>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86" name="Rechthoek 85">
                <a:extLst>
                  <a:ext uri="{FF2B5EF4-FFF2-40B4-BE49-F238E27FC236}">
                    <a16:creationId xmlns:a16="http://schemas.microsoft.com/office/drawing/2014/main" id="{E94B4C5D-0F4B-BC1A-B5B7-15C46CFEBE4C}"/>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afbeelding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afbeelding in te voegen </a:t>
                </a: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87" name="Groep 86">
                <a:extLst>
                  <a:ext uri="{FF2B5EF4-FFF2-40B4-BE49-F238E27FC236}">
                    <a16:creationId xmlns:a16="http://schemas.microsoft.com/office/drawing/2014/main" id="{8F3B5F93-799E-78B3-91A4-87DA70CB66C9}"/>
                  </a:ext>
                </a:extLst>
              </p:cNvPr>
              <p:cNvGrpSpPr/>
              <p:nvPr userDrawn="1"/>
            </p:nvGrpSpPr>
            <p:grpSpPr>
              <a:xfrm>
                <a:off x="-3316179" y="1231351"/>
                <a:ext cx="294789" cy="318834"/>
                <a:chOff x="14466489" y="1001522"/>
                <a:chExt cx="290627" cy="314333"/>
              </a:xfrm>
            </p:grpSpPr>
            <p:sp>
              <p:nvSpPr>
                <p:cNvPr id="133" name="Rechthoek 132">
                  <a:extLst>
                    <a:ext uri="{FF2B5EF4-FFF2-40B4-BE49-F238E27FC236}">
                      <a16:creationId xmlns:a16="http://schemas.microsoft.com/office/drawing/2014/main" id="{673E99AD-8E60-AF73-707C-09FDB1506739}"/>
                    </a:ext>
                  </a:extLst>
                </p:cNvPr>
                <p:cNvSpPr/>
                <p:nvPr userDrawn="1"/>
              </p:nvSpPr>
              <p:spPr>
                <a:xfrm>
                  <a:off x="14466489" y="1001522"/>
                  <a:ext cx="257935" cy="254168"/>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34" name="Ovaal 133">
                  <a:extLst>
                    <a:ext uri="{FF2B5EF4-FFF2-40B4-BE49-F238E27FC236}">
                      <a16:creationId xmlns:a16="http://schemas.microsoft.com/office/drawing/2014/main" id="{C5D7BE95-7C24-47F0-ABBF-8D46D8CF8C63}"/>
                    </a:ext>
                  </a:extLst>
                </p:cNvPr>
                <p:cNvSpPr/>
                <p:nvPr userDrawn="1"/>
              </p:nvSpPr>
              <p:spPr>
                <a:xfrm>
                  <a:off x="14623626" y="1033630"/>
                  <a:ext cx="71169" cy="71169"/>
                </a:xfrm>
                <a:prstGeom prst="ellipse">
                  <a:avLst/>
                </a:prstGeom>
                <a:solidFill>
                  <a:srgbClr val="F1D8A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35" name="Vrije vorm: vorm 134">
                  <a:extLst>
                    <a:ext uri="{FF2B5EF4-FFF2-40B4-BE49-F238E27FC236}">
                      <a16:creationId xmlns:a16="http://schemas.microsoft.com/office/drawing/2014/main" id="{510CDF5A-DC77-C86D-38D5-A9C264A98950}"/>
                    </a:ext>
                  </a:extLst>
                </p:cNvPr>
                <p:cNvSpPr/>
                <p:nvPr userDrawn="1"/>
              </p:nvSpPr>
              <p:spPr>
                <a:xfrm rot="2700000">
                  <a:off x="14498877" y="1157846"/>
                  <a:ext cx="168558" cy="147459"/>
                </a:xfrm>
                <a:custGeom>
                  <a:avLst/>
                  <a:gdLst>
                    <a:gd name="connsiteX0" fmla="*/ 12837 w 168558"/>
                    <a:gd name="connsiteY0" fmla="*/ 12836 h 147459"/>
                    <a:gd name="connsiteX1" fmla="*/ 43826 w 168558"/>
                    <a:gd name="connsiteY1" fmla="*/ 0 h 147459"/>
                    <a:gd name="connsiteX2" fmla="*/ 168558 w 168558"/>
                    <a:gd name="connsiteY2" fmla="*/ 0 h 147459"/>
                    <a:gd name="connsiteX3" fmla="*/ 21099 w 168558"/>
                    <a:gd name="connsiteY3" fmla="*/ 147459 h 147459"/>
                    <a:gd name="connsiteX4" fmla="*/ 0 w 168558"/>
                    <a:gd name="connsiteY4" fmla="*/ 126361 h 147459"/>
                    <a:gd name="connsiteX5" fmla="*/ 0 w 168558"/>
                    <a:gd name="connsiteY5" fmla="*/ 43826 h 147459"/>
                    <a:gd name="connsiteX6" fmla="*/ 12837 w 168558"/>
                    <a:gd name="connsiteY6" fmla="*/ 12836 h 14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8558" h="147459">
                      <a:moveTo>
                        <a:pt x="12837" y="12836"/>
                      </a:moveTo>
                      <a:cubicBezTo>
                        <a:pt x="20768" y="4905"/>
                        <a:pt x="31724" y="0"/>
                        <a:pt x="43826" y="0"/>
                      </a:cubicBezTo>
                      <a:lnTo>
                        <a:pt x="168558" y="0"/>
                      </a:lnTo>
                      <a:lnTo>
                        <a:pt x="21099" y="147459"/>
                      </a:lnTo>
                      <a:lnTo>
                        <a:pt x="0" y="126361"/>
                      </a:lnTo>
                      <a:lnTo>
                        <a:pt x="0" y="43826"/>
                      </a:lnTo>
                      <a:cubicBezTo>
                        <a:pt x="1" y="31723"/>
                        <a:pt x="4906" y="20767"/>
                        <a:pt x="12837" y="12836"/>
                      </a:cubicBezTo>
                      <a:close/>
                    </a:path>
                  </a:pathLst>
                </a:custGeom>
                <a:solidFill>
                  <a:srgbClr val="C9D8E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800" b="1" noProof="0" dirty="0">
                    <a:solidFill>
                      <a:srgbClr val="211F26"/>
                    </a:solidFill>
                    <a:latin typeface="Calibri" panose="020F0502020204030204" pitchFamily="34" charset="0"/>
                    <a:cs typeface="Calibri" panose="020F0502020204030204" pitchFamily="34" charset="0"/>
                  </a:endParaRPr>
                </a:p>
              </p:txBody>
            </p:sp>
            <p:sp>
              <p:nvSpPr>
                <p:cNvPr id="136" name="Rechthoek: afgeronde hoeken 135">
                  <a:extLst>
                    <a:ext uri="{FF2B5EF4-FFF2-40B4-BE49-F238E27FC236}">
                      <a16:creationId xmlns:a16="http://schemas.microsoft.com/office/drawing/2014/main" id="{2CE60F3E-AB0B-249E-3000-F0672EAD851E}"/>
                    </a:ext>
                  </a:extLst>
                </p:cNvPr>
                <p:cNvSpPr/>
                <p:nvPr userDrawn="1"/>
              </p:nvSpPr>
              <p:spPr>
                <a:xfrm>
                  <a:off x="14601150" y="1145314"/>
                  <a:ext cx="155966" cy="116816"/>
                </a:xfrm>
                <a:prstGeom prst="roundRect">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cxnSp>
              <p:nvCxnSpPr>
                <p:cNvPr id="137" name="Rechte verbindingslijn 136">
                  <a:extLst>
                    <a:ext uri="{FF2B5EF4-FFF2-40B4-BE49-F238E27FC236}">
                      <a16:creationId xmlns:a16="http://schemas.microsoft.com/office/drawing/2014/main" id="{9976A586-5209-5E41-3F7F-F0C9F13787F5}"/>
                    </a:ext>
                  </a:extLst>
                </p:cNvPr>
                <p:cNvCxnSpPr>
                  <a:cxnSpLocks/>
                </p:cNvCxnSpPr>
                <p:nvPr userDrawn="1"/>
              </p:nvCxnSpPr>
              <p:spPr>
                <a:xfrm>
                  <a:off x="14637490" y="1308665"/>
                  <a:ext cx="83286" cy="0"/>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cxnSp>
              <p:nvCxnSpPr>
                <p:cNvPr id="138" name="Rechte verbindingslijn 137">
                  <a:extLst>
                    <a:ext uri="{FF2B5EF4-FFF2-40B4-BE49-F238E27FC236}">
                      <a16:creationId xmlns:a16="http://schemas.microsoft.com/office/drawing/2014/main" id="{700934FA-5CA5-7104-DA2E-261E0020E608}"/>
                    </a:ext>
                  </a:extLst>
                </p:cNvPr>
                <p:cNvCxnSpPr>
                  <a:cxnSpLocks/>
                  <a:stCxn id="136" idx="2"/>
                </p:cNvCxnSpPr>
                <p:nvPr userDrawn="1"/>
              </p:nvCxnSpPr>
              <p:spPr>
                <a:xfrm flipH="1">
                  <a:off x="14678717" y="1262130"/>
                  <a:ext cx="416" cy="43573"/>
                </a:xfrm>
                <a:prstGeom prst="line">
                  <a:avLst/>
                </a:prstGeom>
                <a:solidFill>
                  <a:schemeClr val="bg1"/>
                </a:solidFill>
                <a:ln w="19050">
                  <a:solidFill>
                    <a:srgbClr val="8AADD0"/>
                  </a:solidFill>
                </a:ln>
              </p:spPr>
              <p:style>
                <a:lnRef idx="2">
                  <a:schemeClr val="accent1">
                    <a:shade val="50000"/>
                  </a:schemeClr>
                </a:lnRef>
                <a:fillRef idx="1">
                  <a:schemeClr val="accent1"/>
                </a:fillRef>
                <a:effectRef idx="0">
                  <a:schemeClr val="accent1"/>
                </a:effectRef>
                <a:fontRef idx="minor">
                  <a:schemeClr val="lt1"/>
                </a:fontRef>
              </p:style>
            </p:cxnSp>
          </p:grpSp>
          <p:sp>
            <p:nvSpPr>
              <p:cNvPr id="88" name="Ovaal 87">
                <a:extLst>
                  <a:ext uri="{FF2B5EF4-FFF2-40B4-BE49-F238E27FC236}">
                    <a16:creationId xmlns:a16="http://schemas.microsoft.com/office/drawing/2014/main" id="{D2FBAFA2-EE0C-DDF6-5705-D347BBE29922}"/>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89" name="Rechthoek 88">
                <a:extLst>
                  <a:ext uri="{FF2B5EF4-FFF2-40B4-BE49-F238E27FC236}">
                    <a16:creationId xmlns:a16="http://schemas.microsoft.com/office/drawing/2014/main" id="{E6804EB4-0CE3-976B-39F3-430054995415}"/>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afbeelding</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90" name="Groep 89">
                <a:extLst>
                  <a:ext uri="{FF2B5EF4-FFF2-40B4-BE49-F238E27FC236}">
                    <a16:creationId xmlns:a16="http://schemas.microsoft.com/office/drawing/2014/main" id="{CB02B0F8-E23B-E0C4-0DCA-BF22C9B9FE11}"/>
                  </a:ext>
                </a:extLst>
              </p:cNvPr>
              <p:cNvGrpSpPr/>
              <p:nvPr userDrawn="1"/>
            </p:nvGrpSpPr>
            <p:grpSpPr>
              <a:xfrm>
                <a:off x="-3311319" y="2164285"/>
                <a:ext cx="825500" cy="209550"/>
                <a:chOff x="13504624" y="2482850"/>
                <a:chExt cx="825500" cy="209550"/>
              </a:xfrm>
            </p:grpSpPr>
            <p:sp>
              <p:nvSpPr>
                <p:cNvPr id="130" name="Rechthoek 129">
                  <a:extLst>
                    <a:ext uri="{FF2B5EF4-FFF2-40B4-BE49-F238E27FC236}">
                      <a16:creationId xmlns:a16="http://schemas.microsoft.com/office/drawing/2014/main" id="{35F62BCE-D518-12A5-6227-73550CB8A504}"/>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31" name="Rechte verbindingslijn 130">
                  <a:extLst>
                    <a:ext uri="{FF2B5EF4-FFF2-40B4-BE49-F238E27FC236}">
                      <a16:creationId xmlns:a16="http://schemas.microsoft.com/office/drawing/2014/main" id="{7D5D4B63-9FCF-C54B-4381-54EE0E980F89}"/>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32" name="Gelijkbenige driehoek 131">
                  <a:extLst>
                    <a:ext uri="{FF2B5EF4-FFF2-40B4-BE49-F238E27FC236}">
                      <a16:creationId xmlns:a16="http://schemas.microsoft.com/office/drawing/2014/main" id="{890D52D5-9C18-C03C-E275-5F166947654B}"/>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sp>
            <p:nvSpPr>
              <p:cNvPr id="91" name="Ovaal 90">
                <a:extLst>
                  <a:ext uri="{FF2B5EF4-FFF2-40B4-BE49-F238E27FC236}">
                    <a16:creationId xmlns:a16="http://schemas.microsoft.com/office/drawing/2014/main" id="{C5FB21EB-3DCF-1A2E-E84E-1C7AC20FDFDB}"/>
                  </a:ext>
                </a:extLst>
              </p:cNvPr>
              <p:cNvSpPr/>
              <p:nvPr userDrawn="1"/>
            </p:nvSpPr>
            <p:spPr>
              <a:xfrm>
                <a:off x="-3603587" y="255335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92" name="Rechthoek 91">
                <a:extLst>
                  <a:ext uri="{FF2B5EF4-FFF2-40B4-BE49-F238E27FC236}">
                    <a16:creationId xmlns:a16="http://schemas.microsoft.com/office/drawing/2014/main" id="{494B88AA-DF10-7369-5303-849C2A29B4EF}"/>
                  </a:ext>
                </a:extLst>
              </p:cNvPr>
              <p:cNvSpPr/>
              <p:nvPr userDrawn="1"/>
            </p:nvSpPr>
            <p:spPr>
              <a:xfrm>
                <a:off x="-3319415" y="2553360"/>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afbeelding 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Naar achtergron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93" name="Ovaal 92">
                <a:extLst>
                  <a:ext uri="{FF2B5EF4-FFF2-40B4-BE49-F238E27FC236}">
                    <a16:creationId xmlns:a16="http://schemas.microsoft.com/office/drawing/2014/main" id="{59D15B79-3A46-1E4A-B2E2-D6D658A4761D}"/>
                  </a:ext>
                </a:extLst>
              </p:cNvPr>
              <p:cNvSpPr/>
              <p:nvPr userDrawn="1"/>
            </p:nvSpPr>
            <p:spPr>
              <a:xfrm>
                <a:off x="-3603587" y="3744237"/>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94" name="Rechthoek 93">
                <a:extLst>
                  <a:ext uri="{FF2B5EF4-FFF2-40B4-BE49-F238E27FC236}">
                    <a16:creationId xmlns:a16="http://schemas.microsoft.com/office/drawing/2014/main" id="{806519DF-8AC4-D8E5-5AC0-FAAE5D62F3D5}"/>
                  </a:ext>
                </a:extLst>
              </p:cNvPr>
              <p:cNvSpPr/>
              <p:nvPr userDrawn="1"/>
            </p:nvSpPr>
            <p:spPr>
              <a:xfrm>
                <a:off x="-3319415" y="3744238"/>
                <a:ext cx="2944682" cy="97979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m de afbeelding te schalen of bij te snijden, ga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Hulpmiddelen voor afbeeldingen - Opmaak’</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en klik op de kn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ijsnijd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Schaal met de bolletjes de afbeelding en met de hoekjes het afbeeldingskader.</a:t>
                </a:r>
              </a:p>
            </p:txBody>
          </p:sp>
          <p:grpSp>
            <p:nvGrpSpPr>
              <p:cNvPr id="95" name="Groep 94">
                <a:extLst>
                  <a:ext uri="{FF2B5EF4-FFF2-40B4-BE49-F238E27FC236}">
                    <a16:creationId xmlns:a16="http://schemas.microsoft.com/office/drawing/2014/main" id="{0E78108D-7A97-4B2B-028C-E800A8F3FA69}"/>
                  </a:ext>
                </a:extLst>
              </p:cNvPr>
              <p:cNvGrpSpPr/>
              <p:nvPr userDrawn="1"/>
            </p:nvGrpSpPr>
            <p:grpSpPr>
              <a:xfrm>
                <a:off x="-3408294" y="4834615"/>
                <a:ext cx="622283" cy="612919"/>
                <a:chOff x="12617641" y="3403239"/>
                <a:chExt cx="752963" cy="741634"/>
              </a:xfrm>
            </p:grpSpPr>
            <p:grpSp>
              <p:nvGrpSpPr>
                <p:cNvPr id="114" name="Groep 113">
                  <a:extLst>
                    <a:ext uri="{FF2B5EF4-FFF2-40B4-BE49-F238E27FC236}">
                      <a16:creationId xmlns:a16="http://schemas.microsoft.com/office/drawing/2014/main" id="{F47F65A4-FD34-0CD9-04BA-B91B252C4935}"/>
                    </a:ext>
                  </a:extLst>
                </p:cNvPr>
                <p:cNvGrpSpPr/>
                <p:nvPr userDrawn="1"/>
              </p:nvGrpSpPr>
              <p:grpSpPr>
                <a:xfrm>
                  <a:off x="12771550" y="3403239"/>
                  <a:ext cx="467156" cy="448491"/>
                  <a:chOff x="12782177" y="3403239"/>
                  <a:chExt cx="467156" cy="448491"/>
                </a:xfrm>
              </p:grpSpPr>
              <p:grpSp>
                <p:nvGrpSpPr>
                  <p:cNvPr id="117" name="Groep 116">
                    <a:extLst>
                      <a:ext uri="{FF2B5EF4-FFF2-40B4-BE49-F238E27FC236}">
                        <a16:creationId xmlns:a16="http://schemas.microsoft.com/office/drawing/2014/main" id="{C6265EED-32CB-504F-D58F-7208421A6AC7}"/>
                      </a:ext>
                    </a:extLst>
                  </p:cNvPr>
                  <p:cNvGrpSpPr/>
                  <p:nvPr userDrawn="1"/>
                </p:nvGrpSpPr>
                <p:grpSpPr>
                  <a:xfrm>
                    <a:off x="12782177" y="3403239"/>
                    <a:ext cx="412972" cy="396132"/>
                    <a:chOff x="13554906" y="3320109"/>
                    <a:chExt cx="443912" cy="425811"/>
                  </a:xfrm>
                </p:grpSpPr>
                <p:grpSp>
                  <p:nvGrpSpPr>
                    <p:cNvPr id="124" name="Groep 123">
                      <a:extLst>
                        <a:ext uri="{FF2B5EF4-FFF2-40B4-BE49-F238E27FC236}">
                          <a16:creationId xmlns:a16="http://schemas.microsoft.com/office/drawing/2014/main" id="{B24E64D8-7DC0-9E51-B571-66BC43F33BF2}"/>
                        </a:ext>
                      </a:extLst>
                    </p:cNvPr>
                    <p:cNvGrpSpPr/>
                    <p:nvPr userDrawn="1"/>
                  </p:nvGrpSpPr>
                  <p:grpSpPr>
                    <a:xfrm>
                      <a:off x="13554906" y="3320109"/>
                      <a:ext cx="443912" cy="425811"/>
                      <a:chOff x="12909684" y="1276143"/>
                      <a:chExt cx="443912" cy="425811"/>
                    </a:xfrm>
                  </p:grpSpPr>
                  <p:sp>
                    <p:nvSpPr>
                      <p:cNvPr id="127" name="Rechthoek 126">
                        <a:extLst>
                          <a:ext uri="{FF2B5EF4-FFF2-40B4-BE49-F238E27FC236}">
                            <a16:creationId xmlns:a16="http://schemas.microsoft.com/office/drawing/2014/main" id="{E50905DD-9BC0-B04A-90AE-3EDF9B56E53E}"/>
                          </a:ext>
                        </a:extLst>
                      </p:cNvPr>
                      <p:cNvSpPr/>
                      <p:nvPr userDrawn="1"/>
                    </p:nvSpPr>
                    <p:spPr>
                      <a:xfrm>
                        <a:off x="12909684" y="1276143"/>
                        <a:ext cx="443912" cy="425811"/>
                      </a:xfrm>
                      <a:prstGeom prst="rect">
                        <a:avLst/>
                      </a:prstGeom>
                      <a:noFill/>
                      <a:ln w="12700">
                        <a:solidFill>
                          <a:srgbClr val="818181"/>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8" name="Rechthoek 127">
                        <a:extLst>
                          <a:ext uri="{FF2B5EF4-FFF2-40B4-BE49-F238E27FC236}">
                            <a16:creationId xmlns:a16="http://schemas.microsoft.com/office/drawing/2014/main" id="{8E3DD5F1-BE08-C57C-64A9-67B41E96A64D}"/>
                          </a:ext>
                        </a:extLst>
                      </p:cNvPr>
                      <p:cNvSpPr/>
                      <p:nvPr userDrawn="1"/>
                    </p:nvSpPr>
                    <p:spPr>
                      <a:xfrm>
                        <a:off x="12909684" y="1276143"/>
                        <a:ext cx="261629" cy="257807"/>
                      </a:xfrm>
                      <a:prstGeom prst="rect">
                        <a:avLst/>
                      </a:prstGeom>
                      <a:solidFill>
                        <a:schemeClr val="bg1"/>
                      </a:solidFill>
                      <a:ln w="12700">
                        <a:solidFill>
                          <a:srgbClr val="81818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0" rIns="0" bIns="0" numCol="1" spcCol="0" rtlCol="0" fromWordArt="0" anchor="ctr" anchorCtr="0" forceAA="0" compatLnSpc="1">
                        <a:prstTxWarp prst="textNoShape">
                          <a:avLst/>
                        </a:prstTxWarp>
                        <a:noAutofit/>
                      </a:bodyPr>
                      <a:lstStyle/>
                      <a:p>
                        <a:pPr lvl="0">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29" name="Ovaal 128">
                        <a:extLst>
                          <a:ext uri="{FF2B5EF4-FFF2-40B4-BE49-F238E27FC236}">
                            <a16:creationId xmlns:a16="http://schemas.microsoft.com/office/drawing/2014/main" id="{676C4022-1B61-003F-D764-C7AF867D4B4D}"/>
                          </a:ext>
                        </a:extLst>
                      </p:cNvPr>
                      <p:cNvSpPr/>
                      <p:nvPr userDrawn="1"/>
                    </p:nvSpPr>
                    <p:spPr>
                      <a:xfrm>
                        <a:off x="13069071" y="1308711"/>
                        <a:ext cx="72188" cy="72188"/>
                      </a:xfrm>
                      <a:prstGeom prst="ellipse">
                        <a:avLst/>
                      </a:prstGeom>
                      <a:solidFill>
                        <a:srgbClr val="ECC67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pic>
                  <p:nvPicPr>
                    <p:cNvPr id="125" name="Afbeelding 124">
                      <a:extLst>
                        <a:ext uri="{FF2B5EF4-FFF2-40B4-BE49-F238E27FC236}">
                          <a16:creationId xmlns:a16="http://schemas.microsoft.com/office/drawing/2014/main" id="{B6EEB606-01D2-F290-0C25-EC9745B5C3AA}"/>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a:off x="13567296" y="3424992"/>
                      <a:ext cx="173367" cy="140220"/>
                    </a:xfrm>
                    <a:prstGeom prst="rect">
                      <a:avLst/>
                    </a:prstGeom>
                  </p:spPr>
                </p:pic>
                <p:pic>
                  <p:nvPicPr>
                    <p:cNvPr id="126" name="Afbeelding 125">
                      <a:extLst>
                        <a:ext uri="{FF2B5EF4-FFF2-40B4-BE49-F238E27FC236}">
                          <a16:creationId xmlns:a16="http://schemas.microsoft.com/office/drawing/2014/main" id="{85854C80-B950-9EFC-F6FD-C58EDC66B6CB}"/>
                        </a:ext>
                      </a:extLst>
                    </p:cNvPr>
                    <p:cNvPicPr>
                      <a:picLocks noChangeAspect="1"/>
                    </p:cNvPicPr>
                    <p:nvPr userDrawn="1"/>
                  </p:nvPicPr>
                  <p:blipFill>
                    <a:blip r:embed="rId2">
                      <a:duotone>
                        <a:prstClr val="black"/>
                        <a:srgbClr val="4D82B8">
                          <a:tint val="45000"/>
                          <a:satMod val="400000"/>
                        </a:srgbClr>
                      </a:duotone>
                      <a:extLst>
                        <a:ext uri="{BEBA8EAE-BF5A-486C-A8C5-ECC9F3942E4B}">
                          <a14:imgProps xmlns:a14="http://schemas.microsoft.com/office/drawing/2010/main">
                            <a14:imgLayer r:embed="rId3">
                              <a14:imgEffect>
                                <a14:brightnessContrast contrast="-40000"/>
                              </a14:imgEffect>
                            </a14:imgLayer>
                          </a14:imgProps>
                        </a:ext>
                      </a:extLst>
                    </a:blip>
                    <a:stretch>
                      <a:fillRect/>
                    </a:stretch>
                  </p:blipFill>
                  <p:spPr>
                    <a:xfrm flipH="1">
                      <a:off x="13635599" y="3453788"/>
                      <a:ext cx="173367" cy="111424"/>
                    </a:xfrm>
                    <a:prstGeom prst="rect">
                      <a:avLst/>
                    </a:prstGeom>
                  </p:spPr>
                </p:pic>
              </p:grpSp>
              <p:grpSp>
                <p:nvGrpSpPr>
                  <p:cNvPr id="118" name="Groep 117">
                    <a:extLst>
                      <a:ext uri="{FF2B5EF4-FFF2-40B4-BE49-F238E27FC236}">
                        <a16:creationId xmlns:a16="http://schemas.microsoft.com/office/drawing/2014/main" id="{32393959-7234-9646-1F85-E45881AE37D3}"/>
                      </a:ext>
                    </a:extLst>
                  </p:cNvPr>
                  <p:cNvGrpSpPr/>
                  <p:nvPr userDrawn="1"/>
                </p:nvGrpSpPr>
                <p:grpSpPr>
                  <a:xfrm>
                    <a:off x="13103513" y="3705268"/>
                    <a:ext cx="145820" cy="146462"/>
                    <a:chOff x="13096169" y="3602278"/>
                    <a:chExt cx="145820" cy="146462"/>
                  </a:xfrm>
                </p:grpSpPr>
                <p:sp>
                  <p:nvSpPr>
                    <p:cNvPr id="122" name="Rechthoek 121">
                      <a:extLst>
                        <a:ext uri="{FF2B5EF4-FFF2-40B4-BE49-F238E27FC236}">
                          <a16:creationId xmlns:a16="http://schemas.microsoft.com/office/drawing/2014/main" id="{995FE815-5883-308F-4862-B1E15C0019C1}"/>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23" name="Rechthoek 122">
                      <a:extLst>
                        <a:ext uri="{FF2B5EF4-FFF2-40B4-BE49-F238E27FC236}">
                          <a16:creationId xmlns:a16="http://schemas.microsoft.com/office/drawing/2014/main" id="{A2185F68-4DBB-8AC2-D2BE-C64A39FD29CE}"/>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19" name="Groep 118">
                    <a:extLst>
                      <a:ext uri="{FF2B5EF4-FFF2-40B4-BE49-F238E27FC236}">
                        <a16:creationId xmlns:a16="http://schemas.microsoft.com/office/drawing/2014/main" id="{2A296281-94F0-4DBC-355F-4F903A167248}"/>
                      </a:ext>
                    </a:extLst>
                  </p:cNvPr>
                  <p:cNvGrpSpPr/>
                  <p:nvPr userDrawn="1"/>
                </p:nvGrpSpPr>
                <p:grpSpPr>
                  <a:xfrm rot="10800000">
                    <a:off x="13061402" y="3665637"/>
                    <a:ext cx="145820" cy="146462"/>
                    <a:chOff x="13096169" y="3602278"/>
                    <a:chExt cx="145820" cy="146462"/>
                  </a:xfrm>
                </p:grpSpPr>
                <p:sp>
                  <p:nvSpPr>
                    <p:cNvPr id="120" name="Rechthoek 119">
                      <a:extLst>
                        <a:ext uri="{FF2B5EF4-FFF2-40B4-BE49-F238E27FC236}">
                          <a16:creationId xmlns:a16="http://schemas.microsoft.com/office/drawing/2014/main" id="{C94CA418-23D5-0628-39FD-9A9AF85294B2}"/>
                        </a:ext>
                      </a:extLst>
                    </p:cNvPr>
                    <p:cNvSpPr/>
                    <p:nvPr userDrawn="1"/>
                  </p:nvSpPr>
                  <p:spPr>
                    <a:xfrm>
                      <a:off x="13096169" y="3602278"/>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21" name="Rechthoek 120">
                      <a:extLst>
                        <a:ext uri="{FF2B5EF4-FFF2-40B4-BE49-F238E27FC236}">
                          <a16:creationId xmlns:a16="http://schemas.microsoft.com/office/drawing/2014/main" id="{6AC949F7-EC0F-7492-A40C-BC47942C6016}"/>
                        </a:ext>
                      </a:extLst>
                    </p:cNvPr>
                    <p:cNvSpPr/>
                    <p:nvPr userDrawn="1"/>
                  </p:nvSpPr>
                  <p:spPr>
                    <a:xfrm rot="5400000">
                      <a:off x="13037453" y="3661636"/>
                      <a:ext cx="145820" cy="28388"/>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sp>
              <p:nvSpPr>
                <p:cNvPr id="115" name="Rechthoek 114">
                  <a:extLst>
                    <a:ext uri="{FF2B5EF4-FFF2-40B4-BE49-F238E27FC236}">
                      <a16:creationId xmlns:a16="http://schemas.microsoft.com/office/drawing/2014/main" id="{FA384E6C-A1A2-EBAD-943A-A92B5117CD92}"/>
                    </a:ext>
                  </a:extLst>
                </p:cNvPr>
                <p:cNvSpPr/>
                <p:nvPr userDrawn="1"/>
              </p:nvSpPr>
              <p:spPr>
                <a:xfrm>
                  <a:off x="12617641" y="3889890"/>
                  <a:ext cx="752963" cy="16117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Bijsnijden</a:t>
                  </a:r>
                </a:p>
              </p:txBody>
            </p:sp>
            <p:sp>
              <p:nvSpPr>
                <p:cNvPr id="116" name="Gelijkbenige driehoek 115">
                  <a:extLst>
                    <a:ext uri="{FF2B5EF4-FFF2-40B4-BE49-F238E27FC236}">
                      <a16:creationId xmlns:a16="http://schemas.microsoft.com/office/drawing/2014/main" id="{8F6AB0CC-FEFF-1534-22F3-C8B06407C2C9}"/>
                    </a:ext>
                  </a:extLst>
                </p:cNvPr>
                <p:cNvSpPr/>
                <p:nvPr userDrawn="1"/>
              </p:nvSpPr>
              <p:spPr>
                <a:xfrm rot="10800000">
                  <a:off x="12950688" y="4093726"/>
                  <a:ext cx="86866" cy="51147"/>
                </a:xfrm>
                <a:prstGeom prst="triangle">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96" name="Groep 95">
                <a:extLst>
                  <a:ext uri="{FF2B5EF4-FFF2-40B4-BE49-F238E27FC236}">
                    <a16:creationId xmlns:a16="http://schemas.microsoft.com/office/drawing/2014/main" id="{58BBC2E9-915F-C347-2FAE-E0F503E72FE6}"/>
                  </a:ext>
                </a:extLst>
              </p:cNvPr>
              <p:cNvGrpSpPr/>
              <p:nvPr userDrawn="1"/>
            </p:nvGrpSpPr>
            <p:grpSpPr>
              <a:xfrm>
                <a:off x="-3314821" y="2981448"/>
                <a:ext cx="1558053" cy="563933"/>
                <a:chOff x="-3314821" y="2981448"/>
                <a:chExt cx="1558053" cy="563933"/>
              </a:xfrm>
            </p:grpSpPr>
            <p:sp>
              <p:nvSpPr>
                <p:cNvPr id="100" name="Rechthoek 99">
                  <a:extLst>
                    <a:ext uri="{FF2B5EF4-FFF2-40B4-BE49-F238E27FC236}">
                      <a16:creationId xmlns:a16="http://schemas.microsoft.com/office/drawing/2014/main" id="{3955BA59-4DE4-8C67-66FD-2738700C6F81}"/>
                    </a:ext>
                  </a:extLst>
                </p:cNvPr>
                <p:cNvSpPr/>
                <p:nvPr userDrawn="1"/>
              </p:nvSpPr>
              <p:spPr>
                <a:xfrm>
                  <a:off x="-3314821" y="2981448"/>
                  <a:ext cx="1558053"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01" name="Rechthoek 100">
                  <a:extLst>
                    <a:ext uri="{FF2B5EF4-FFF2-40B4-BE49-F238E27FC236}">
                      <a16:creationId xmlns:a16="http://schemas.microsoft.com/office/drawing/2014/main" id="{C8FC40D6-BB2A-2023-3048-931BE87244CF}"/>
                    </a:ext>
                  </a:extLst>
                </p:cNvPr>
                <p:cNvSpPr/>
                <p:nvPr userDrawn="1"/>
              </p:nvSpPr>
              <p:spPr>
                <a:xfrm>
                  <a:off x="-3304719" y="3235173"/>
                  <a:ext cx="15403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02" name="Tekstvak 101">
                  <a:extLst>
                    <a:ext uri="{FF2B5EF4-FFF2-40B4-BE49-F238E27FC236}">
                      <a16:creationId xmlns:a16="http://schemas.microsoft.com/office/drawing/2014/main" id="{8070CE01-036E-D24A-A534-763D5D2EBCD2}"/>
                    </a:ext>
                  </a:extLst>
                </p:cNvPr>
                <p:cNvSpPr txBox="1"/>
                <p:nvPr userDrawn="1"/>
              </p:nvSpPr>
              <p:spPr>
                <a:xfrm>
                  <a:off x="-3069820" y="3038892"/>
                  <a:ext cx="1089248"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Naar voorgrond</a:t>
                  </a:r>
                </a:p>
              </p:txBody>
            </p:sp>
            <p:sp>
              <p:nvSpPr>
                <p:cNvPr id="103" name="Tekstvak 102">
                  <a:extLst>
                    <a:ext uri="{FF2B5EF4-FFF2-40B4-BE49-F238E27FC236}">
                      <a16:creationId xmlns:a16="http://schemas.microsoft.com/office/drawing/2014/main" id="{111E4A35-EAEF-C9AA-9294-636132A6A0C7}"/>
                    </a:ext>
                  </a:extLst>
                </p:cNvPr>
                <p:cNvSpPr txBox="1"/>
                <p:nvPr userDrawn="1"/>
              </p:nvSpPr>
              <p:spPr>
                <a:xfrm>
                  <a:off x="-3069820" y="3295269"/>
                  <a:ext cx="1098515"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Naar achtergrond</a:t>
                  </a:r>
                </a:p>
              </p:txBody>
            </p:sp>
            <p:sp>
              <p:nvSpPr>
                <p:cNvPr id="104" name="Vrije vorm: vorm 103">
                  <a:extLst>
                    <a:ext uri="{FF2B5EF4-FFF2-40B4-BE49-F238E27FC236}">
                      <a16:creationId xmlns:a16="http://schemas.microsoft.com/office/drawing/2014/main" id="{21373F5C-5AEE-1850-14AA-03C35EDB652A}"/>
                    </a:ext>
                  </a:extLst>
                </p:cNvPr>
                <p:cNvSpPr/>
                <p:nvPr userDrawn="1"/>
              </p:nvSpPr>
              <p:spPr>
                <a:xfrm>
                  <a:off x="-2051274" y="3365381"/>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05" name="Gelijkbenige driehoek 104">
                  <a:extLst>
                    <a:ext uri="{FF2B5EF4-FFF2-40B4-BE49-F238E27FC236}">
                      <a16:creationId xmlns:a16="http://schemas.microsoft.com/office/drawing/2014/main" id="{07A1E24F-B57B-EB22-51BB-D5D632BB0C13}"/>
                    </a:ext>
                  </a:extLst>
                </p:cNvPr>
                <p:cNvSpPr/>
                <p:nvPr userDrawn="1"/>
              </p:nvSpPr>
              <p:spPr>
                <a:xfrm rot="5400000">
                  <a:off x="-1900674" y="3332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106" name="Groep 105">
                  <a:extLst>
                    <a:ext uri="{FF2B5EF4-FFF2-40B4-BE49-F238E27FC236}">
                      <a16:creationId xmlns:a16="http://schemas.microsoft.com/office/drawing/2014/main" id="{744DA90B-AE6D-4F3A-0094-847F8B7C8BD6}"/>
                    </a:ext>
                  </a:extLst>
                </p:cNvPr>
                <p:cNvGrpSpPr/>
                <p:nvPr userDrawn="1"/>
              </p:nvGrpSpPr>
              <p:grpSpPr>
                <a:xfrm>
                  <a:off x="-3257052" y="3032066"/>
                  <a:ext cx="182309" cy="163794"/>
                  <a:chOff x="12832541" y="3162395"/>
                  <a:chExt cx="219532" cy="197236"/>
                </a:xfrm>
              </p:grpSpPr>
              <p:sp>
                <p:nvSpPr>
                  <p:cNvPr id="111" name="Rechthoek 110">
                    <a:extLst>
                      <a:ext uri="{FF2B5EF4-FFF2-40B4-BE49-F238E27FC236}">
                        <a16:creationId xmlns:a16="http://schemas.microsoft.com/office/drawing/2014/main" id="{6DB21118-54C3-5FCA-A2E6-445B7BB7FF7B}"/>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2" name="Rechthoek 111">
                    <a:extLst>
                      <a:ext uri="{FF2B5EF4-FFF2-40B4-BE49-F238E27FC236}">
                        <a16:creationId xmlns:a16="http://schemas.microsoft.com/office/drawing/2014/main" id="{8DDE8E5B-DB94-06BE-9137-FE5651308D8D}"/>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3" name="Rechthoek 112">
                    <a:extLst>
                      <a:ext uri="{FF2B5EF4-FFF2-40B4-BE49-F238E27FC236}">
                        <a16:creationId xmlns:a16="http://schemas.microsoft.com/office/drawing/2014/main" id="{5144B464-97DE-BDEC-34D7-1FADAEEC095E}"/>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nvGrpSpPr>
                <p:cNvPr id="107" name="Groep 106">
                  <a:extLst>
                    <a:ext uri="{FF2B5EF4-FFF2-40B4-BE49-F238E27FC236}">
                      <a16:creationId xmlns:a16="http://schemas.microsoft.com/office/drawing/2014/main" id="{2AFF50D2-B79D-FB87-41A9-540D6CE4BC77}"/>
                    </a:ext>
                  </a:extLst>
                </p:cNvPr>
                <p:cNvGrpSpPr/>
                <p:nvPr userDrawn="1"/>
              </p:nvGrpSpPr>
              <p:grpSpPr>
                <a:xfrm>
                  <a:off x="-3257053" y="3276580"/>
                  <a:ext cx="182309" cy="163794"/>
                  <a:chOff x="12832541" y="3162395"/>
                  <a:chExt cx="219532" cy="197236"/>
                </a:xfrm>
              </p:grpSpPr>
              <p:sp>
                <p:nvSpPr>
                  <p:cNvPr id="108" name="Rechthoek 107">
                    <a:extLst>
                      <a:ext uri="{FF2B5EF4-FFF2-40B4-BE49-F238E27FC236}">
                        <a16:creationId xmlns:a16="http://schemas.microsoft.com/office/drawing/2014/main" id="{95FCC1E5-63DC-79C0-CAE9-674756FDC3A8}"/>
                      </a:ext>
                    </a:extLst>
                  </p:cNvPr>
                  <p:cNvSpPr/>
                  <p:nvPr userDrawn="1"/>
                </p:nvSpPr>
                <p:spPr>
                  <a:xfrm>
                    <a:off x="12873284" y="3191991"/>
                    <a:ext cx="138045" cy="138044"/>
                  </a:xfrm>
                  <a:prstGeom prst="rect">
                    <a:avLst/>
                  </a:prstGeom>
                  <a:solidFill>
                    <a:srgbClr val="EABE7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09" name="Rechthoek 108">
                    <a:extLst>
                      <a:ext uri="{FF2B5EF4-FFF2-40B4-BE49-F238E27FC236}">
                        <a16:creationId xmlns:a16="http://schemas.microsoft.com/office/drawing/2014/main" id="{8B204166-30AC-D1E4-1239-0C4D8A84CBEB}"/>
                      </a:ext>
                    </a:extLst>
                  </p:cNvPr>
                  <p:cNvSpPr/>
                  <p:nvPr userDrawn="1"/>
                </p:nvSpPr>
                <p:spPr>
                  <a:xfrm>
                    <a:off x="12832541" y="3162395"/>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10" name="Rechthoek 109">
                    <a:extLst>
                      <a:ext uri="{FF2B5EF4-FFF2-40B4-BE49-F238E27FC236}">
                        <a16:creationId xmlns:a16="http://schemas.microsoft.com/office/drawing/2014/main" id="{84540747-1588-ADB4-C162-29A75A878368}"/>
                      </a:ext>
                    </a:extLst>
                  </p:cNvPr>
                  <p:cNvSpPr/>
                  <p:nvPr userDrawn="1"/>
                </p:nvSpPr>
                <p:spPr>
                  <a:xfrm>
                    <a:off x="12970586" y="3278144"/>
                    <a:ext cx="81487" cy="81487"/>
                  </a:xfrm>
                  <a:prstGeom prst="rect">
                    <a:avLst/>
                  </a:prstGeom>
                  <a:solidFill>
                    <a:schemeClr val="bg1"/>
                  </a:solidFill>
                  <a:ln w="12700">
                    <a:solidFill>
                      <a:srgbClr val="84848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nvGrpSpPr>
              <p:cNvPr id="97" name="ICOON_info">
                <a:extLst>
                  <a:ext uri="{FF2B5EF4-FFF2-40B4-BE49-F238E27FC236}">
                    <a16:creationId xmlns:a16="http://schemas.microsoft.com/office/drawing/2014/main" id="{ECEAFB20-DF30-CF9D-7634-CC8B54D0938C}"/>
                  </a:ext>
                </a:extLst>
              </p:cNvPr>
              <p:cNvGrpSpPr/>
              <p:nvPr userDrawn="1"/>
            </p:nvGrpSpPr>
            <p:grpSpPr>
              <a:xfrm>
                <a:off x="-376736" y="5498637"/>
                <a:ext cx="283685" cy="283685"/>
                <a:chOff x="-510741" y="5913713"/>
                <a:chExt cx="267555" cy="267555"/>
              </a:xfrm>
            </p:grpSpPr>
            <p:sp>
              <p:nvSpPr>
                <p:cNvPr id="98" name="Ovaal 97">
                  <a:extLst>
                    <a:ext uri="{FF2B5EF4-FFF2-40B4-BE49-F238E27FC236}">
                      <a16:creationId xmlns:a16="http://schemas.microsoft.com/office/drawing/2014/main" id="{ABED5CF8-EB79-22BA-7645-A3B473313932}"/>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99" name="Graphic 163" descr="Informatie">
                  <a:extLst>
                    <a:ext uri="{FF2B5EF4-FFF2-40B4-BE49-F238E27FC236}">
                      <a16:creationId xmlns:a16="http://schemas.microsoft.com/office/drawing/2014/main" id="{BC63CBC4-4D6D-90A6-9F3D-852132EDA0EE}"/>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sp>
        <p:nvSpPr>
          <p:cNvPr id="5" name="Tijdelijke aanduiding voor datum 4">
            <a:extLst>
              <a:ext uri="{FF2B5EF4-FFF2-40B4-BE49-F238E27FC236}">
                <a16:creationId xmlns:a16="http://schemas.microsoft.com/office/drawing/2014/main" id="{B98B5AB5-BBB4-9F10-6159-ABFF58483D56}"/>
              </a:ext>
            </a:extLst>
          </p:cNvPr>
          <p:cNvSpPr>
            <a:spLocks noGrp="1"/>
          </p:cNvSpPr>
          <p:nvPr>
            <p:ph type="dt" sz="half" idx="27"/>
          </p:nvPr>
        </p:nvSpPr>
        <p:spPr/>
        <p:txBody>
          <a:bodyPr/>
          <a:lstStyle/>
          <a:p>
            <a:fld id="{12D373D1-F4D8-45F1-A9D0-2DEA206A7D09}" type="datetime4">
              <a:rPr lang="nl-NL" smtClean="0"/>
              <a:t>10 oktober 2023</a:t>
            </a:fld>
            <a:endParaRPr lang="nl-NL" dirty="0"/>
          </a:p>
        </p:txBody>
      </p:sp>
      <p:sp>
        <p:nvSpPr>
          <p:cNvPr id="6" name="Tijdelijke aanduiding voor voettekst 5">
            <a:extLst>
              <a:ext uri="{FF2B5EF4-FFF2-40B4-BE49-F238E27FC236}">
                <a16:creationId xmlns:a16="http://schemas.microsoft.com/office/drawing/2014/main" id="{D44860E7-DF2A-746D-ADCF-AB8575FBB370}"/>
              </a:ext>
            </a:extLst>
          </p:cNvPr>
          <p:cNvSpPr>
            <a:spLocks noGrp="1"/>
          </p:cNvSpPr>
          <p:nvPr>
            <p:ph type="ftr" sz="quarter" idx="28"/>
          </p:nvPr>
        </p:nvSpPr>
        <p:spPr/>
        <p:txBody>
          <a:bodyPr/>
          <a:lstStyle>
            <a:lvl1pPr>
              <a:defRPr>
                <a:solidFill>
                  <a:schemeClr val="bg1">
                    <a:alpha val="85000"/>
                  </a:schemeClr>
                </a:solidFill>
              </a:defRPr>
            </a:lvl1pPr>
          </a:lstStyle>
          <a:p>
            <a:pPr algn="r"/>
            <a:r>
              <a:rPr lang="nl-NL" dirty="0"/>
              <a:t>Zeeuwse Zorg Coalitie  |  Plaats hier je voettekst</a:t>
            </a:r>
          </a:p>
        </p:txBody>
      </p:sp>
      <p:sp>
        <p:nvSpPr>
          <p:cNvPr id="7" name="Tijdelijke aanduiding voor dianummer 6">
            <a:extLst>
              <a:ext uri="{FF2B5EF4-FFF2-40B4-BE49-F238E27FC236}">
                <a16:creationId xmlns:a16="http://schemas.microsoft.com/office/drawing/2014/main" id="{AC5C93E2-1E6B-B39C-1F5A-9BE1C1DDB670}"/>
              </a:ext>
            </a:extLst>
          </p:cNvPr>
          <p:cNvSpPr>
            <a:spLocks noGrp="1"/>
          </p:cNvSpPr>
          <p:nvPr>
            <p:ph type="sldNum" sz="quarter" idx="29"/>
          </p:nvPr>
        </p:nvSpPr>
        <p:spPr/>
        <p:txBody>
          <a:bodyPr/>
          <a:lstStyle>
            <a:lvl1pPr>
              <a:defRPr>
                <a:solidFill>
                  <a:schemeClr val="bg1"/>
                </a:solidFill>
              </a:defRPr>
            </a:lvl1pPr>
          </a:lstStyle>
          <a:p>
            <a:fld id="{9E843DB9-9987-4157-AB9C-CEA8D7D910BB}" type="slidenum">
              <a:rPr lang="nl-NL" smtClean="0"/>
              <a:pPr/>
              <a:t>‹nr.›</a:t>
            </a:fld>
            <a:endParaRPr lang="nl-NL" dirty="0"/>
          </a:p>
        </p:txBody>
      </p:sp>
      <p:sp>
        <p:nvSpPr>
          <p:cNvPr id="8" name="Tijdelijke aanduiding voor tekst 48">
            <a:extLst>
              <a:ext uri="{FF2B5EF4-FFF2-40B4-BE49-F238E27FC236}">
                <a16:creationId xmlns:a16="http://schemas.microsoft.com/office/drawing/2014/main" id="{DD2D228D-0A83-F6B9-515C-AD2BACFCB39E}"/>
              </a:ext>
            </a:extLst>
          </p:cNvPr>
          <p:cNvSpPr>
            <a:spLocks noGrp="1"/>
          </p:cNvSpPr>
          <p:nvPr>
            <p:ph type="body" sz="quarter" idx="30" hasCustomPrompt="1"/>
          </p:nvPr>
        </p:nvSpPr>
        <p:spPr>
          <a:xfrm>
            <a:off x="719139" y="6270625"/>
            <a:ext cx="1316183" cy="301625"/>
          </a:xfrm>
          <a:prstGeom prst="rect">
            <a:avLst/>
          </a:prstGeom>
          <a:blipFill>
            <a:blip r:embed="rId4"/>
            <a:srcRect/>
            <a:stretch>
              <a:fillRect t="107" b="107"/>
            </a:stretch>
          </a:blipFill>
        </p:spPr>
        <p:txBody>
          <a:bodyPr wrap="square" anchor="b">
            <a:noAutofit/>
          </a:bodyPr>
          <a:lstStyle>
            <a:lvl1pPr marL="0" indent="0" algn="ctr">
              <a:buNone/>
              <a:defRPr sz="100">
                <a:solidFill>
                  <a:schemeClr val="tx1">
                    <a:alpha val="0"/>
                  </a:schemeClr>
                </a:solidFill>
              </a:defRPr>
            </a:lvl1pPr>
          </a:lstStyle>
          <a:p>
            <a:pPr lvl="0"/>
            <a:r>
              <a:rPr lang="nl-NL" dirty="0"/>
              <a:t>(leeg)</a:t>
            </a:r>
          </a:p>
        </p:txBody>
      </p:sp>
    </p:spTree>
    <p:extLst>
      <p:ext uri="{BB962C8B-B14F-4D97-AF65-F5344CB8AC3E}">
        <p14:creationId xmlns:p14="http://schemas.microsoft.com/office/powerpoint/2010/main" val="211802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kst + grafiek">
    <p:spTree>
      <p:nvGrpSpPr>
        <p:cNvPr id="1" name=""/>
        <p:cNvGrpSpPr/>
        <p:nvPr/>
      </p:nvGrpSpPr>
      <p:grpSpPr>
        <a:xfrm>
          <a:off x="0" y="0"/>
          <a:ext cx="0" cy="0"/>
          <a:chOff x="0" y="0"/>
          <a:chExt cx="0" cy="0"/>
        </a:xfrm>
      </p:grpSpPr>
      <p:sp>
        <p:nvSpPr>
          <p:cNvPr id="16" name="Vrije vorm: vorm 15">
            <a:extLst>
              <a:ext uri="{FF2B5EF4-FFF2-40B4-BE49-F238E27FC236}">
                <a16:creationId xmlns:a16="http://schemas.microsoft.com/office/drawing/2014/main" id="{43524067-CA0C-FC02-FA1F-0B99D7AD3876}"/>
              </a:ext>
            </a:extLst>
          </p:cNvPr>
          <p:cNvSpPr/>
          <p:nvPr userDrawn="1"/>
        </p:nvSpPr>
        <p:spPr>
          <a:xfrm>
            <a:off x="7865660" y="1593850"/>
            <a:ext cx="4326346" cy="5264157"/>
          </a:xfrm>
          <a:custGeom>
            <a:avLst/>
            <a:gdLst>
              <a:gd name="connsiteX0" fmla="*/ 1285623 w 4326346"/>
              <a:gd name="connsiteY0" fmla="*/ 4311889 h 5264157"/>
              <a:gd name="connsiteX1" fmla="*/ 1992088 w 4326346"/>
              <a:gd name="connsiteY1" fmla="*/ 4448045 h 5264157"/>
              <a:gd name="connsiteX2" fmla="*/ 2464404 w 4326346"/>
              <a:gd name="connsiteY2" fmla="*/ 4699864 h 5264157"/>
              <a:gd name="connsiteX3" fmla="*/ 2058754 w 4326346"/>
              <a:gd name="connsiteY3" fmla="*/ 5048077 h 5264157"/>
              <a:gd name="connsiteX4" fmla="*/ 2022609 w 4326346"/>
              <a:gd name="connsiteY4" fmla="*/ 5026791 h 5264157"/>
              <a:gd name="connsiteX5" fmla="*/ 1798101 w 4326346"/>
              <a:gd name="connsiteY5" fmla="*/ 4907103 h 5264157"/>
              <a:gd name="connsiteX6" fmla="*/ 1545876 w 4326346"/>
              <a:gd name="connsiteY6" fmla="*/ 4832403 h 5264157"/>
              <a:gd name="connsiteX7" fmla="*/ 1285223 w 4326346"/>
              <a:gd name="connsiteY7" fmla="*/ 4811117 h 5264157"/>
              <a:gd name="connsiteX8" fmla="*/ 549030 w 4326346"/>
              <a:gd name="connsiteY8" fmla="*/ 5027191 h 5264157"/>
              <a:gd name="connsiteX9" fmla="*/ 499233 w 4326346"/>
              <a:gd name="connsiteY9" fmla="*/ 5055710 h 5264157"/>
              <a:gd name="connsiteX10" fmla="*/ 6 w 4326346"/>
              <a:gd name="connsiteY10" fmla="*/ 5264157 h 5264157"/>
              <a:gd name="connsiteX11" fmla="*/ 6 w 4326346"/>
              <a:gd name="connsiteY11" fmla="*/ 4742436 h 5264157"/>
              <a:gd name="connsiteX12" fmla="*/ 298420 w 4326346"/>
              <a:gd name="connsiteY12" fmla="*/ 4595037 h 5264157"/>
              <a:gd name="connsiteX13" fmla="*/ 499233 w 4326346"/>
              <a:gd name="connsiteY13" fmla="*/ 4485391 h 5264157"/>
              <a:gd name="connsiteX14" fmla="*/ 1285623 w 4326346"/>
              <a:gd name="connsiteY14" fmla="*/ 4311889 h 5264157"/>
              <a:gd name="connsiteX15" fmla="*/ 1285615 w 4326346"/>
              <a:gd name="connsiteY15" fmla="*/ 2872051 h 5264157"/>
              <a:gd name="connsiteX16" fmla="*/ 3266045 w 4326346"/>
              <a:gd name="connsiteY16" fmla="*/ 3351193 h 5264157"/>
              <a:gd name="connsiteX17" fmla="*/ 3267253 w 4326346"/>
              <a:gd name="connsiteY17" fmla="*/ 3349985 h 5264157"/>
              <a:gd name="connsiteX18" fmla="*/ 3534331 w 4326346"/>
              <a:gd name="connsiteY18" fmla="*/ 3268860 h 5264157"/>
              <a:gd name="connsiteX19" fmla="*/ 4157661 w 4326346"/>
              <a:gd name="connsiteY19" fmla="*/ 2959603 h 5264157"/>
              <a:gd name="connsiteX20" fmla="*/ 3496177 w 4326346"/>
              <a:gd name="connsiteY20" fmla="*/ 3811866 h 5264157"/>
              <a:gd name="connsiteX21" fmla="*/ 2912208 w 4326346"/>
              <a:gd name="connsiteY21" fmla="*/ 3869297 h 5264157"/>
              <a:gd name="connsiteX22" fmla="*/ 2690110 w 4326346"/>
              <a:gd name="connsiteY22" fmla="*/ 3846803 h 5264157"/>
              <a:gd name="connsiteX23" fmla="*/ 2022600 w 4326346"/>
              <a:gd name="connsiteY23" fmla="*/ 3588559 h 5264157"/>
              <a:gd name="connsiteX24" fmla="*/ 1285215 w 4326346"/>
              <a:gd name="connsiteY24" fmla="*/ 3371278 h 5264157"/>
              <a:gd name="connsiteX25" fmla="*/ 549024 w 4326346"/>
              <a:gd name="connsiteY25" fmla="*/ 3587351 h 5264157"/>
              <a:gd name="connsiteX26" fmla="*/ 0 w 4326346"/>
              <a:gd name="connsiteY26" fmla="*/ 3824310 h 5264157"/>
              <a:gd name="connsiteX27" fmla="*/ 0 w 4326346"/>
              <a:gd name="connsiteY27" fmla="*/ 3302596 h 5264157"/>
              <a:gd name="connsiteX28" fmla="*/ 499226 w 4326346"/>
              <a:gd name="connsiteY28" fmla="*/ 3045553 h 5264157"/>
              <a:gd name="connsiteX29" fmla="*/ 1285615 w 4326346"/>
              <a:gd name="connsiteY29" fmla="*/ 2872051 h 5264157"/>
              <a:gd name="connsiteX30" fmla="*/ 2210961 w 4326346"/>
              <a:gd name="connsiteY30" fmla="*/ 0 h 5264157"/>
              <a:gd name="connsiteX31" fmla="*/ 3819086 w 4326346"/>
              <a:gd name="connsiteY31" fmla="*/ 736993 h 5264157"/>
              <a:gd name="connsiteX32" fmla="*/ 4231561 w 4326346"/>
              <a:gd name="connsiteY32" fmla="*/ 1477996 h 5264157"/>
              <a:gd name="connsiteX33" fmla="*/ 4320721 w 4326346"/>
              <a:gd name="connsiteY33" fmla="*/ 1904123 h 5264157"/>
              <a:gd name="connsiteX34" fmla="*/ 4326346 w 4326346"/>
              <a:gd name="connsiteY34" fmla="*/ 1983248 h 5264157"/>
              <a:gd name="connsiteX35" fmla="*/ 3998213 w 4326346"/>
              <a:gd name="connsiteY35" fmla="*/ 2169201 h 5264157"/>
              <a:gd name="connsiteX36" fmla="*/ 3831137 w 4326346"/>
              <a:gd name="connsiteY36" fmla="*/ 2261577 h 5264157"/>
              <a:gd name="connsiteX37" fmla="*/ 3826319 w 4326346"/>
              <a:gd name="connsiteY37" fmla="*/ 2263985 h 5264157"/>
              <a:gd name="connsiteX38" fmla="*/ 3823903 w 4326346"/>
              <a:gd name="connsiteY38" fmla="*/ 2265186 h 5264157"/>
              <a:gd name="connsiteX39" fmla="*/ 3011410 w 4326346"/>
              <a:gd name="connsiteY39" fmla="*/ 2452347 h 5264157"/>
              <a:gd name="connsiteX40" fmla="*/ 2023000 w 4326346"/>
              <a:gd name="connsiteY40" fmla="*/ 2169201 h 5264157"/>
              <a:gd name="connsiteX41" fmla="*/ 1285614 w 4326346"/>
              <a:gd name="connsiteY41" fmla="*/ 1953121 h 5264157"/>
              <a:gd name="connsiteX42" fmla="*/ 549422 w 4326346"/>
              <a:gd name="connsiteY42" fmla="*/ 2169201 h 5264157"/>
              <a:gd name="connsiteX43" fmla="*/ 499625 w 4326346"/>
              <a:gd name="connsiteY43" fmla="*/ 2197713 h 5264157"/>
              <a:gd name="connsiteX44" fmla="*/ 398 w 4326346"/>
              <a:gd name="connsiteY44" fmla="*/ 2404958 h 5264157"/>
              <a:gd name="connsiteX45" fmla="*/ 398 w 4326346"/>
              <a:gd name="connsiteY45" fmla="*/ 1884446 h 5264157"/>
              <a:gd name="connsiteX46" fmla="*/ 298812 w 4326346"/>
              <a:gd name="connsiteY46" fmla="*/ 1737047 h 5264157"/>
              <a:gd name="connsiteX47" fmla="*/ 499625 w 4326346"/>
              <a:gd name="connsiteY47" fmla="*/ 1626195 h 5264157"/>
              <a:gd name="connsiteX48" fmla="*/ 1286014 w 4326346"/>
              <a:gd name="connsiteY48" fmla="*/ 1453901 h 5264157"/>
              <a:gd name="connsiteX49" fmla="*/ 2274425 w 4326346"/>
              <a:gd name="connsiteY49" fmla="*/ 1737047 h 5264157"/>
              <a:gd name="connsiteX50" fmla="*/ 3011811 w 4326346"/>
              <a:gd name="connsiteY50" fmla="*/ 1953121 h 5264157"/>
              <a:gd name="connsiteX51" fmla="*/ 3698198 w 4326346"/>
              <a:gd name="connsiteY51" fmla="*/ 1765967 h 5264157"/>
              <a:gd name="connsiteX52" fmla="*/ 3781332 w 4326346"/>
              <a:gd name="connsiteY52" fmla="*/ 1719378 h 5264157"/>
              <a:gd name="connsiteX53" fmla="*/ 3440354 w 4326346"/>
              <a:gd name="connsiteY53" fmla="*/ 1062311 h 5264157"/>
              <a:gd name="connsiteX54" fmla="*/ 2210961 w 4326346"/>
              <a:gd name="connsiteY54" fmla="*/ 498827 h 5264157"/>
              <a:gd name="connsiteX55" fmla="*/ 1506912 w 4326346"/>
              <a:gd name="connsiteY55" fmla="*/ 660678 h 5264157"/>
              <a:gd name="connsiteX56" fmla="*/ 1438631 w 4326346"/>
              <a:gd name="connsiteY56" fmla="*/ 695622 h 5264157"/>
              <a:gd name="connsiteX57" fmla="*/ 1438631 w 4326346"/>
              <a:gd name="connsiteY57" fmla="*/ 145791 h 5264157"/>
              <a:gd name="connsiteX58" fmla="*/ 1506912 w 4326346"/>
              <a:gd name="connsiteY58" fmla="*/ 120888 h 5264157"/>
              <a:gd name="connsiteX59" fmla="*/ 2210961 w 4326346"/>
              <a:gd name="connsiteY59" fmla="*/ 0 h 526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326346" h="5264157">
                <a:moveTo>
                  <a:pt x="1285623" y="4311889"/>
                </a:moveTo>
                <a:cubicBezTo>
                  <a:pt x="1598890" y="4311889"/>
                  <a:pt x="1816171" y="4370529"/>
                  <a:pt x="1992088" y="4448045"/>
                </a:cubicBezTo>
                <a:cubicBezTo>
                  <a:pt x="2070805" y="4481782"/>
                  <a:pt x="2398939" y="4667735"/>
                  <a:pt x="2464404" y="4699864"/>
                </a:cubicBezTo>
                <a:lnTo>
                  <a:pt x="2058754" y="5048077"/>
                </a:lnTo>
                <a:cubicBezTo>
                  <a:pt x="2046310" y="5040450"/>
                  <a:pt x="2035060" y="5034424"/>
                  <a:pt x="2022609" y="5026791"/>
                </a:cubicBezTo>
                <a:cubicBezTo>
                  <a:pt x="1947909" y="4983011"/>
                  <a:pt x="1876818" y="4942048"/>
                  <a:pt x="1798101" y="4907103"/>
                </a:cubicBezTo>
                <a:cubicBezTo>
                  <a:pt x="1722994" y="4874975"/>
                  <a:pt x="1643069" y="4848471"/>
                  <a:pt x="1545876" y="4832403"/>
                </a:cubicBezTo>
                <a:cubicBezTo>
                  <a:pt x="1469968" y="4818744"/>
                  <a:pt x="1385225" y="4811117"/>
                  <a:pt x="1285223" y="4811117"/>
                </a:cubicBezTo>
                <a:cubicBezTo>
                  <a:pt x="922144" y="4811117"/>
                  <a:pt x="748642" y="4911120"/>
                  <a:pt x="549030" y="5027191"/>
                </a:cubicBezTo>
                <a:cubicBezTo>
                  <a:pt x="532970" y="5036833"/>
                  <a:pt x="516902" y="5045668"/>
                  <a:pt x="499233" y="5055710"/>
                </a:cubicBezTo>
                <a:cubicBezTo>
                  <a:pt x="361877" y="5134427"/>
                  <a:pt x="209654" y="5215560"/>
                  <a:pt x="6" y="5264157"/>
                </a:cubicBezTo>
                <a:lnTo>
                  <a:pt x="6" y="4742436"/>
                </a:lnTo>
                <a:cubicBezTo>
                  <a:pt x="110051" y="4704682"/>
                  <a:pt x="201219" y="4652475"/>
                  <a:pt x="298420" y="4595037"/>
                </a:cubicBezTo>
                <a:cubicBezTo>
                  <a:pt x="361877" y="4558891"/>
                  <a:pt x="426942" y="4520336"/>
                  <a:pt x="499233" y="4485391"/>
                </a:cubicBezTo>
                <a:cubicBezTo>
                  <a:pt x="689203" y="4391814"/>
                  <a:pt x="924960" y="4311889"/>
                  <a:pt x="1285623" y="4311889"/>
                </a:cubicBezTo>
                <a:close/>
                <a:moveTo>
                  <a:pt x="1285615" y="2872051"/>
                </a:moveTo>
                <a:cubicBezTo>
                  <a:pt x="2272017" y="2863217"/>
                  <a:pt x="2314188" y="3499793"/>
                  <a:pt x="3266045" y="3351193"/>
                </a:cubicBezTo>
                <a:lnTo>
                  <a:pt x="3267253" y="3349985"/>
                </a:lnTo>
                <a:cubicBezTo>
                  <a:pt x="3370872" y="3333924"/>
                  <a:pt x="3455614" y="3305005"/>
                  <a:pt x="3534331" y="3268860"/>
                </a:cubicBezTo>
                <a:cubicBezTo>
                  <a:pt x="3754828" y="3168857"/>
                  <a:pt x="3903835" y="3041136"/>
                  <a:pt x="4157661" y="2959603"/>
                </a:cubicBezTo>
                <a:cubicBezTo>
                  <a:pt x="4023114" y="3284927"/>
                  <a:pt x="3784548" y="3581326"/>
                  <a:pt x="3496177" y="3811866"/>
                </a:cubicBezTo>
                <a:cubicBezTo>
                  <a:pt x="3347177" y="3854437"/>
                  <a:pt x="3113829" y="3877731"/>
                  <a:pt x="2912208" y="3869297"/>
                </a:cubicBezTo>
                <a:cubicBezTo>
                  <a:pt x="2832283" y="3865680"/>
                  <a:pt x="2758785" y="3858047"/>
                  <a:pt x="2690110" y="3846803"/>
                </a:cubicBezTo>
                <a:cubicBezTo>
                  <a:pt x="2389288" y="3800615"/>
                  <a:pt x="2196109" y="3689770"/>
                  <a:pt x="2022600" y="3588559"/>
                </a:cubicBezTo>
                <a:cubicBezTo>
                  <a:pt x="1822995" y="3472489"/>
                  <a:pt x="1649487" y="3371278"/>
                  <a:pt x="1285215" y="3371278"/>
                </a:cubicBezTo>
                <a:cubicBezTo>
                  <a:pt x="922137" y="3371278"/>
                  <a:pt x="748635" y="3472489"/>
                  <a:pt x="549024" y="3587351"/>
                </a:cubicBezTo>
                <a:cubicBezTo>
                  <a:pt x="383957" y="3682136"/>
                  <a:pt x="236158" y="3768487"/>
                  <a:pt x="0" y="3824310"/>
                </a:cubicBezTo>
                <a:lnTo>
                  <a:pt x="0" y="3302596"/>
                </a:lnTo>
                <a:cubicBezTo>
                  <a:pt x="184345" y="3238739"/>
                  <a:pt x="323309" y="3130295"/>
                  <a:pt x="499226" y="3045553"/>
                </a:cubicBezTo>
                <a:cubicBezTo>
                  <a:pt x="689196" y="2951976"/>
                  <a:pt x="924953" y="2872051"/>
                  <a:pt x="1285615" y="2872051"/>
                </a:cubicBezTo>
                <a:close/>
                <a:moveTo>
                  <a:pt x="2210961" y="0"/>
                </a:moveTo>
                <a:cubicBezTo>
                  <a:pt x="2806981" y="0"/>
                  <a:pt x="3399384" y="249810"/>
                  <a:pt x="3819086" y="736993"/>
                </a:cubicBezTo>
                <a:cubicBezTo>
                  <a:pt x="4011464" y="960700"/>
                  <a:pt x="4147619" y="1213319"/>
                  <a:pt x="4231561" y="1477996"/>
                </a:cubicBezTo>
                <a:cubicBezTo>
                  <a:pt x="4276541" y="1611735"/>
                  <a:pt x="4303853" y="1761142"/>
                  <a:pt x="4320721" y="1904123"/>
                </a:cubicBezTo>
                <a:cubicBezTo>
                  <a:pt x="4324337" y="1931835"/>
                  <a:pt x="4325539" y="1955937"/>
                  <a:pt x="4326346" y="1983248"/>
                </a:cubicBezTo>
                <a:cubicBezTo>
                  <a:pt x="4211477" y="2041887"/>
                  <a:pt x="4068095" y="2127830"/>
                  <a:pt x="3998213" y="2169201"/>
                </a:cubicBezTo>
                <a:cubicBezTo>
                  <a:pt x="3944798" y="2200529"/>
                  <a:pt x="3889776" y="2231449"/>
                  <a:pt x="3831137" y="2261577"/>
                </a:cubicBezTo>
                <a:cubicBezTo>
                  <a:pt x="3829929" y="2262778"/>
                  <a:pt x="3827520" y="2262778"/>
                  <a:pt x="3826319" y="2263985"/>
                </a:cubicBezTo>
                <a:cubicBezTo>
                  <a:pt x="3825111" y="2263985"/>
                  <a:pt x="3825111" y="2265186"/>
                  <a:pt x="3823903" y="2265186"/>
                </a:cubicBezTo>
                <a:cubicBezTo>
                  <a:pt x="3629116" y="2366397"/>
                  <a:pt x="3388141" y="2452347"/>
                  <a:pt x="3011410" y="2452347"/>
                </a:cubicBezTo>
                <a:cubicBezTo>
                  <a:pt x="2513392" y="2452347"/>
                  <a:pt x="2252732" y="2301339"/>
                  <a:pt x="2023000" y="2169201"/>
                </a:cubicBezTo>
                <a:cubicBezTo>
                  <a:pt x="1823395" y="2053130"/>
                  <a:pt x="1649886" y="1953121"/>
                  <a:pt x="1285614" y="1953121"/>
                </a:cubicBezTo>
                <a:cubicBezTo>
                  <a:pt x="922536" y="1953121"/>
                  <a:pt x="749034" y="2053130"/>
                  <a:pt x="549422" y="2169201"/>
                </a:cubicBezTo>
                <a:cubicBezTo>
                  <a:pt x="533361" y="2178836"/>
                  <a:pt x="517294" y="2187677"/>
                  <a:pt x="499625" y="2197713"/>
                </a:cubicBezTo>
                <a:cubicBezTo>
                  <a:pt x="362269" y="2275229"/>
                  <a:pt x="210045" y="2356362"/>
                  <a:pt x="398" y="2404958"/>
                </a:cubicBezTo>
                <a:lnTo>
                  <a:pt x="398" y="1884446"/>
                </a:lnTo>
                <a:cubicBezTo>
                  <a:pt x="110443" y="1847092"/>
                  <a:pt x="201611" y="1793278"/>
                  <a:pt x="298812" y="1737047"/>
                </a:cubicBezTo>
                <a:cubicBezTo>
                  <a:pt x="362269" y="1699694"/>
                  <a:pt x="427326" y="1662340"/>
                  <a:pt x="499625" y="1626195"/>
                </a:cubicBezTo>
                <a:cubicBezTo>
                  <a:pt x="689594" y="1532618"/>
                  <a:pt x="925352" y="1453901"/>
                  <a:pt x="1286014" y="1453901"/>
                </a:cubicBezTo>
                <a:cubicBezTo>
                  <a:pt x="1785241" y="1453901"/>
                  <a:pt x="2044693" y="1603708"/>
                  <a:pt x="2274425" y="1737047"/>
                </a:cubicBezTo>
                <a:cubicBezTo>
                  <a:pt x="2474030" y="1853118"/>
                  <a:pt x="2647539" y="1953121"/>
                  <a:pt x="3011811" y="1953121"/>
                </a:cubicBezTo>
                <a:cubicBezTo>
                  <a:pt x="3345162" y="1953121"/>
                  <a:pt x="3517063" y="1869586"/>
                  <a:pt x="3698198" y="1765967"/>
                </a:cubicBezTo>
                <a:lnTo>
                  <a:pt x="3781332" y="1719378"/>
                </a:lnTo>
                <a:cubicBezTo>
                  <a:pt x="3720691" y="1479604"/>
                  <a:pt x="3606222" y="1255089"/>
                  <a:pt x="3440354" y="1062311"/>
                </a:cubicBezTo>
                <a:cubicBezTo>
                  <a:pt x="3132298" y="704057"/>
                  <a:pt x="2684084" y="498827"/>
                  <a:pt x="2210961" y="498827"/>
                </a:cubicBezTo>
                <a:cubicBezTo>
                  <a:pt x="1965569" y="498827"/>
                  <a:pt x="1724993" y="555050"/>
                  <a:pt x="1506912" y="660678"/>
                </a:cubicBezTo>
                <a:lnTo>
                  <a:pt x="1438631" y="695622"/>
                </a:lnTo>
                <a:lnTo>
                  <a:pt x="1438631" y="145791"/>
                </a:lnTo>
                <a:lnTo>
                  <a:pt x="1506912" y="120888"/>
                </a:lnTo>
                <a:cubicBezTo>
                  <a:pt x="1735036" y="40563"/>
                  <a:pt x="1973202" y="0"/>
                  <a:pt x="2210961" y="0"/>
                </a:cubicBezTo>
                <a:close/>
              </a:path>
            </a:pathLst>
          </a:custGeom>
          <a:solidFill>
            <a:srgbClr val="F0F4F6">
              <a:alpha val="50196"/>
            </a:srgbClr>
          </a:solidFill>
          <a:ln w="2264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nl-NL" b="0" cap="none" spc="0" dirty="0">
              <a:ln w="0"/>
              <a:solidFill>
                <a:schemeClr val="tx1"/>
              </a:solidFill>
              <a:effectLst>
                <a:outerShdw blurRad="38100" dist="19050" dir="2700000" algn="tl" rotWithShape="0">
                  <a:schemeClr val="dk1">
                    <a:alpha val="40000"/>
                  </a:schemeClr>
                </a:outerShdw>
              </a:effectLst>
            </a:endParaRPr>
          </a:p>
        </p:txBody>
      </p:sp>
      <p:sp>
        <p:nvSpPr>
          <p:cNvPr id="18" name="Rechthoek 17">
            <a:extLst>
              <a:ext uri="{FF2B5EF4-FFF2-40B4-BE49-F238E27FC236}">
                <a16:creationId xmlns:a16="http://schemas.microsoft.com/office/drawing/2014/main" id="{A1333BCC-1E20-4520-1FAD-6FB611E93969}"/>
              </a:ext>
            </a:extLst>
          </p:cNvPr>
          <p:cNvSpPr/>
          <p:nvPr userDrawn="1"/>
        </p:nvSpPr>
        <p:spPr>
          <a:xfrm>
            <a:off x="0" y="0"/>
            <a:ext cx="536589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5" name="Rechthoek 14">
            <a:extLst>
              <a:ext uri="{FF2B5EF4-FFF2-40B4-BE49-F238E27FC236}">
                <a16:creationId xmlns:a16="http://schemas.microsoft.com/office/drawing/2014/main" id="{4AA3B38D-ECFB-1CDD-CD97-93F615103333}"/>
              </a:ext>
            </a:extLst>
          </p:cNvPr>
          <p:cNvSpPr/>
          <p:nvPr userDrawn="1"/>
        </p:nvSpPr>
        <p:spPr>
          <a:xfrm>
            <a:off x="5248024" y="-430820"/>
            <a:ext cx="1695977"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lvl="0" algn="ctr"/>
            <a:r>
              <a:rPr lang="nl-NL" sz="1800" b="0" cap="none" baseline="0" noProof="0" dirty="0">
                <a:solidFill>
                  <a:schemeClr val="accent3"/>
                </a:solidFill>
                <a:latin typeface="+mj-lt"/>
              </a:rPr>
              <a:t>Tekst + grafiek</a:t>
            </a:r>
          </a:p>
        </p:txBody>
      </p:sp>
      <p:sp>
        <p:nvSpPr>
          <p:cNvPr id="133" name="Tijdelijke aanduiding voor tekst 93">
            <a:extLst>
              <a:ext uri="{FF2B5EF4-FFF2-40B4-BE49-F238E27FC236}">
                <a16:creationId xmlns:a16="http://schemas.microsoft.com/office/drawing/2014/main" id="{783BA7E4-945A-E792-4C2B-1E459AD70C7A}"/>
              </a:ext>
            </a:extLst>
          </p:cNvPr>
          <p:cNvSpPr>
            <a:spLocks noGrp="1"/>
          </p:cNvSpPr>
          <p:nvPr>
            <p:ph type="body" sz="quarter" idx="28" hasCustomPrompt="1"/>
          </p:nvPr>
        </p:nvSpPr>
        <p:spPr>
          <a:xfrm>
            <a:off x="719139" y="1951352"/>
            <a:ext cx="3934553" cy="4033524"/>
          </a:xfrm>
        </p:spPr>
        <p:txBody>
          <a:bodyPr/>
          <a:lstStyle/>
          <a:p>
            <a:pPr lvl="0"/>
            <a:r>
              <a:rPr lang="nl-NL" noProof="0" dirty="0" err="1"/>
              <a:t>Bullet</a:t>
            </a:r>
            <a:endParaRPr lang="nl-NL" noProof="0" dirty="0"/>
          </a:p>
          <a:p>
            <a:pPr lvl="1"/>
            <a:r>
              <a:rPr lang="nl-NL" noProof="0" dirty="0"/>
              <a:t>Sub-</a:t>
            </a:r>
            <a:r>
              <a:rPr lang="nl-NL" noProof="0" dirty="0" err="1"/>
              <a:t>bullet</a:t>
            </a:r>
            <a:r>
              <a:rPr lang="nl-NL" noProof="0" dirty="0"/>
              <a:t> #1</a:t>
            </a:r>
          </a:p>
          <a:p>
            <a:pPr lvl="2"/>
            <a:r>
              <a:rPr lang="nl-NL" noProof="0" dirty="0"/>
              <a:t>Sub-</a:t>
            </a:r>
            <a:r>
              <a:rPr lang="nl-NL" noProof="0" dirty="0" err="1"/>
              <a:t>bullet</a:t>
            </a:r>
            <a:r>
              <a:rPr lang="nl-NL" noProof="0" dirty="0"/>
              <a:t> #2</a:t>
            </a:r>
          </a:p>
          <a:p>
            <a:pPr lvl="3"/>
            <a:r>
              <a:rPr lang="nl-NL" noProof="0" dirty="0"/>
              <a:t>Leestekst</a:t>
            </a:r>
          </a:p>
          <a:p>
            <a:pPr lvl="4"/>
            <a:r>
              <a:rPr lang="nl-NL" noProof="0" dirty="0"/>
              <a:t>Subtitel #1</a:t>
            </a:r>
          </a:p>
          <a:p>
            <a:pPr lvl="5"/>
            <a:r>
              <a:rPr lang="nl-NL" noProof="0" dirty="0"/>
              <a:t>Alt. subtitel #2</a:t>
            </a:r>
          </a:p>
          <a:p>
            <a:pPr lvl="6"/>
            <a:r>
              <a:rPr lang="nl-NL" noProof="0" dirty="0"/>
              <a:t>Numerieke </a:t>
            </a:r>
            <a:r>
              <a:rPr lang="nl-NL" noProof="0" dirty="0" err="1"/>
              <a:t>bullet</a:t>
            </a:r>
            <a:endParaRPr lang="nl-NL" noProof="0" dirty="0"/>
          </a:p>
          <a:p>
            <a:pPr lvl="7"/>
            <a:r>
              <a:rPr lang="nl-NL" noProof="0" dirty="0"/>
              <a:t>Alfabetische </a:t>
            </a:r>
            <a:r>
              <a:rPr lang="nl-NL" noProof="0" dirty="0" err="1"/>
              <a:t>bullet</a:t>
            </a:r>
            <a:endParaRPr lang="nl-NL" noProof="0" dirty="0"/>
          </a:p>
          <a:p>
            <a:pPr lvl="8"/>
            <a:r>
              <a:rPr lang="nl-NL" noProof="0" dirty="0"/>
              <a:t>Bron</a:t>
            </a:r>
          </a:p>
        </p:txBody>
      </p:sp>
      <p:sp>
        <p:nvSpPr>
          <p:cNvPr id="134" name="Titel 133">
            <a:extLst>
              <a:ext uri="{FF2B5EF4-FFF2-40B4-BE49-F238E27FC236}">
                <a16:creationId xmlns:a16="http://schemas.microsoft.com/office/drawing/2014/main" id="{1FB82B0B-5109-249B-9C44-BC3DE31CC1BF}"/>
              </a:ext>
            </a:extLst>
          </p:cNvPr>
          <p:cNvSpPr>
            <a:spLocks noGrp="1"/>
          </p:cNvSpPr>
          <p:nvPr>
            <p:ph type="title" hasCustomPrompt="1"/>
          </p:nvPr>
        </p:nvSpPr>
        <p:spPr>
          <a:xfrm>
            <a:off x="720000" y="720000"/>
            <a:ext cx="3934553" cy="873850"/>
          </a:xfrm>
        </p:spPr>
        <p:txBody>
          <a:bodyPr/>
          <a:lstStyle>
            <a:lvl1pPr>
              <a:defRPr/>
            </a:lvl1pPr>
          </a:lstStyle>
          <a:p>
            <a:r>
              <a:rPr lang="nl-NL" dirty="0"/>
              <a:t>Plaats titel hier</a:t>
            </a:r>
            <a:br>
              <a:rPr lang="nl-NL" dirty="0"/>
            </a:br>
            <a:r>
              <a:rPr lang="nl-NL" dirty="0"/>
              <a:t>(Max. 2 regels).</a:t>
            </a:r>
          </a:p>
        </p:txBody>
      </p:sp>
      <p:sp>
        <p:nvSpPr>
          <p:cNvPr id="136" name="Tijdelijke aanduiding voor grafiek 135">
            <a:extLst>
              <a:ext uri="{FF2B5EF4-FFF2-40B4-BE49-F238E27FC236}">
                <a16:creationId xmlns:a16="http://schemas.microsoft.com/office/drawing/2014/main" id="{B479DB9E-B4AC-6B85-9E4A-4D9941F78712}"/>
              </a:ext>
            </a:extLst>
          </p:cNvPr>
          <p:cNvSpPr>
            <a:spLocks noGrp="1"/>
          </p:cNvSpPr>
          <p:nvPr>
            <p:ph type="chart" sz="quarter" idx="29" hasCustomPrompt="1"/>
          </p:nvPr>
        </p:nvSpPr>
        <p:spPr>
          <a:xfrm>
            <a:off x="6096000" y="720725"/>
            <a:ext cx="5375275" cy="5264150"/>
          </a:xfrm>
        </p:spPr>
        <p:txBody>
          <a:bodyPr bIns="1260000" anchor="ctr"/>
          <a:lstStyle>
            <a:lvl1pPr marL="0" indent="0" algn="ctr">
              <a:spcBef>
                <a:spcPts val="0"/>
              </a:spcBef>
              <a:spcAft>
                <a:spcPts val="0"/>
              </a:spcAft>
              <a:buNone/>
              <a:defRPr sz="1200" i="1">
                <a:solidFill>
                  <a:schemeClr val="bg1">
                    <a:lumMod val="50000"/>
                  </a:schemeClr>
                </a:solidFill>
              </a:defRPr>
            </a:lvl1pPr>
          </a:lstStyle>
          <a:p>
            <a:r>
              <a:rPr lang="nl-NL" dirty="0"/>
              <a:t>Klik op onderstaand pictogram </a:t>
            </a:r>
            <a:br>
              <a:rPr lang="nl-NL" dirty="0"/>
            </a:br>
            <a:r>
              <a:rPr lang="nl-NL" dirty="0"/>
              <a:t>om een grafiek in te voegen</a:t>
            </a:r>
          </a:p>
        </p:txBody>
      </p:sp>
      <p:sp>
        <p:nvSpPr>
          <p:cNvPr id="146" name="Tijdelijke aanduiding voor datum 145">
            <a:extLst>
              <a:ext uri="{FF2B5EF4-FFF2-40B4-BE49-F238E27FC236}">
                <a16:creationId xmlns:a16="http://schemas.microsoft.com/office/drawing/2014/main" id="{FA7B9379-1654-BA11-36F8-E1ACEB6AE79E}"/>
              </a:ext>
            </a:extLst>
          </p:cNvPr>
          <p:cNvSpPr>
            <a:spLocks noGrp="1"/>
          </p:cNvSpPr>
          <p:nvPr>
            <p:ph type="dt" sz="half" idx="30"/>
          </p:nvPr>
        </p:nvSpPr>
        <p:spPr/>
        <p:txBody>
          <a:bodyPr/>
          <a:lstStyle/>
          <a:p>
            <a:fld id="{0F079486-009C-41C2-80B5-21D606D15BCE}" type="datetime4">
              <a:rPr lang="nl-NL" smtClean="0"/>
              <a:t>10 oktober 2023</a:t>
            </a:fld>
            <a:endParaRPr lang="nl-NL" dirty="0"/>
          </a:p>
        </p:txBody>
      </p:sp>
      <p:sp>
        <p:nvSpPr>
          <p:cNvPr id="147" name="Tijdelijke aanduiding voor voettekst 146">
            <a:extLst>
              <a:ext uri="{FF2B5EF4-FFF2-40B4-BE49-F238E27FC236}">
                <a16:creationId xmlns:a16="http://schemas.microsoft.com/office/drawing/2014/main" id="{C80CDC21-274A-E464-6BB2-E7A3EB06F65A}"/>
              </a:ext>
            </a:extLst>
          </p:cNvPr>
          <p:cNvSpPr>
            <a:spLocks noGrp="1"/>
          </p:cNvSpPr>
          <p:nvPr>
            <p:ph type="ftr" sz="quarter" idx="31"/>
          </p:nvPr>
        </p:nvSpPr>
        <p:spPr/>
        <p:txBody>
          <a:bodyPr/>
          <a:lstStyle/>
          <a:p>
            <a:pPr algn="r"/>
            <a:r>
              <a:rPr lang="nl-NL"/>
              <a:t>Zeeuwse Zorg Coalitie  |  Plaats hier je voettekst</a:t>
            </a:r>
            <a:endParaRPr lang="nl-NL" dirty="0"/>
          </a:p>
        </p:txBody>
      </p:sp>
      <p:sp>
        <p:nvSpPr>
          <p:cNvPr id="148" name="Tijdelijke aanduiding voor dianummer 147">
            <a:extLst>
              <a:ext uri="{FF2B5EF4-FFF2-40B4-BE49-F238E27FC236}">
                <a16:creationId xmlns:a16="http://schemas.microsoft.com/office/drawing/2014/main" id="{CE7572AB-907F-3822-5834-72F104BFEAB4}"/>
              </a:ext>
            </a:extLst>
          </p:cNvPr>
          <p:cNvSpPr>
            <a:spLocks noGrp="1"/>
          </p:cNvSpPr>
          <p:nvPr>
            <p:ph type="sldNum" sz="quarter" idx="32"/>
          </p:nvPr>
        </p:nvSpPr>
        <p:spPr/>
        <p:txBody>
          <a:bodyPr/>
          <a:lstStyle/>
          <a:p>
            <a:fld id="{9E843DB9-9987-4157-AB9C-CEA8D7D910BB}" type="slidenum">
              <a:rPr lang="nl-NL" smtClean="0"/>
              <a:pPr/>
              <a:t>‹nr.›</a:t>
            </a:fld>
            <a:endParaRPr lang="nl-NL" dirty="0"/>
          </a:p>
        </p:txBody>
      </p:sp>
      <p:grpSp>
        <p:nvGrpSpPr>
          <p:cNvPr id="149" name="INSTRUCTIE">
            <a:extLst>
              <a:ext uri="{FF2B5EF4-FFF2-40B4-BE49-F238E27FC236}">
                <a16:creationId xmlns:a16="http://schemas.microsoft.com/office/drawing/2014/main" id="{8C57FDE6-BBE8-89B3-290A-BD3CA59D4AF3}"/>
              </a:ext>
            </a:extLst>
          </p:cNvPr>
          <p:cNvGrpSpPr/>
          <p:nvPr userDrawn="1"/>
        </p:nvGrpSpPr>
        <p:grpSpPr>
          <a:xfrm>
            <a:off x="12377595" y="1"/>
            <a:ext cx="3693386" cy="6233352"/>
            <a:chOff x="-3786437" y="1"/>
            <a:chExt cx="3693386" cy="6233352"/>
          </a:xfrm>
        </p:grpSpPr>
        <p:grpSp>
          <p:nvGrpSpPr>
            <p:cNvPr id="150" name="Groep 149">
              <a:extLst>
                <a:ext uri="{FF2B5EF4-FFF2-40B4-BE49-F238E27FC236}">
                  <a16:creationId xmlns:a16="http://schemas.microsoft.com/office/drawing/2014/main" id="{BAD4BB2D-D206-7FFB-D95B-AE3D0B390884}"/>
                </a:ext>
              </a:extLst>
            </p:cNvPr>
            <p:cNvGrpSpPr/>
            <p:nvPr userDrawn="1"/>
          </p:nvGrpSpPr>
          <p:grpSpPr>
            <a:xfrm>
              <a:off x="-3786437" y="3752148"/>
              <a:ext cx="3693386" cy="2481205"/>
              <a:chOff x="-3786437" y="3752148"/>
              <a:chExt cx="3693386" cy="2481205"/>
            </a:xfrm>
          </p:grpSpPr>
          <p:sp>
            <p:nvSpPr>
              <p:cNvPr id="170" name="Rechthoek 169">
                <a:extLst>
                  <a:ext uri="{FF2B5EF4-FFF2-40B4-BE49-F238E27FC236}">
                    <a16:creationId xmlns:a16="http://schemas.microsoft.com/office/drawing/2014/main" id="{53288500-FF4B-985B-CBCE-9CFA3DC8CCA7}"/>
                  </a:ext>
                </a:extLst>
              </p:cNvPr>
              <p:cNvSpPr/>
              <p:nvPr userDrawn="1"/>
            </p:nvSpPr>
            <p:spPr>
              <a:xfrm>
                <a:off x="-3786165" y="3752148"/>
                <a:ext cx="3593091" cy="1752600"/>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data bewerken</a:t>
                </a:r>
              </a:p>
            </p:txBody>
          </p:sp>
          <p:sp>
            <p:nvSpPr>
              <p:cNvPr id="171" name="Ovaal 170">
                <a:extLst>
                  <a:ext uri="{FF2B5EF4-FFF2-40B4-BE49-F238E27FC236}">
                    <a16:creationId xmlns:a16="http://schemas.microsoft.com/office/drawing/2014/main" id="{A00D97B0-C3B2-BE8E-44B8-0EF6DC5BD87A}"/>
                  </a:ext>
                </a:extLst>
              </p:cNvPr>
              <p:cNvSpPr/>
              <p:nvPr userDrawn="1"/>
            </p:nvSpPr>
            <p:spPr>
              <a:xfrm>
                <a:off x="-3603587" y="4216746"/>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72" name="Rechthoek 171">
                <a:extLst>
                  <a:ext uri="{FF2B5EF4-FFF2-40B4-BE49-F238E27FC236}">
                    <a16:creationId xmlns:a16="http://schemas.microsoft.com/office/drawing/2014/main" id="{B910037B-8D98-762A-4D99-F1871B184676}"/>
                  </a:ext>
                </a:extLst>
              </p:cNvPr>
              <p:cNvSpPr/>
              <p:nvPr userDrawn="1"/>
            </p:nvSpPr>
            <p:spPr>
              <a:xfrm>
                <a:off x="-3319415" y="4216747"/>
                <a:ext cx="2944682" cy="327689"/>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lik met de rechter muisknop op d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ies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gevens bewerk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73" name="Groep 172">
                <a:extLst>
                  <a:ext uri="{FF2B5EF4-FFF2-40B4-BE49-F238E27FC236}">
                    <a16:creationId xmlns:a16="http://schemas.microsoft.com/office/drawing/2014/main" id="{7E4A68EA-71B6-8BE9-6106-E34C33CAD17C}"/>
                  </a:ext>
                </a:extLst>
              </p:cNvPr>
              <p:cNvGrpSpPr/>
              <p:nvPr userDrawn="1"/>
            </p:nvGrpSpPr>
            <p:grpSpPr>
              <a:xfrm>
                <a:off x="-3314821" y="4656539"/>
                <a:ext cx="1495189" cy="563933"/>
                <a:chOff x="-3314821" y="3310415"/>
                <a:chExt cx="1495189" cy="563933"/>
              </a:xfrm>
            </p:grpSpPr>
            <p:sp>
              <p:nvSpPr>
                <p:cNvPr id="178" name="Rechthoek 177">
                  <a:extLst>
                    <a:ext uri="{FF2B5EF4-FFF2-40B4-BE49-F238E27FC236}">
                      <a16:creationId xmlns:a16="http://schemas.microsoft.com/office/drawing/2014/main" id="{967BC2FA-61D6-32BE-EA0F-292C79A31B1C}"/>
                    </a:ext>
                  </a:extLst>
                </p:cNvPr>
                <p:cNvSpPr/>
                <p:nvPr userDrawn="1"/>
              </p:nvSpPr>
              <p:spPr>
                <a:xfrm>
                  <a:off x="-3314821" y="3310415"/>
                  <a:ext cx="1403797" cy="504851"/>
                </a:xfrm>
                <a:prstGeom prst="rect">
                  <a:avLst/>
                </a:prstGeom>
                <a:solidFill>
                  <a:srgbClr val="FFFFFF"/>
                </a:solidFill>
                <a:ln w="12700">
                  <a:solidFill>
                    <a:srgbClr val="D1D1D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endParaRPr lang="nl-NL" sz="800" b="0" noProof="0" dirty="0">
                    <a:solidFill>
                      <a:srgbClr val="211F26"/>
                    </a:solidFill>
                    <a:latin typeface="Calibri" panose="020F0502020204030204" pitchFamily="34" charset="0"/>
                    <a:cs typeface="Calibri" panose="020F0502020204030204" pitchFamily="34" charset="0"/>
                  </a:endParaRPr>
                </a:p>
              </p:txBody>
            </p:sp>
            <p:sp>
              <p:nvSpPr>
                <p:cNvPr id="179" name="Rechthoek 178">
                  <a:extLst>
                    <a:ext uri="{FF2B5EF4-FFF2-40B4-BE49-F238E27FC236}">
                      <a16:creationId xmlns:a16="http://schemas.microsoft.com/office/drawing/2014/main" id="{3AE77995-B5A6-B000-AFEA-77C2C57DB339}"/>
                    </a:ext>
                  </a:extLst>
                </p:cNvPr>
                <p:cNvSpPr/>
                <p:nvPr userDrawn="1"/>
              </p:nvSpPr>
              <p:spPr>
                <a:xfrm>
                  <a:off x="-3304719" y="3564140"/>
                  <a:ext cx="1387813" cy="246608"/>
                </a:xfrm>
                <a:prstGeom prst="rect">
                  <a:avLst/>
                </a:prstGeom>
                <a:solidFill>
                  <a:srgbClr val="FCE4D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sp>
              <p:nvSpPr>
                <p:cNvPr id="180" name="Tekstvak 179">
                  <a:extLst>
                    <a:ext uri="{FF2B5EF4-FFF2-40B4-BE49-F238E27FC236}">
                      <a16:creationId xmlns:a16="http://schemas.microsoft.com/office/drawing/2014/main" id="{B5B68978-9F5D-5525-D5C2-038D3862890E}"/>
                    </a:ext>
                  </a:extLst>
                </p:cNvPr>
                <p:cNvSpPr txBox="1"/>
                <p:nvPr userDrawn="1"/>
              </p:nvSpPr>
              <p:spPr>
                <a:xfrm>
                  <a:off x="-3122115" y="3369117"/>
                  <a:ext cx="1258624" cy="137495"/>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rafiektype wijzigen</a:t>
                  </a:r>
                </a:p>
              </p:txBody>
            </p:sp>
            <p:sp>
              <p:nvSpPr>
                <p:cNvPr id="181" name="Tekstvak 180">
                  <a:extLst>
                    <a:ext uri="{FF2B5EF4-FFF2-40B4-BE49-F238E27FC236}">
                      <a16:creationId xmlns:a16="http://schemas.microsoft.com/office/drawing/2014/main" id="{0791DCF7-D922-BAFE-7B31-DD75B2B7A00D}"/>
                    </a:ext>
                  </a:extLst>
                </p:cNvPr>
                <p:cNvSpPr txBox="1"/>
                <p:nvPr userDrawn="1"/>
              </p:nvSpPr>
              <p:spPr>
                <a:xfrm>
                  <a:off x="-3115840" y="3624236"/>
                  <a:ext cx="1296208" cy="126416"/>
                </a:xfrm>
                <a:prstGeom prst="rect">
                  <a:avLst/>
                </a:prstGeom>
                <a:noFill/>
              </p:spPr>
              <p:txBody>
                <a:bodyPr wrap="square" rtlCol="0" anchor="ctr">
                  <a:noAutofit/>
                </a:bodyPr>
                <a:lstStyle/>
                <a:p>
                  <a:pPr marL="0" algn="l" defTabSz="1217512" rtl="0" eaLnBrk="1" latinLnBrk="0" hangingPunct="1">
                    <a:lnSpc>
                      <a:spcPct val="90000"/>
                    </a:lnSpc>
                    <a:spcBef>
                      <a:spcPts val="600"/>
                    </a:spcBef>
                    <a:spcAft>
                      <a:spcPts val="600"/>
                    </a:spcAft>
                  </a:pPr>
                  <a:r>
                    <a:rPr lang="nl-NL" sz="900" b="0" kern="1200" noProof="0" dirty="0">
                      <a:solidFill>
                        <a:srgbClr val="211F26"/>
                      </a:solidFill>
                      <a:latin typeface="Calibri" panose="020F0502020204030204" pitchFamily="34" charset="0"/>
                      <a:ea typeface="+mn-ea"/>
                      <a:cs typeface="Calibri" panose="020F0502020204030204" pitchFamily="34" charset="0"/>
                    </a:rPr>
                    <a:t>Gegevens bewerken</a:t>
                  </a:r>
                </a:p>
              </p:txBody>
            </p:sp>
            <p:sp>
              <p:nvSpPr>
                <p:cNvPr id="182" name="Vrije vorm: vorm 181">
                  <a:extLst>
                    <a:ext uri="{FF2B5EF4-FFF2-40B4-BE49-F238E27FC236}">
                      <a16:creationId xmlns:a16="http://schemas.microsoft.com/office/drawing/2014/main" id="{00C21B45-B65E-5FD1-2E59-EBCDBEE3CD45}"/>
                    </a:ext>
                  </a:extLst>
                </p:cNvPr>
                <p:cNvSpPr/>
                <p:nvPr userDrawn="1"/>
              </p:nvSpPr>
              <p:spPr>
                <a:xfrm>
                  <a:off x="-1959834" y="3694348"/>
                  <a:ext cx="97562" cy="180000"/>
                </a:xfrm>
                <a:custGeom>
                  <a:avLst/>
                  <a:gdLst>
                    <a:gd name="connsiteX0" fmla="*/ 0 w 880280"/>
                    <a:gd name="connsiteY0" fmla="*/ 0 h 1624084"/>
                    <a:gd name="connsiteX1" fmla="*/ 0 w 880280"/>
                    <a:gd name="connsiteY1" fmla="*/ 1262418 h 1624084"/>
                    <a:gd name="connsiteX2" fmla="*/ 341194 w 880280"/>
                    <a:gd name="connsiteY2" fmla="*/ 96899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27546 w 880280"/>
                    <a:gd name="connsiteY2" fmla="*/ 975815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00250 w 880280"/>
                    <a:gd name="connsiteY2" fmla="*/ 1003111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25438 w 880280"/>
                    <a:gd name="connsiteY5" fmla="*/ 928048 h 1624084"/>
                    <a:gd name="connsiteX6" fmla="*/ 511791 w 880280"/>
                    <a:gd name="connsiteY6" fmla="*/ 900753 h 1624084"/>
                    <a:gd name="connsiteX7" fmla="*/ 880280 w 880280"/>
                    <a:gd name="connsiteY7" fmla="*/ 893929 h 1624084"/>
                    <a:gd name="connsiteX8" fmla="*/ 0 w 880280"/>
                    <a:gd name="connsiteY8"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511791 w 880280"/>
                    <a:gd name="connsiteY5" fmla="*/ 900753 h 1624084"/>
                    <a:gd name="connsiteX6" fmla="*/ 880280 w 880280"/>
                    <a:gd name="connsiteY6" fmla="*/ 893929 h 1624084"/>
                    <a:gd name="connsiteX7" fmla="*/ 0 w 880280"/>
                    <a:gd name="connsiteY7" fmla="*/ 0 h 1624084"/>
                    <a:gd name="connsiteX0" fmla="*/ 0 w 880280"/>
                    <a:gd name="connsiteY0" fmla="*/ 0 h 1624084"/>
                    <a:gd name="connsiteX1" fmla="*/ 0 w 880280"/>
                    <a:gd name="connsiteY1" fmla="*/ 1262418 h 1624084"/>
                    <a:gd name="connsiteX2" fmla="*/ 313898 w 880280"/>
                    <a:gd name="connsiteY2" fmla="*/ 996287 h 1624084"/>
                    <a:gd name="connsiteX3" fmla="*/ 620973 w 880280"/>
                    <a:gd name="connsiteY3" fmla="*/ 1624084 h 1624084"/>
                    <a:gd name="connsiteX4" fmla="*/ 839337 w 880280"/>
                    <a:gd name="connsiteY4" fmla="*/ 1480782 h 1624084"/>
                    <a:gd name="connsiteX5" fmla="*/ 498144 w 880280"/>
                    <a:gd name="connsiteY5" fmla="*/ 900753 h 1624084"/>
                    <a:gd name="connsiteX6" fmla="*/ 880280 w 880280"/>
                    <a:gd name="connsiteY6" fmla="*/ 893929 h 1624084"/>
                    <a:gd name="connsiteX7" fmla="*/ 0 w 880280"/>
                    <a:gd name="connsiteY7" fmla="*/ 0 h 16240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280" h="1624084">
                      <a:moveTo>
                        <a:pt x="0" y="0"/>
                      </a:moveTo>
                      <a:lnTo>
                        <a:pt x="0" y="1262418"/>
                      </a:lnTo>
                      <a:lnTo>
                        <a:pt x="313898" y="996287"/>
                      </a:lnTo>
                      <a:lnTo>
                        <a:pt x="620973" y="1624084"/>
                      </a:lnTo>
                      <a:lnTo>
                        <a:pt x="839337" y="1480782"/>
                      </a:lnTo>
                      <a:lnTo>
                        <a:pt x="498144" y="900753"/>
                      </a:lnTo>
                      <a:lnTo>
                        <a:pt x="880280" y="893929"/>
                      </a:lnTo>
                      <a:lnTo>
                        <a:pt x="0" y="0"/>
                      </a:lnTo>
                      <a:close/>
                    </a:path>
                  </a:pathLst>
                </a:cu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grpSp>
              <p:nvGrpSpPr>
                <p:cNvPr id="183" name="Groep 182">
                  <a:extLst>
                    <a:ext uri="{FF2B5EF4-FFF2-40B4-BE49-F238E27FC236}">
                      <a16:creationId xmlns:a16="http://schemas.microsoft.com/office/drawing/2014/main" id="{6EA6C28B-3972-92CB-4C4D-44040D60071F}"/>
                    </a:ext>
                  </a:extLst>
                </p:cNvPr>
                <p:cNvGrpSpPr/>
                <p:nvPr userDrawn="1"/>
              </p:nvGrpSpPr>
              <p:grpSpPr>
                <a:xfrm>
                  <a:off x="-3261976" y="3361742"/>
                  <a:ext cx="139861" cy="152244"/>
                  <a:chOff x="12574450" y="6053892"/>
                  <a:chExt cx="169232" cy="184215"/>
                </a:xfrm>
              </p:grpSpPr>
              <p:sp>
                <p:nvSpPr>
                  <p:cNvPr id="203" name="Rechthoek 202">
                    <a:extLst>
                      <a:ext uri="{FF2B5EF4-FFF2-40B4-BE49-F238E27FC236}">
                        <a16:creationId xmlns:a16="http://schemas.microsoft.com/office/drawing/2014/main" id="{3FB99941-4CBB-DAEC-92D6-2A4EB1358283}"/>
                      </a:ext>
                    </a:extLst>
                  </p:cNvPr>
                  <p:cNvSpPr/>
                  <p:nvPr userDrawn="1"/>
                </p:nvSpPr>
                <p:spPr>
                  <a:xfrm>
                    <a:off x="12574450" y="6111529"/>
                    <a:ext cx="46293" cy="12657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204" name="Rechthoek 203">
                    <a:extLst>
                      <a:ext uri="{FF2B5EF4-FFF2-40B4-BE49-F238E27FC236}">
                        <a16:creationId xmlns:a16="http://schemas.microsoft.com/office/drawing/2014/main" id="{2F77DAB3-22B5-E32C-4312-B942716CE494}"/>
                      </a:ext>
                    </a:extLst>
                  </p:cNvPr>
                  <p:cNvSpPr/>
                  <p:nvPr userDrawn="1"/>
                </p:nvSpPr>
                <p:spPr>
                  <a:xfrm>
                    <a:off x="12635427" y="6053892"/>
                    <a:ext cx="46293" cy="184215"/>
                  </a:xfrm>
                  <a:prstGeom prst="rect">
                    <a:avLst/>
                  </a:prstGeom>
                  <a:solidFill>
                    <a:srgbClr val="EDC8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sp>
                <p:nvSpPr>
                  <p:cNvPr id="205" name="Rechthoek 204">
                    <a:extLst>
                      <a:ext uri="{FF2B5EF4-FFF2-40B4-BE49-F238E27FC236}">
                        <a16:creationId xmlns:a16="http://schemas.microsoft.com/office/drawing/2014/main" id="{2CBAD63A-94F2-B117-C0C0-4E38CE05A899}"/>
                      </a:ext>
                    </a:extLst>
                  </p:cNvPr>
                  <p:cNvSpPr/>
                  <p:nvPr userDrawn="1"/>
                </p:nvSpPr>
                <p:spPr>
                  <a:xfrm>
                    <a:off x="12697389" y="6094907"/>
                    <a:ext cx="46293" cy="143200"/>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184" name="Groep 183">
                  <a:extLst>
                    <a:ext uri="{FF2B5EF4-FFF2-40B4-BE49-F238E27FC236}">
                      <a16:creationId xmlns:a16="http://schemas.microsoft.com/office/drawing/2014/main" id="{6E954E16-694D-203D-7558-82248A4F92A4}"/>
                    </a:ext>
                  </a:extLst>
                </p:cNvPr>
                <p:cNvGrpSpPr/>
                <p:nvPr userDrawn="1"/>
              </p:nvGrpSpPr>
              <p:grpSpPr>
                <a:xfrm>
                  <a:off x="-3261070" y="3635199"/>
                  <a:ext cx="168905" cy="104490"/>
                  <a:chOff x="-3261070" y="3620931"/>
                  <a:chExt cx="193920" cy="119965"/>
                </a:xfrm>
              </p:grpSpPr>
              <p:sp>
                <p:nvSpPr>
                  <p:cNvPr id="185" name="Rechthoek 184">
                    <a:extLst>
                      <a:ext uri="{FF2B5EF4-FFF2-40B4-BE49-F238E27FC236}">
                        <a16:creationId xmlns:a16="http://schemas.microsoft.com/office/drawing/2014/main" id="{A1B882B7-964B-FCCC-5458-2B065CBAE78E}"/>
                      </a:ext>
                    </a:extLst>
                  </p:cNvPr>
                  <p:cNvSpPr/>
                  <p:nvPr userDrawn="1"/>
                </p:nvSpPr>
                <p:spPr>
                  <a:xfrm>
                    <a:off x="-3261070" y="3643881"/>
                    <a:ext cx="142985" cy="9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86" name="Groep 185">
                    <a:extLst>
                      <a:ext uri="{FF2B5EF4-FFF2-40B4-BE49-F238E27FC236}">
                        <a16:creationId xmlns:a16="http://schemas.microsoft.com/office/drawing/2014/main" id="{23240B45-A119-39C1-5C44-94857C3FABCE}"/>
                      </a:ext>
                    </a:extLst>
                  </p:cNvPr>
                  <p:cNvGrpSpPr/>
                  <p:nvPr userDrawn="1"/>
                </p:nvGrpSpPr>
                <p:grpSpPr>
                  <a:xfrm>
                    <a:off x="-3261070" y="3622063"/>
                    <a:ext cx="141113" cy="117345"/>
                    <a:chOff x="1094874" y="-878306"/>
                    <a:chExt cx="867364" cy="613611"/>
                  </a:xfrm>
                </p:grpSpPr>
                <p:cxnSp>
                  <p:nvCxnSpPr>
                    <p:cNvPr id="196" name="Rechte verbindingslijn 195">
                      <a:extLst>
                        <a:ext uri="{FF2B5EF4-FFF2-40B4-BE49-F238E27FC236}">
                          <a16:creationId xmlns:a16="http://schemas.microsoft.com/office/drawing/2014/main" id="{B2008389-157B-7E41-7053-1BE5A6BA1E3C}"/>
                        </a:ext>
                      </a:extLst>
                    </p:cNvPr>
                    <p:cNvCxnSpPr>
                      <a:cxnSpLocks/>
                    </p:cNvCxnSpPr>
                    <p:nvPr userDrawn="1"/>
                  </p:nvCxnSpPr>
                  <p:spPr>
                    <a:xfrm>
                      <a:off x="1094874" y="-878305"/>
                      <a:ext cx="0" cy="613610"/>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97" name="Rechte verbindingslijn 196">
                      <a:extLst>
                        <a:ext uri="{FF2B5EF4-FFF2-40B4-BE49-F238E27FC236}">
                          <a16:creationId xmlns:a16="http://schemas.microsoft.com/office/drawing/2014/main" id="{2701737C-A5E0-CF97-69F3-83F077BF1364}"/>
                        </a:ext>
                      </a:extLst>
                    </p:cNvPr>
                    <p:cNvCxnSpPr>
                      <a:cxnSpLocks/>
                    </p:cNvCxnSpPr>
                    <p:nvPr userDrawn="1"/>
                  </p:nvCxnSpPr>
                  <p:spPr>
                    <a:xfrm>
                      <a:off x="1962238" y="-878306"/>
                      <a:ext cx="0" cy="613611"/>
                    </a:xfrm>
                    <a:prstGeom prst="line">
                      <a:avLst/>
                    </a:prstGeom>
                    <a:ln>
                      <a:solidFill>
                        <a:srgbClr val="818181"/>
                      </a:solidFill>
                    </a:ln>
                  </p:spPr>
                  <p:style>
                    <a:lnRef idx="1">
                      <a:schemeClr val="accent1"/>
                    </a:lnRef>
                    <a:fillRef idx="0">
                      <a:schemeClr val="accent1"/>
                    </a:fillRef>
                    <a:effectRef idx="0">
                      <a:schemeClr val="accent1"/>
                    </a:effectRef>
                    <a:fontRef idx="minor">
                      <a:schemeClr val="tx1"/>
                    </a:fontRef>
                  </p:style>
                </p:cxnSp>
                <p:grpSp>
                  <p:nvGrpSpPr>
                    <p:cNvPr id="198" name="Groep 197">
                      <a:extLst>
                        <a:ext uri="{FF2B5EF4-FFF2-40B4-BE49-F238E27FC236}">
                          <a16:creationId xmlns:a16="http://schemas.microsoft.com/office/drawing/2014/main" id="{DDADD002-FA57-BC63-5D00-193F6DC06A6B}"/>
                        </a:ext>
                      </a:extLst>
                    </p:cNvPr>
                    <p:cNvGrpSpPr/>
                    <p:nvPr userDrawn="1"/>
                  </p:nvGrpSpPr>
                  <p:grpSpPr>
                    <a:xfrm>
                      <a:off x="1270535" y="-878306"/>
                      <a:ext cx="526983" cy="613611"/>
                      <a:chOff x="1270535" y="-745959"/>
                      <a:chExt cx="526983" cy="481264"/>
                    </a:xfrm>
                  </p:grpSpPr>
                  <p:cxnSp>
                    <p:nvCxnSpPr>
                      <p:cNvPr id="199" name="Rechte verbindingslijn 198">
                        <a:extLst>
                          <a:ext uri="{FF2B5EF4-FFF2-40B4-BE49-F238E27FC236}">
                            <a16:creationId xmlns:a16="http://schemas.microsoft.com/office/drawing/2014/main" id="{1D2C212B-7C58-9807-D9E4-4D0FB5D791AE}"/>
                          </a:ext>
                        </a:extLst>
                      </p:cNvPr>
                      <p:cNvCxnSpPr>
                        <a:cxnSpLocks/>
                      </p:cNvCxnSpPr>
                      <p:nvPr userDrawn="1"/>
                    </p:nvCxnSpPr>
                    <p:spPr>
                      <a:xfrm>
                        <a:off x="1446196"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00" name="Rechte verbindingslijn 199">
                        <a:extLst>
                          <a:ext uri="{FF2B5EF4-FFF2-40B4-BE49-F238E27FC236}">
                            <a16:creationId xmlns:a16="http://schemas.microsoft.com/office/drawing/2014/main" id="{0F0FD9FB-A5C6-AB89-542D-BDC2F2951BE8}"/>
                          </a:ext>
                        </a:extLst>
                      </p:cNvPr>
                      <p:cNvCxnSpPr>
                        <a:cxnSpLocks/>
                      </p:cNvCxnSpPr>
                      <p:nvPr userDrawn="1"/>
                    </p:nvCxnSpPr>
                    <p:spPr>
                      <a:xfrm>
                        <a:off x="1270535"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01" name="Rechte verbindingslijn 200">
                        <a:extLst>
                          <a:ext uri="{FF2B5EF4-FFF2-40B4-BE49-F238E27FC236}">
                            <a16:creationId xmlns:a16="http://schemas.microsoft.com/office/drawing/2014/main" id="{1952816A-22E2-18F7-D7E0-AD11195B0DD2}"/>
                          </a:ext>
                        </a:extLst>
                      </p:cNvPr>
                      <p:cNvCxnSpPr>
                        <a:cxnSpLocks/>
                      </p:cNvCxnSpPr>
                      <p:nvPr userDrawn="1"/>
                    </p:nvCxnSpPr>
                    <p:spPr>
                      <a:xfrm>
                        <a:off x="1621857"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202" name="Rechte verbindingslijn 201">
                        <a:extLst>
                          <a:ext uri="{FF2B5EF4-FFF2-40B4-BE49-F238E27FC236}">
                            <a16:creationId xmlns:a16="http://schemas.microsoft.com/office/drawing/2014/main" id="{3230E0EA-6A7A-1D5B-EFBB-230E1CA8BC52}"/>
                          </a:ext>
                        </a:extLst>
                      </p:cNvPr>
                      <p:cNvCxnSpPr>
                        <a:cxnSpLocks/>
                      </p:cNvCxnSpPr>
                      <p:nvPr userDrawn="1"/>
                    </p:nvCxnSpPr>
                    <p:spPr>
                      <a:xfrm>
                        <a:off x="1797518" y="-745959"/>
                        <a:ext cx="0" cy="481264"/>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grpSp>
              </p:grpSp>
              <p:cxnSp>
                <p:nvCxnSpPr>
                  <p:cNvPr id="187" name="Rechte verbindingslijn 186">
                    <a:extLst>
                      <a:ext uri="{FF2B5EF4-FFF2-40B4-BE49-F238E27FC236}">
                        <a16:creationId xmlns:a16="http://schemas.microsoft.com/office/drawing/2014/main" id="{84C2FD34-5E91-C878-6D95-949F104B7B28}"/>
                      </a:ext>
                    </a:extLst>
                  </p:cNvPr>
                  <p:cNvCxnSpPr>
                    <a:cxnSpLocks/>
                  </p:cNvCxnSpPr>
                  <p:nvPr userDrawn="1"/>
                </p:nvCxnSpPr>
                <p:spPr>
                  <a:xfrm flipH="1">
                    <a:off x="-3260471" y="3739408"/>
                    <a:ext cx="143329" cy="0"/>
                  </a:xfrm>
                  <a:prstGeom prst="line">
                    <a:avLst/>
                  </a:prstGeom>
                  <a:ln w="6350">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88" name="Rechte verbindingslijn 187">
                    <a:extLst>
                      <a:ext uri="{FF2B5EF4-FFF2-40B4-BE49-F238E27FC236}">
                        <a16:creationId xmlns:a16="http://schemas.microsoft.com/office/drawing/2014/main" id="{6060537C-5DA2-0168-1CB5-B3B27A6608F0}"/>
                      </a:ext>
                    </a:extLst>
                  </p:cNvPr>
                  <p:cNvCxnSpPr>
                    <a:cxnSpLocks/>
                  </p:cNvCxnSpPr>
                  <p:nvPr userDrawn="1"/>
                </p:nvCxnSpPr>
                <p:spPr>
                  <a:xfrm flipH="1">
                    <a:off x="-3261070" y="3713352"/>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89" name="Rechte verbindingslijn 188">
                    <a:extLst>
                      <a:ext uri="{FF2B5EF4-FFF2-40B4-BE49-F238E27FC236}">
                        <a16:creationId xmlns:a16="http://schemas.microsoft.com/office/drawing/2014/main" id="{FF59C33C-AB7F-4CD0-FE6E-CDE4E818C1DF}"/>
                      </a:ext>
                    </a:extLst>
                  </p:cNvPr>
                  <p:cNvCxnSpPr>
                    <a:cxnSpLocks/>
                  </p:cNvCxnSpPr>
                  <p:nvPr userDrawn="1"/>
                </p:nvCxnSpPr>
                <p:spPr>
                  <a:xfrm flipH="1">
                    <a:off x="-3261070" y="3689677"/>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cxnSp>
                <p:nvCxnSpPr>
                  <p:cNvPr id="190" name="Rechte verbindingslijn 189">
                    <a:extLst>
                      <a:ext uri="{FF2B5EF4-FFF2-40B4-BE49-F238E27FC236}">
                        <a16:creationId xmlns:a16="http://schemas.microsoft.com/office/drawing/2014/main" id="{EA2ABABA-4E57-7C93-4975-F8AF67413914}"/>
                      </a:ext>
                    </a:extLst>
                  </p:cNvPr>
                  <p:cNvCxnSpPr>
                    <a:cxnSpLocks/>
                  </p:cNvCxnSpPr>
                  <p:nvPr userDrawn="1"/>
                </p:nvCxnSpPr>
                <p:spPr>
                  <a:xfrm flipH="1">
                    <a:off x="-3261070" y="3663621"/>
                    <a:ext cx="142893" cy="0"/>
                  </a:xfrm>
                  <a:prstGeom prst="line">
                    <a:avLst/>
                  </a:prstGeom>
                  <a:ln w="3175">
                    <a:solidFill>
                      <a:srgbClr val="818181"/>
                    </a:solidFill>
                  </a:ln>
                </p:spPr>
                <p:style>
                  <a:lnRef idx="1">
                    <a:schemeClr val="accent1"/>
                  </a:lnRef>
                  <a:fillRef idx="0">
                    <a:schemeClr val="accent1"/>
                  </a:fillRef>
                  <a:effectRef idx="0">
                    <a:schemeClr val="accent1"/>
                  </a:effectRef>
                  <a:fontRef idx="minor">
                    <a:schemeClr val="tx1"/>
                  </a:fontRef>
                </p:style>
              </p:cxnSp>
              <p:sp>
                <p:nvSpPr>
                  <p:cNvPr id="191" name="Rechthoek 190">
                    <a:extLst>
                      <a:ext uri="{FF2B5EF4-FFF2-40B4-BE49-F238E27FC236}">
                        <a16:creationId xmlns:a16="http://schemas.microsoft.com/office/drawing/2014/main" id="{22868261-DBC4-5D2C-BEAC-13B62D20C7EA}"/>
                      </a:ext>
                    </a:extLst>
                  </p:cNvPr>
                  <p:cNvSpPr/>
                  <p:nvPr userDrawn="1"/>
                </p:nvSpPr>
                <p:spPr>
                  <a:xfrm>
                    <a:off x="-3261070" y="3620931"/>
                    <a:ext cx="142893" cy="24910"/>
                  </a:xfrm>
                  <a:prstGeom prst="rect">
                    <a:avLst/>
                  </a:prstGeom>
                  <a:solidFill>
                    <a:srgbClr val="8181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nvGrpSpPr>
                  <p:cNvPr id="192" name="Groep 191">
                    <a:extLst>
                      <a:ext uri="{FF2B5EF4-FFF2-40B4-BE49-F238E27FC236}">
                        <a16:creationId xmlns:a16="http://schemas.microsoft.com/office/drawing/2014/main" id="{1AC6D8DE-89F6-A01D-AA39-E4233712F95A}"/>
                      </a:ext>
                    </a:extLst>
                  </p:cNvPr>
                  <p:cNvGrpSpPr/>
                  <p:nvPr userDrawn="1"/>
                </p:nvGrpSpPr>
                <p:grpSpPr>
                  <a:xfrm rot="2700000">
                    <a:off x="-3158000" y="3650045"/>
                    <a:ext cx="34350" cy="147351"/>
                    <a:chOff x="3148392" y="-836646"/>
                    <a:chExt cx="132124" cy="596095"/>
                  </a:xfrm>
                  <a:solidFill>
                    <a:srgbClr val="3399FF"/>
                  </a:solidFill>
                </p:grpSpPr>
                <p:sp>
                  <p:nvSpPr>
                    <p:cNvPr id="193" name="Rechthoek 192">
                      <a:extLst>
                        <a:ext uri="{FF2B5EF4-FFF2-40B4-BE49-F238E27FC236}">
                          <a16:creationId xmlns:a16="http://schemas.microsoft.com/office/drawing/2014/main" id="{B6E93A50-0277-0F40-63C9-311F555D68B2}"/>
                        </a:ext>
                      </a:extLst>
                    </p:cNvPr>
                    <p:cNvSpPr/>
                    <p:nvPr userDrawn="1"/>
                  </p:nvSpPr>
                  <p:spPr>
                    <a:xfrm>
                      <a:off x="3148632" y="-725510"/>
                      <a:ext cx="131884" cy="281356"/>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94" name="Rechthoek: afgeronde bovenhoeken 193">
                      <a:extLst>
                        <a:ext uri="{FF2B5EF4-FFF2-40B4-BE49-F238E27FC236}">
                          <a16:creationId xmlns:a16="http://schemas.microsoft.com/office/drawing/2014/main" id="{06C7A09F-CD67-CBFF-B416-96D9E197951F}"/>
                        </a:ext>
                      </a:extLst>
                    </p:cNvPr>
                    <p:cNvSpPr/>
                    <p:nvPr userDrawn="1"/>
                  </p:nvSpPr>
                  <p:spPr>
                    <a:xfrm>
                      <a:off x="3148556" y="-836646"/>
                      <a:ext cx="131882" cy="87614"/>
                    </a:xfrm>
                    <a:prstGeom prst="round2SameRect">
                      <a:avLst>
                        <a:gd name="adj1" fmla="val 50000"/>
                        <a:gd name="adj2" fmla="val 0"/>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95" name="Gelijkbenige driehoek 194">
                      <a:extLst>
                        <a:ext uri="{FF2B5EF4-FFF2-40B4-BE49-F238E27FC236}">
                          <a16:creationId xmlns:a16="http://schemas.microsoft.com/office/drawing/2014/main" id="{AC687263-93B5-4780-7A87-140898578D15}"/>
                        </a:ext>
                      </a:extLst>
                    </p:cNvPr>
                    <p:cNvSpPr/>
                    <p:nvPr userDrawn="1"/>
                  </p:nvSpPr>
                  <p:spPr>
                    <a:xfrm rot="10800000">
                      <a:off x="3148392" y="-420304"/>
                      <a:ext cx="131887" cy="179753"/>
                    </a:xfrm>
                    <a:prstGeom prst="triangle">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grpSp>
          </p:grpSp>
          <p:sp>
            <p:nvSpPr>
              <p:cNvPr id="174" name="Rechthoek 173">
                <a:extLst>
                  <a:ext uri="{FF2B5EF4-FFF2-40B4-BE49-F238E27FC236}">
                    <a16:creationId xmlns:a16="http://schemas.microsoft.com/office/drawing/2014/main" id="{7C8D52AC-EDD1-D89C-A7BE-A186510BF2EE}"/>
                  </a:ext>
                </a:extLst>
              </p:cNvPr>
              <p:cNvSpPr/>
              <p:nvPr userDrawn="1"/>
            </p:nvSpPr>
            <p:spPr>
              <a:xfrm>
                <a:off x="-3786437" y="5405353"/>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175" name="ICOON_info">
                <a:extLst>
                  <a:ext uri="{FF2B5EF4-FFF2-40B4-BE49-F238E27FC236}">
                    <a16:creationId xmlns:a16="http://schemas.microsoft.com/office/drawing/2014/main" id="{310BFC07-852D-2D20-7697-C56FAAA47705}"/>
                  </a:ext>
                </a:extLst>
              </p:cNvPr>
              <p:cNvGrpSpPr/>
              <p:nvPr userDrawn="1"/>
            </p:nvGrpSpPr>
            <p:grpSpPr>
              <a:xfrm>
                <a:off x="-376736" y="5269335"/>
                <a:ext cx="283685" cy="283685"/>
                <a:chOff x="-510741" y="5913713"/>
                <a:chExt cx="267555" cy="267555"/>
              </a:xfrm>
            </p:grpSpPr>
            <p:sp>
              <p:nvSpPr>
                <p:cNvPr id="176" name="Ovaal 175">
                  <a:extLst>
                    <a:ext uri="{FF2B5EF4-FFF2-40B4-BE49-F238E27FC236}">
                      <a16:creationId xmlns:a16="http://schemas.microsoft.com/office/drawing/2014/main" id="{7F5A25C3-0C30-7066-119F-0988BACC016E}"/>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177" name="Graphic 163" descr="Informatie">
                  <a:extLst>
                    <a:ext uri="{FF2B5EF4-FFF2-40B4-BE49-F238E27FC236}">
                      <a16:creationId xmlns:a16="http://schemas.microsoft.com/office/drawing/2014/main" id="{B71FC8C9-C167-5DA1-6F36-64A69840D12B}"/>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noAutofit/>
                </a:bodyP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grpSp>
          <p:nvGrpSpPr>
            <p:cNvPr id="151" name="INSTRUCTIE">
              <a:extLst>
                <a:ext uri="{FF2B5EF4-FFF2-40B4-BE49-F238E27FC236}">
                  <a16:creationId xmlns:a16="http://schemas.microsoft.com/office/drawing/2014/main" id="{CE70209C-C2DC-C52E-ECC4-9DAE05F7FEF6}"/>
                </a:ext>
              </a:extLst>
            </p:cNvPr>
            <p:cNvGrpSpPr/>
            <p:nvPr userDrawn="1"/>
          </p:nvGrpSpPr>
          <p:grpSpPr>
            <a:xfrm>
              <a:off x="-3786165" y="1"/>
              <a:ext cx="3593091" cy="3570215"/>
              <a:chOff x="-3786165" y="1"/>
              <a:chExt cx="3593091" cy="3570215"/>
            </a:xfrm>
          </p:grpSpPr>
          <p:sp>
            <p:nvSpPr>
              <p:cNvPr id="152" name="Rechthoek 151">
                <a:extLst>
                  <a:ext uri="{FF2B5EF4-FFF2-40B4-BE49-F238E27FC236}">
                    <a16:creationId xmlns:a16="http://schemas.microsoft.com/office/drawing/2014/main" id="{1574A770-8BB9-51FB-BE27-93C798CDEC0F}"/>
                  </a:ext>
                </a:extLst>
              </p:cNvPr>
              <p:cNvSpPr/>
              <p:nvPr userDrawn="1"/>
            </p:nvSpPr>
            <p:spPr>
              <a:xfrm>
                <a:off x="-3786165" y="1"/>
                <a:ext cx="3593091" cy="3570215"/>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Grafiek invoegen/opmaken</a:t>
                </a:r>
              </a:p>
            </p:txBody>
          </p:sp>
          <p:sp>
            <p:nvSpPr>
              <p:cNvPr id="153" name="Ovaal 152">
                <a:extLst>
                  <a:ext uri="{FF2B5EF4-FFF2-40B4-BE49-F238E27FC236}">
                    <a16:creationId xmlns:a16="http://schemas.microsoft.com/office/drawing/2014/main" id="{E23348BC-5DAC-BA65-7A42-836673D9F0CE}"/>
                  </a:ext>
                </a:extLst>
              </p:cNvPr>
              <p:cNvSpPr/>
              <p:nvPr userDrawn="1"/>
            </p:nvSpPr>
            <p:spPr>
              <a:xfrm>
                <a:off x="-3603587" y="465324"/>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54" name="Rechthoek 153">
                <a:extLst>
                  <a:ext uri="{FF2B5EF4-FFF2-40B4-BE49-F238E27FC236}">
                    <a16:creationId xmlns:a16="http://schemas.microsoft.com/office/drawing/2014/main" id="{2E810E1B-3BD0-4D92-D099-3143BD799CF6}"/>
                  </a:ext>
                </a:extLst>
              </p:cNvPr>
              <p:cNvSpPr/>
              <p:nvPr userDrawn="1"/>
            </p:nvSpPr>
            <p:spPr>
              <a:xfrm>
                <a:off x="-3319415" y="465324"/>
                <a:ext cx="2944682" cy="658026"/>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Wanneer nodig, verwijder de bestaande grafiek d.m.v.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Backspace toets’</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Klik op het pictogram om een nieuwe grafiek in te voegen</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1"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zie onderstaand voorbeeld)</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sp>
            <p:nvSpPr>
              <p:cNvPr id="155" name="Ovaal 154">
                <a:extLst>
                  <a:ext uri="{FF2B5EF4-FFF2-40B4-BE49-F238E27FC236}">
                    <a16:creationId xmlns:a16="http://schemas.microsoft.com/office/drawing/2014/main" id="{2B7CF27B-8434-5B4B-4537-D006054EE658}"/>
                  </a:ext>
                </a:extLst>
              </p:cNvPr>
              <p:cNvSpPr/>
              <p:nvPr userDrawn="1"/>
            </p:nvSpPr>
            <p:spPr>
              <a:xfrm>
                <a:off x="-3603587" y="1729709"/>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56" name="Rechthoek 155">
                <a:extLst>
                  <a:ext uri="{FF2B5EF4-FFF2-40B4-BE49-F238E27FC236}">
                    <a16:creationId xmlns:a16="http://schemas.microsoft.com/office/drawing/2014/main" id="{711716EC-1A77-E814-6C9B-4FE39D67F5CF}"/>
                  </a:ext>
                </a:extLst>
              </p:cNvPr>
              <p:cNvSpPr/>
              <p:nvPr userDrawn="1"/>
            </p:nvSpPr>
            <p:spPr>
              <a:xfrm>
                <a:off x="-3319415" y="1729710"/>
                <a:ext cx="2944682" cy="326338"/>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electeer de gewenste grafiek</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en klik op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Invoeg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a:t>
                </a:r>
              </a:p>
            </p:txBody>
          </p:sp>
          <p:grpSp>
            <p:nvGrpSpPr>
              <p:cNvPr id="157" name="Groep 156">
                <a:extLst>
                  <a:ext uri="{FF2B5EF4-FFF2-40B4-BE49-F238E27FC236}">
                    <a16:creationId xmlns:a16="http://schemas.microsoft.com/office/drawing/2014/main" id="{048A4C48-7CB9-69CD-D639-7F8789BC1F6E}"/>
                  </a:ext>
                </a:extLst>
              </p:cNvPr>
              <p:cNvGrpSpPr/>
              <p:nvPr userDrawn="1"/>
            </p:nvGrpSpPr>
            <p:grpSpPr>
              <a:xfrm>
                <a:off x="-3311319" y="2164285"/>
                <a:ext cx="825500" cy="209550"/>
                <a:chOff x="13504624" y="2482850"/>
                <a:chExt cx="825500" cy="209550"/>
              </a:xfrm>
            </p:grpSpPr>
            <p:sp>
              <p:nvSpPr>
                <p:cNvPr id="167" name="Rechthoek 166">
                  <a:extLst>
                    <a:ext uri="{FF2B5EF4-FFF2-40B4-BE49-F238E27FC236}">
                      <a16:creationId xmlns:a16="http://schemas.microsoft.com/office/drawing/2014/main" id="{604C2480-D0DD-7BB8-AA9F-9BF5CFC91597}"/>
                    </a:ext>
                  </a:extLst>
                </p:cNvPr>
                <p:cNvSpPr/>
                <p:nvPr userDrawn="1"/>
              </p:nvSpPr>
              <p:spPr>
                <a:xfrm>
                  <a:off x="13504624" y="2482850"/>
                  <a:ext cx="825500" cy="209550"/>
                </a:xfrm>
                <a:prstGeom prst="rect">
                  <a:avLst/>
                </a:prstGeom>
                <a:solidFill>
                  <a:srgbClr val="E5F1FB"/>
                </a:solidFill>
                <a:ln w="12700">
                  <a:solidFill>
                    <a:srgbClr val="0B7ED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08000" tIns="0" rIns="0" bIns="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900" b="0" noProof="0" dirty="0">
                      <a:solidFill>
                        <a:srgbClr val="211F26"/>
                      </a:solidFill>
                      <a:latin typeface="Calibri" panose="020F0502020204030204" pitchFamily="34" charset="0"/>
                      <a:cs typeface="Calibri" panose="020F0502020204030204" pitchFamily="34" charset="0"/>
                    </a:rPr>
                    <a:t>Invoegen</a:t>
                  </a:r>
                </a:p>
              </p:txBody>
            </p:sp>
            <p:cxnSp>
              <p:nvCxnSpPr>
                <p:cNvPr id="168" name="Rechte verbindingslijn 167">
                  <a:extLst>
                    <a:ext uri="{FF2B5EF4-FFF2-40B4-BE49-F238E27FC236}">
                      <a16:creationId xmlns:a16="http://schemas.microsoft.com/office/drawing/2014/main" id="{275B963D-935F-FB93-92C6-6F00D78BDFE4}"/>
                    </a:ext>
                  </a:extLst>
                </p:cNvPr>
                <p:cNvCxnSpPr/>
                <p:nvPr userDrawn="1"/>
              </p:nvCxnSpPr>
              <p:spPr>
                <a:xfrm>
                  <a:off x="14155269" y="2515250"/>
                  <a:ext cx="0" cy="142717"/>
                </a:xfrm>
                <a:prstGeom prst="line">
                  <a:avLst/>
                </a:prstGeom>
                <a:noFill/>
                <a:ln w="3175" cap="flat" cmpd="sng" algn="ctr">
                  <a:solidFill>
                    <a:srgbClr val="44546A"/>
                  </a:solidFill>
                  <a:prstDash val="solid"/>
                </a:ln>
                <a:effectLst/>
              </p:spPr>
            </p:cxnSp>
            <p:sp>
              <p:nvSpPr>
                <p:cNvPr id="169" name="Gelijkbenige driehoek 168">
                  <a:extLst>
                    <a:ext uri="{FF2B5EF4-FFF2-40B4-BE49-F238E27FC236}">
                      <a16:creationId xmlns:a16="http://schemas.microsoft.com/office/drawing/2014/main" id="{B54EFFBC-D9EA-0D4C-6C8B-B3C15D1A9422}"/>
                    </a:ext>
                  </a:extLst>
                </p:cNvPr>
                <p:cNvSpPr/>
                <p:nvPr userDrawn="1"/>
              </p:nvSpPr>
              <p:spPr>
                <a:xfrm rot="10800000">
                  <a:off x="14196089" y="2566904"/>
                  <a:ext cx="86866" cy="51147"/>
                </a:xfrm>
                <a:prstGeom prst="triangl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900" b="1" noProof="0" dirty="0">
                    <a:solidFill>
                      <a:srgbClr val="211F26"/>
                    </a:solidFill>
                    <a:latin typeface="Calibri" panose="020F0502020204030204" pitchFamily="34" charset="0"/>
                    <a:cs typeface="Calibri" panose="020F0502020204030204" pitchFamily="34" charset="0"/>
                  </a:endParaRPr>
                </a:p>
              </p:txBody>
            </p:sp>
          </p:grpSp>
          <p:grpSp>
            <p:nvGrpSpPr>
              <p:cNvPr id="158" name="Groep 157">
                <a:extLst>
                  <a:ext uri="{FF2B5EF4-FFF2-40B4-BE49-F238E27FC236}">
                    <a16:creationId xmlns:a16="http://schemas.microsoft.com/office/drawing/2014/main" id="{4D60C5E9-69CE-145B-2699-FE19371CD52A}"/>
                  </a:ext>
                </a:extLst>
              </p:cNvPr>
              <p:cNvGrpSpPr/>
              <p:nvPr userDrawn="1"/>
            </p:nvGrpSpPr>
            <p:grpSpPr>
              <a:xfrm>
                <a:off x="-3316599" y="1232480"/>
                <a:ext cx="289372" cy="314992"/>
                <a:chOff x="7322769" y="-310267"/>
                <a:chExt cx="289372" cy="314992"/>
              </a:xfrm>
            </p:grpSpPr>
            <p:sp>
              <p:nvSpPr>
                <p:cNvPr id="164" name="Rechthoek 163">
                  <a:extLst>
                    <a:ext uri="{FF2B5EF4-FFF2-40B4-BE49-F238E27FC236}">
                      <a16:creationId xmlns:a16="http://schemas.microsoft.com/office/drawing/2014/main" id="{90FE6585-3469-18DD-8783-4F2C091A9000}"/>
                    </a:ext>
                  </a:extLst>
                </p:cNvPr>
                <p:cNvSpPr/>
                <p:nvPr userDrawn="1"/>
              </p:nvSpPr>
              <p:spPr>
                <a:xfrm>
                  <a:off x="7322769" y="-211712"/>
                  <a:ext cx="79156" cy="216437"/>
                </a:xfrm>
                <a:prstGeom prst="rect">
                  <a:avLst/>
                </a:prstGeom>
                <a:solidFill>
                  <a:srgbClr val="4D82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65" name="Rechthoek 164">
                  <a:extLst>
                    <a:ext uri="{FF2B5EF4-FFF2-40B4-BE49-F238E27FC236}">
                      <a16:creationId xmlns:a16="http://schemas.microsoft.com/office/drawing/2014/main" id="{B13AA7C1-06E5-1734-34C9-3D37EB349433}"/>
                    </a:ext>
                  </a:extLst>
                </p:cNvPr>
                <p:cNvSpPr/>
                <p:nvPr userDrawn="1"/>
              </p:nvSpPr>
              <p:spPr>
                <a:xfrm>
                  <a:off x="7427035" y="-310267"/>
                  <a:ext cx="79156" cy="314992"/>
                </a:xfrm>
                <a:prstGeom prst="rect">
                  <a:avLst/>
                </a:prstGeom>
                <a:solidFill>
                  <a:srgbClr val="FFCC6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sp>
              <p:nvSpPr>
                <p:cNvPr id="166" name="Rechthoek 165">
                  <a:extLst>
                    <a:ext uri="{FF2B5EF4-FFF2-40B4-BE49-F238E27FC236}">
                      <a16:creationId xmlns:a16="http://schemas.microsoft.com/office/drawing/2014/main" id="{D208A03A-C5B7-7D45-1BE2-BA9ED7AA7329}"/>
                    </a:ext>
                  </a:extLst>
                </p:cNvPr>
                <p:cNvSpPr/>
                <p:nvPr userDrawn="1"/>
              </p:nvSpPr>
              <p:spPr>
                <a:xfrm>
                  <a:off x="7532985" y="-240134"/>
                  <a:ext cx="79156" cy="244859"/>
                </a:xfrm>
                <a:prstGeom prst="rect">
                  <a:avLst/>
                </a:prstGeom>
                <a:solidFill>
                  <a:srgbClr val="8080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400" noProof="0" dirty="0">
                    <a:solidFill>
                      <a:srgbClr val="211F26"/>
                    </a:solidFill>
                    <a:latin typeface="Calibri" panose="020F0502020204030204" pitchFamily="34" charset="0"/>
                    <a:cs typeface="Calibri" panose="020F0502020204030204" pitchFamily="34" charset="0"/>
                  </a:endParaRPr>
                </a:p>
              </p:txBody>
            </p:sp>
          </p:grpSp>
          <p:sp>
            <p:nvSpPr>
              <p:cNvPr id="159" name="Ovaal 158">
                <a:extLst>
                  <a:ext uri="{FF2B5EF4-FFF2-40B4-BE49-F238E27FC236}">
                    <a16:creationId xmlns:a16="http://schemas.microsoft.com/office/drawing/2014/main" id="{E7958545-886F-160C-4447-C136982FB150}"/>
                  </a:ext>
                </a:extLst>
              </p:cNvPr>
              <p:cNvSpPr/>
              <p:nvPr userDrawn="1"/>
            </p:nvSpPr>
            <p:spPr>
              <a:xfrm>
                <a:off x="-3603587" y="2555608"/>
                <a:ext cx="180000" cy="180000"/>
              </a:xfrm>
              <a:prstGeom prst="ellipse">
                <a:avLst/>
              </a:prstGeom>
              <a:solidFill>
                <a:schemeClr val="accent1"/>
              </a:solidFill>
              <a:ln w="25400" cap="flat" cmpd="sng" algn="ctr">
                <a:noFill/>
                <a:prstDash val="solid"/>
              </a:ln>
              <a:effectLst/>
            </p:spPr>
            <p:txBody>
              <a:bodyPr wrap="none" lIns="0" tIns="0" rIns="0" bIns="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60" name="Rechthoek 159">
                <a:extLst>
                  <a:ext uri="{FF2B5EF4-FFF2-40B4-BE49-F238E27FC236}">
                    <a16:creationId xmlns:a16="http://schemas.microsoft.com/office/drawing/2014/main" id="{7DDE0402-F462-1070-6234-A161EAC9EFCF}"/>
                  </a:ext>
                </a:extLst>
              </p:cNvPr>
              <p:cNvSpPr/>
              <p:nvPr userDrawn="1"/>
            </p:nvSpPr>
            <p:spPr>
              <a:xfrm>
                <a:off x="-3319415" y="2555610"/>
                <a:ext cx="2944682" cy="476860"/>
              </a:xfrm>
              <a:prstGeom prst="rect">
                <a:avLst/>
              </a:prstGeom>
              <a:noFill/>
              <a:ln w="25400" cap="flat" cmpd="sng" algn="ctr">
                <a:noFill/>
                <a:prstDash val="solid"/>
              </a:ln>
              <a:effectLst/>
            </p:spPr>
            <p:txBody>
              <a:bodyPr lIns="0" tIns="0" rIns="0" bIns="0" rtlCol="0" anchor="t">
                <a:noAutofit/>
              </a:bodyP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Verander de opmaak van de grafiek door onderdelen van de grafiek aan te klikken en naa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Opmaak’ </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te gaan. </a:t>
                </a:r>
              </a:p>
            </p:txBody>
          </p:sp>
          <p:grpSp>
            <p:nvGrpSpPr>
              <p:cNvPr id="161" name="Groep 160">
                <a:extLst>
                  <a:ext uri="{FF2B5EF4-FFF2-40B4-BE49-F238E27FC236}">
                    <a16:creationId xmlns:a16="http://schemas.microsoft.com/office/drawing/2014/main" id="{6F87E6E2-A50B-4C67-DEF8-0C73B5616322}"/>
                  </a:ext>
                </a:extLst>
              </p:cNvPr>
              <p:cNvGrpSpPr/>
              <p:nvPr userDrawn="1"/>
            </p:nvGrpSpPr>
            <p:grpSpPr>
              <a:xfrm>
                <a:off x="-3312582" y="3144513"/>
                <a:ext cx="576000" cy="246597"/>
                <a:chOff x="-3312582" y="1060763"/>
                <a:chExt cx="576000" cy="246597"/>
              </a:xfrm>
            </p:grpSpPr>
            <p:sp>
              <p:nvSpPr>
                <p:cNvPr id="162" name="Rechthoek 161">
                  <a:extLst>
                    <a:ext uri="{FF2B5EF4-FFF2-40B4-BE49-F238E27FC236}">
                      <a16:creationId xmlns:a16="http://schemas.microsoft.com/office/drawing/2014/main" id="{EACD712B-9DD4-47EB-5980-F80466C78A3F}"/>
                    </a:ext>
                  </a:extLst>
                </p:cNvPr>
                <p:cNvSpPr/>
                <p:nvPr userDrawn="1"/>
              </p:nvSpPr>
              <p:spPr>
                <a:xfrm>
                  <a:off x="-3312582" y="1060763"/>
                  <a:ext cx="576000" cy="215451"/>
                </a:xfrm>
                <a:prstGeom prst="rect">
                  <a:avLst/>
                </a:prstGeom>
                <a:solidFill>
                  <a:srgbClr val="F8F8F8"/>
                </a:solid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1050" b="1" noProof="0" dirty="0">
                      <a:solidFill>
                        <a:srgbClr val="B74629"/>
                      </a:solidFill>
                      <a:latin typeface="Calibri" panose="020F0502020204030204" pitchFamily="34" charset="0"/>
                      <a:cs typeface="Calibri" panose="020F0502020204030204" pitchFamily="34" charset="0"/>
                    </a:rPr>
                    <a:t>Opmaak</a:t>
                  </a:r>
                </a:p>
              </p:txBody>
            </p:sp>
            <p:sp>
              <p:nvSpPr>
                <p:cNvPr id="163" name="Rechthoek 162">
                  <a:extLst>
                    <a:ext uri="{FF2B5EF4-FFF2-40B4-BE49-F238E27FC236}">
                      <a16:creationId xmlns:a16="http://schemas.microsoft.com/office/drawing/2014/main" id="{5DC56C8E-C368-5765-0635-5ADF76530730}"/>
                    </a:ext>
                  </a:extLst>
                </p:cNvPr>
                <p:cNvSpPr/>
                <p:nvPr userDrawn="1"/>
              </p:nvSpPr>
              <p:spPr>
                <a:xfrm>
                  <a:off x="-3312582" y="1280189"/>
                  <a:ext cx="576000"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grpSp>
        <p:nvGrpSpPr>
          <p:cNvPr id="27" name="Graphic 5">
            <a:extLst>
              <a:ext uri="{FF2B5EF4-FFF2-40B4-BE49-F238E27FC236}">
                <a16:creationId xmlns:a16="http://schemas.microsoft.com/office/drawing/2014/main" id="{F33EFB1B-284E-055A-6FCD-1D3D3FABAFA4}"/>
              </a:ext>
            </a:extLst>
          </p:cNvPr>
          <p:cNvGrpSpPr/>
          <p:nvPr userDrawn="1"/>
        </p:nvGrpSpPr>
        <p:grpSpPr>
          <a:xfrm>
            <a:off x="719138" y="6270166"/>
            <a:ext cx="1323975" cy="302084"/>
            <a:chOff x="2755702" y="140010"/>
            <a:chExt cx="4459743" cy="1017553"/>
          </a:xfrm>
        </p:grpSpPr>
        <p:grpSp>
          <p:nvGrpSpPr>
            <p:cNvPr id="28" name="Graphic 5">
              <a:extLst>
                <a:ext uri="{FF2B5EF4-FFF2-40B4-BE49-F238E27FC236}">
                  <a16:creationId xmlns:a16="http://schemas.microsoft.com/office/drawing/2014/main" id="{6AF284FD-D570-063A-E7EC-1B71AC6DD836}"/>
                </a:ext>
              </a:extLst>
            </p:cNvPr>
            <p:cNvGrpSpPr/>
            <p:nvPr/>
          </p:nvGrpSpPr>
          <p:grpSpPr>
            <a:xfrm>
              <a:off x="2755702" y="140010"/>
              <a:ext cx="1211314" cy="954339"/>
              <a:chOff x="2755702" y="140010"/>
              <a:chExt cx="1211314" cy="954339"/>
            </a:xfrm>
          </p:grpSpPr>
          <p:grpSp>
            <p:nvGrpSpPr>
              <p:cNvPr id="92" name="Graphic 5">
                <a:extLst>
                  <a:ext uri="{FF2B5EF4-FFF2-40B4-BE49-F238E27FC236}">
                    <a16:creationId xmlns:a16="http://schemas.microsoft.com/office/drawing/2014/main" id="{1DF307F8-84E7-1C3C-3A9F-9996F6477AC4}"/>
                  </a:ext>
                </a:extLst>
              </p:cNvPr>
              <p:cNvGrpSpPr/>
              <p:nvPr/>
            </p:nvGrpSpPr>
            <p:grpSpPr>
              <a:xfrm>
                <a:off x="3361733" y="140010"/>
                <a:ext cx="605283" cy="736488"/>
                <a:chOff x="3361733" y="140010"/>
                <a:chExt cx="605283" cy="736488"/>
              </a:xfrm>
              <a:solidFill>
                <a:srgbClr val="A4C231"/>
              </a:solidFill>
            </p:grpSpPr>
            <p:sp>
              <p:nvSpPr>
                <p:cNvPr id="95" name="Vrije vorm: vorm 94">
                  <a:extLst>
                    <a:ext uri="{FF2B5EF4-FFF2-40B4-BE49-F238E27FC236}">
                      <a16:creationId xmlns:a16="http://schemas.microsoft.com/office/drawing/2014/main" id="{9D3062A3-1548-30BD-2B5C-3E6BC76774C8}"/>
                    </a:ext>
                  </a:extLst>
                </p:cNvPr>
                <p:cNvSpPr/>
                <p:nvPr/>
              </p:nvSpPr>
              <p:spPr>
                <a:xfrm>
                  <a:off x="3361789" y="140010"/>
                  <a:ext cx="605227" cy="343099"/>
                </a:xfrm>
                <a:custGeom>
                  <a:avLst/>
                  <a:gdLst>
                    <a:gd name="connsiteX0" fmla="*/ 604441 w 605227"/>
                    <a:gd name="connsiteY0" fmla="*/ 266399 h 343099"/>
                    <a:gd name="connsiteX1" fmla="*/ 591967 w 605227"/>
                    <a:gd name="connsiteY1" fmla="*/ 206781 h 343099"/>
                    <a:gd name="connsiteX2" fmla="*/ 534259 w 605227"/>
                    <a:gd name="connsiteY2" fmla="*/ 103110 h 343099"/>
                    <a:gd name="connsiteX3" fmla="*/ 534259 w 605227"/>
                    <a:gd name="connsiteY3" fmla="*/ 103110 h 343099"/>
                    <a:gd name="connsiteX4" fmla="*/ 309272 w 605227"/>
                    <a:gd name="connsiteY4" fmla="*/ 0 h 343099"/>
                    <a:gd name="connsiteX5" fmla="*/ 309272 w 605227"/>
                    <a:gd name="connsiteY5" fmla="*/ 0 h 343099"/>
                    <a:gd name="connsiteX6" fmla="*/ 210771 w 605227"/>
                    <a:gd name="connsiteY6" fmla="*/ 16913 h 343099"/>
                    <a:gd name="connsiteX7" fmla="*/ 201218 w 605227"/>
                    <a:gd name="connsiteY7" fmla="*/ 20397 h 343099"/>
                    <a:gd name="connsiteX8" fmla="*/ 201218 w 605227"/>
                    <a:gd name="connsiteY8" fmla="*/ 97322 h 343099"/>
                    <a:gd name="connsiteX9" fmla="*/ 210771 w 605227"/>
                    <a:gd name="connsiteY9" fmla="*/ 92433 h 343099"/>
                    <a:gd name="connsiteX10" fmla="*/ 309272 w 605227"/>
                    <a:gd name="connsiteY10" fmla="*/ 69789 h 343099"/>
                    <a:gd name="connsiteX11" fmla="*/ 309272 w 605227"/>
                    <a:gd name="connsiteY11" fmla="*/ 69789 h 343099"/>
                    <a:gd name="connsiteX12" fmla="*/ 309272 w 605227"/>
                    <a:gd name="connsiteY12" fmla="*/ 69789 h 343099"/>
                    <a:gd name="connsiteX13" fmla="*/ 481272 w 605227"/>
                    <a:gd name="connsiteY13" fmla="*/ 148624 h 343099"/>
                    <a:gd name="connsiteX14" fmla="*/ 528977 w 605227"/>
                    <a:gd name="connsiteY14" fmla="*/ 240552 h 343099"/>
                    <a:gd name="connsiteX15" fmla="*/ 517346 w 605227"/>
                    <a:gd name="connsiteY15" fmla="*/ 247070 h 343099"/>
                    <a:gd name="connsiteX16" fmla="*/ 421316 w 605227"/>
                    <a:gd name="connsiteY16" fmla="*/ 273254 h 343099"/>
                    <a:gd name="connsiteX17" fmla="*/ 318151 w 605227"/>
                    <a:gd name="connsiteY17" fmla="*/ 243024 h 343099"/>
                    <a:gd name="connsiteX18" fmla="*/ 179866 w 605227"/>
                    <a:gd name="connsiteY18" fmla="*/ 203410 h 343099"/>
                    <a:gd name="connsiteX19" fmla="*/ 69845 w 605227"/>
                    <a:gd name="connsiteY19" fmla="*/ 227515 h 343099"/>
                    <a:gd name="connsiteX20" fmla="*/ 41750 w 605227"/>
                    <a:gd name="connsiteY20" fmla="*/ 243024 h 343099"/>
                    <a:gd name="connsiteX21" fmla="*/ 0 w 605227"/>
                    <a:gd name="connsiteY21" fmla="*/ 263646 h 343099"/>
                    <a:gd name="connsiteX22" fmla="*/ 0 w 605227"/>
                    <a:gd name="connsiteY22" fmla="*/ 336469 h 343099"/>
                    <a:gd name="connsiteX23" fmla="*/ 69845 w 605227"/>
                    <a:gd name="connsiteY23" fmla="*/ 307474 h 343099"/>
                    <a:gd name="connsiteX24" fmla="*/ 76812 w 605227"/>
                    <a:gd name="connsiteY24" fmla="*/ 303485 h 343099"/>
                    <a:gd name="connsiteX25" fmla="*/ 179810 w 605227"/>
                    <a:gd name="connsiteY25" fmla="*/ 273254 h 343099"/>
                    <a:gd name="connsiteX26" fmla="*/ 282975 w 605227"/>
                    <a:gd name="connsiteY26" fmla="*/ 303485 h 343099"/>
                    <a:gd name="connsiteX27" fmla="*/ 421260 w 605227"/>
                    <a:gd name="connsiteY27" fmla="*/ 343099 h 343099"/>
                    <a:gd name="connsiteX28" fmla="*/ 534933 w 605227"/>
                    <a:gd name="connsiteY28" fmla="*/ 316914 h 343099"/>
                    <a:gd name="connsiteX29" fmla="*/ 535271 w 605227"/>
                    <a:gd name="connsiteY29" fmla="*/ 316746 h 343099"/>
                    <a:gd name="connsiteX30" fmla="*/ 535945 w 605227"/>
                    <a:gd name="connsiteY30" fmla="*/ 316409 h 343099"/>
                    <a:gd name="connsiteX31" fmla="*/ 559320 w 605227"/>
                    <a:gd name="connsiteY31" fmla="*/ 303485 h 343099"/>
                    <a:gd name="connsiteX32" fmla="*/ 605228 w 605227"/>
                    <a:gd name="connsiteY32" fmla="*/ 277469 h 343099"/>
                    <a:gd name="connsiteX33" fmla="*/ 604441 w 605227"/>
                    <a:gd name="connsiteY33" fmla="*/ 266399 h 3430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5227" h="343099">
                      <a:moveTo>
                        <a:pt x="604441" y="266399"/>
                      </a:moveTo>
                      <a:cubicBezTo>
                        <a:pt x="602081" y="246395"/>
                        <a:pt x="598260" y="225492"/>
                        <a:pt x="591967" y="206781"/>
                      </a:cubicBezTo>
                      <a:cubicBezTo>
                        <a:pt x="580223" y="169751"/>
                        <a:pt x="561174" y="134408"/>
                        <a:pt x="534259" y="103110"/>
                      </a:cubicBezTo>
                      <a:lnTo>
                        <a:pt x="534259" y="103110"/>
                      </a:lnTo>
                      <a:cubicBezTo>
                        <a:pt x="475540" y="34950"/>
                        <a:pt x="392659" y="0"/>
                        <a:pt x="309272" y="0"/>
                      </a:cubicBezTo>
                      <a:cubicBezTo>
                        <a:pt x="309272" y="0"/>
                        <a:pt x="309272" y="0"/>
                        <a:pt x="309272" y="0"/>
                      </a:cubicBezTo>
                      <a:cubicBezTo>
                        <a:pt x="276008" y="0"/>
                        <a:pt x="242687" y="5675"/>
                        <a:pt x="210771" y="16913"/>
                      </a:cubicBezTo>
                      <a:lnTo>
                        <a:pt x="201218" y="20397"/>
                      </a:lnTo>
                      <a:lnTo>
                        <a:pt x="201218" y="97322"/>
                      </a:lnTo>
                      <a:lnTo>
                        <a:pt x="210771" y="92433"/>
                      </a:lnTo>
                      <a:cubicBezTo>
                        <a:pt x="241282" y="77655"/>
                        <a:pt x="274940" y="69789"/>
                        <a:pt x="309272" y="69789"/>
                      </a:cubicBezTo>
                      <a:lnTo>
                        <a:pt x="309272" y="69789"/>
                      </a:lnTo>
                      <a:lnTo>
                        <a:pt x="309272" y="69789"/>
                      </a:lnTo>
                      <a:cubicBezTo>
                        <a:pt x="375465" y="69789"/>
                        <a:pt x="438173" y="98502"/>
                        <a:pt x="481272" y="148624"/>
                      </a:cubicBezTo>
                      <a:cubicBezTo>
                        <a:pt x="504478" y="175595"/>
                        <a:pt x="520493" y="207006"/>
                        <a:pt x="528977" y="240552"/>
                      </a:cubicBezTo>
                      <a:lnTo>
                        <a:pt x="517346" y="247070"/>
                      </a:lnTo>
                      <a:cubicBezTo>
                        <a:pt x="492004" y="261567"/>
                        <a:pt x="467954" y="273254"/>
                        <a:pt x="421316" y="273254"/>
                      </a:cubicBezTo>
                      <a:cubicBezTo>
                        <a:pt x="370352" y="273254"/>
                        <a:pt x="346077" y="259263"/>
                        <a:pt x="318151" y="243024"/>
                      </a:cubicBezTo>
                      <a:cubicBezTo>
                        <a:pt x="286010" y="224369"/>
                        <a:pt x="249711" y="203410"/>
                        <a:pt x="179866" y="203410"/>
                      </a:cubicBezTo>
                      <a:cubicBezTo>
                        <a:pt x="129407" y="203410"/>
                        <a:pt x="96423" y="214423"/>
                        <a:pt x="69845" y="227515"/>
                      </a:cubicBezTo>
                      <a:cubicBezTo>
                        <a:pt x="59730" y="232572"/>
                        <a:pt x="50628" y="237798"/>
                        <a:pt x="41750" y="243024"/>
                      </a:cubicBezTo>
                      <a:cubicBezTo>
                        <a:pt x="28151" y="250891"/>
                        <a:pt x="15396" y="258420"/>
                        <a:pt x="0" y="263646"/>
                      </a:cubicBezTo>
                      <a:lnTo>
                        <a:pt x="0" y="336469"/>
                      </a:lnTo>
                      <a:cubicBezTo>
                        <a:pt x="29331" y="329670"/>
                        <a:pt x="50628" y="318319"/>
                        <a:pt x="69845" y="307474"/>
                      </a:cubicBezTo>
                      <a:cubicBezTo>
                        <a:pt x="72317" y="306070"/>
                        <a:pt x="74565" y="304833"/>
                        <a:pt x="76812" y="303485"/>
                      </a:cubicBezTo>
                      <a:cubicBezTo>
                        <a:pt x="104739" y="287246"/>
                        <a:pt x="129013" y="273254"/>
                        <a:pt x="179810" y="273254"/>
                      </a:cubicBezTo>
                      <a:cubicBezTo>
                        <a:pt x="230774" y="273254"/>
                        <a:pt x="255049" y="287246"/>
                        <a:pt x="282975" y="303485"/>
                      </a:cubicBezTo>
                      <a:cubicBezTo>
                        <a:pt x="315116" y="321972"/>
                        <a:pt x="351584" y="343099"/>
                        <a:pt x="421260" y="343099"/>
                      </a:cubicBezTo>
                      <a:cubicBezTo>
                        <a:pt x="473967" y="343099"/>
                        <a:pt x="507681" y="331074"/>
                        <a:pt x="534933" y="316914"/>
                      </a:cubicBezTo>
                      <a:cubicBezTo>
                        <a:pt x="535102" y="316914"/>
                        <a:pt x="535102" y="316746"/>
                        <a:pt x="535271" y="316746"/>
                      </a:cubicBezTo>
                      <a:cubicBezTo>
                        <a:pt x="535439" y="316577"/>
                        <a:pt x="535776" y="316577"/>
                        <a:pt x="535945" y="316409"/>
                      </a:cubicBezTo>
                      <a:cubicBezTo>
                        <a:pt x="544149" y="312194"/>
                        <a:pt x="551847" y="307868"/>
                        <a:pt x="559320" y="303485"/>
                      </a:cubicBezTo>
                      <a:cubicBezTo>
                        <a:pt x="569097" y="297697"/>
                        <a:pt x="589157" y="285673"/>
                        <a:pt x="605228" y="277469"/>
                      </a:cubicBezTo>
                      <a:cubicBezTo>
                        <a:pt x="605115" y="273648"/>
                        <a:pt x="604947" y="270276"/>
                        <a:pt x="604441" y="266399"/>
                      </a:cubicBezTo>
                      <a:close/>
                    </a:path>
                  </a:pathLst>
                </a:custGeom>
                <a:solidFill>
                  <a:srgbClr val="A4C231"/>
                </a:solidFill>
                <a:ln w="5614" cap="flat">
                  <a:noFill/>
                  <a:prstDash val="solid"/>
                  <a:miter/>
                </a:ln>
              </p:spPr>
              <p:txBody>
                <a:bodyPr rtlCol="0" anchor="ctr"/>
                <a:lstStyle/>
                <a:p>
                  <a:endParaRPr lang="nl-NL" dirty="0"/>
                </a:p>
              </p:txBody>
            </p:sp>
            <p:sp>
              <p:nvSpPr>
                <p:cNvPr id="96" name="Vrije vorm: vorm 95">
                  <a:extLst>
                    <a:ext uri="{FF2B5EF4-FFF2-40B4-BE49-F238E27FC236}">
                      <a16:creationId xmlns:a16="http://schemas.microsoft.com/office/drawing/2014/main" id="{4A6FEDCF-AB69-34AF-22B0-4B89F49EE08B}"/>
                    </a:ext>
                  </a:extLst>
                </p:cNvPr>
                <p:cNvSpPr/>
                <p:nvPr/>
              </p:nvSpPr>
              <p:spPr>
                <a:xfrm>
                  <a:off x="3361733" y="541815"/>
                  <a:ext cx="581683" cy="139773"/>
                </a:xfrm>
                <a:custGeom>
                  <a:avLst/>
                  <a:gdLst>
                    <a:gd name="connsiteX0" fmla="*/ 494476 w 581683"/>
                    <a:gd name="connsiteY0" fmla="*/ 55529 h 139773"/>
                    <a:gd name="connsiteX1" fmla="*/ 457110 w 581683"/>
                    <a:gd name="connsiteY1" fmla="*/ 66879 h 139773"/>
                    <a:gd name="connsiteX2" fmla="*/ 456941 w 581683"/>
                    <a:gd name="connsiteY2" fmla="*/ 67048 h 139773"/>
                    <a:gd name="connsiteX3" fmla="*/ 179866 w 581683"/>
                    <a:gd name="connsiteY3" fmla="*/ 13 h 139773"/>
                    <a:gd name="connsiteX4" fmla="*/ 69845 w 581683"/>
                    <a:gd name="connsiteY4" fmla="*/ 24287 h 139773"/>
                    <a:gd name="connsiteX5" fmla="*/ 0 w 581683"/>
                    <a:gd name="connsiteY5" fmla="*/ 60249 h 139773"/>
                    <a:gd name="connsiteX6" fmla="*/ 0 w 581683"/>
                    <a:gd name="connsiteY6" fmla="*/ 133240 h 139773"/>
                    <a:gd name="connsiteX7" fmla="*/ 76812 w 581683"/>
                    <a:gd name="connsiteY7" fmla="*/ 100088 h 139773"/>
                    <a:gd name="connsiteX8" fmla="*/ 179810 w 581683"/>
                    <a:gd name="connsiteY8" fmla="*/ 69858 h 139773"/>
                    <a:gd name="connsiteX9" fmla="*/ 282975 w 581683"/>
                    <a:gd name="connsiteY9" fmla="*/ 100257 h 139773"/>
                    <a:gd name="connsiteX10" fmla="*/ 376364 w 581683"/>
                    <a:gd name="connsiteY10" fmla="*/ 136387 h 139773"/>
                    <a:gd name="connsiteX11" fmla="*/ 407437 w 581683"/>
                    <a:gd name="connsiteY11" fmla="*/ 139534 h 139773"/>
                    <a:gd name="connsiteX12" fmla="*/ 489138 w 581683"/>
                    <a:gd name="connsiteY12" fmla="*/ 131499 h 139773"/>
                    <a:gd name="connsiteX13" fmla="*/ 581684 w 581683"/>
                    <a:gd name="connsiteY13" fmla="*/ 12262 h 139773"/>
                    <a:gd name="connsiteX14" fmla="*/ 494476 w 581683"/>
                    <a:gd name="connsiteY14" fmla="*/ 55529 h 1397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81683" h="139773">
                      <a:moveTo>
                        <a:pt x="494476" y="55529"/>
                      </a:moveTo>
                      <a:cubicBezTo>
                        <a:pt x="483463" y="60586"/>
                        <a:pt x="471607" y="64632"/>
                        <a:pt x="457110" y="66879"/>
                      </a:cubicBezTo>
                      <a:lnTo>
                        <a:pt x="456941" y="67048"/>
                      </a:lnTo>
                      <a:cubicBezTo>
                        <a:pt x="323770" y="87838"/>
                        <a:pt x="317870" y="-1223"/>
                        <a:pt x="179866" y="13"/>
                      </a:cubicBezTo>
                      <a:cubicBezTo>
                        <a:pt x="129407" y="13"/>
                        <a:pt x="96423" y="11195"/>
                        <a:pt x="69845" y="24287"/>
                      </a:cubicBezTo>
                      <a:cubicBezTo>
                        <a:pt x="45233" y="36143"/>
                        <a:pt x="25791" y="51315"/>
                        <a:pt x="0" y="60249"/>
                      </a:cubicBezTo>
                      <a:lnTo>
                        <a:pt x="0" y="133240"/>
                      </a:lnTo>
                      <a:cubicBezTo>
                        <a:pt x="33040" y="125430"/>
                        <a:pt x="53718" y="113349"/>
                        <a:pt x="76812" y="100088"/>
                      </a:cubicBezTo>
                      <a:cubicBezTo>
                        <a:pt x="104739" y="84018"/>
                        <a:pt x="129013" y="69858"/>
                        <a:pt x="179810" y="69858"/>
                      </a:cubicBezTo>
                      <a:cubicBezTo>
                        <a:pt x="230774" y="69858"/>
                        <a:pt x="255049" y="84018"/>
                        <a:pt x="282975" y="100257"/>
                      </a:cubicBezTo>
                      <a:cubicBezTo>
                        <a:pt x="307250" y="114417"/>
                        <a:pt x="334277" y="129925"/>
                        <a:pt x="376364" y="136387"/>
                      </a:cubicBezTo>
                      <a:cubicBezTo>
                        <a:pt x="385972" y="137960"/>
                        <a:pt x="396255" y="139028"/>
                        <a:pt x="407437" y="139534"/>
                      </a:cubicBezTo>
                      <a:cubicBezTo>
                        <a:pt x="435645" y="140714"/>
                        <a:pt x="468292" y="137455"/>
                        <a:pt x="489138" y="131499"/>
                      </a:cubicBezTo>
                      <a:cubicBezTo>
                        <a:pt x="529483" y="99245"/>
                        <a:pt x="562860" y="57777"/>
                        <a:pt x="581684" y="12262"/>
                      </a:cubicBezTo>
                      <a:cubicBezTo>
                        <a:pt x="546172" y="23669"/>
                        <a:pt x="525325" y="41538"/>
                        <a:pt x="494476" y="55529"/>
                      </a:cubicBezTo>
                      <a:close/>
                    </a:path>
                  </a:pathLst>
                </a:custGeom>
                <a:solidFill>
                  <a:srgbClr val="A4C231"/>
                </a:solidFill>
                <a:ln w="5614" cap="flat">
                  <a:noFill/>
                  <a:prstDash val="solid"/>
                  <a:miter/>
                </a:ln>
              </p:spPr>
              <p:txBody>
                <a:bodyPr rtlCol="0" anchor="ctr"/>
                <a:lstStyle/>
                <a:p>
                  <a:endParaRPr lang="nl-NL"/>
                </a:p>
              </p:txBody>
            </p:sp>
            <p:sp>
              <p:nvSpPr>
                <p:cNvPr id="97" name="Vrije vorm: vorm 96">
                  <a:extLst>
                    <a:ext uri="{FF2B5EF4-FFF2-40B4-BE49-F238E27FC236}">
                      <a16:creationId xmlns:a16="http://schemas.microsoft.com/office/drawing/2014/main" id="{62724E18-0097-4A83-A065-C13F8AB08F06}"/>
                    </a:ext>
                  </a:extLst>
                </p:cNvPr>
                <p:cNvSpPr/>
                <p:nvPr/>
              </p:nvSpPr>
              <p:spPr>
                <a:xfrm>
                  <a:off x="3361734" y="743271"/>
                  <a:ext cx="344784" cy="133227"/>
                </a:xfrm>
                <a:custGeom>
                  <a:avLst/>
                  <a:gdLst>
                    <a:gd name="connsiteX0" fmla="*/ 278705 w 344784"/>
                    <a:gd name="connsiteY0" fmla="*/ 19049 h 133227"/>
                    <a:gd name="connsiteX1" fmla="*/ 179866 w 344784"/>
                    <a:gd name="connsiteY1" fmla="*/ 0 h 133227"/>
                    <a:gd name="connsiteX2" fmla="*/ 69845 w 344784"/>
                    <a:gd name="connsiteY2" fmla="*/ 24274 h 133227"/>
                    <a:gd name="connsiteX3" fmla="*/ 41750 w 344784"/>
                    <a:gd name="connsiteY3" fmla="*/ 39614 h 133227"/>
                    <a:gd name="connsiteX4" fmla="*/ 0 w 344784"/>
                    <a:gd name="connsiteY4" fmla="*/ 60236 h 133227"/>
                    <a:gd name="connsiteX5" fmla="*/ 0 w 344784"/>
                    <a:gd name="connsiteY5" fmla="*/ 133228 h 133227"/>
                    <a:gd name="connsiteX6" fmla="*/ 69845 w 344784"/>
                    <a:gd name="connsiteY6" fmla="*/ 104065 h 133227"/>
                    <a:gd name="connsiteX7" fmla="*/ 76812 w 344784"/>
                    <a:gd name="connsiteY7" fmla="*/ 100075 h 133227"/>
                    <a:gd name="connsiteX8" fmla="*/ 179810 w 344784"/>
                    <a:gd name="connsiteY8" fmla="*/ 69845 h 133227"/>
                    <a:gd name="connsiteX9" fmla="*/ 216277 w 344784"/>
                    <a:gd name="connsiteY9" fmla="*/ 72823 h 133227"/>
                    <a:gd name="connsiteX10" fmla="*/ 251565 w 344784"/>
                    <a:gd name="connsiteY10" fmla="*/ 83274 h 133227"/>
                    <a:gd name="connsiteX11" fmla="*/ 282975 w 344784"/>
                    <a:gd name="connsiteY11" fmla="*/ 100019 h 133227"/>
                    <a:gd name="connsiteX12" fmla="*/ 288032 w 344784"/>
                    <a:gd name="connsiteY12" fmla="*/ 102997 h 133227"/>
                    <a:gd name="connsiteX13" fmla="*/ 344785 w 344784"/>
                    <a:gd name="connsiteY13" fmla="*/ 54280 h 133227"/>
                    <a:gd name="connsiteX14" fmla="*/ 278705 w 344784"/>
                    <a:gd name="connsiteY14" fmla="*/ 19049 h 13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4784" h="133227">
                      <a:moveTo>
                        <a:pt x="278705" y="19049"/>
                      </a:moveTo>
                      <a:cubicBezTo>
                        <a:pt x="254093" y="8204"/>
                        <a:pt x="223694" y="0"/>
                        <a:pt x="179866" y="0"/>
                      </a:cubicBezTo>
                      <a:cubicBezTo>
                        <a:pt x="129407" y="0"/>
                        <a:pt x="96423" y="11182"/>
                        <a:pt x="69845" y="24274"/>
                      </a:cubicBezTo>
                      <a:cubicBezTo>
                        <a:pt x="59731" y="29163"/>
                        <a:pt x="50628" y="34557"/>
                        <a:pt x="41750" y="39614"/>
                      </a:cubicBezTo>
                      <a:cubicBezTo>
                        <a:pt x="28151" y="47650"/>
                        <a:pt x="15396" y="54954"/>
                        <a:pt x="0" y="60236"/>
                      </a:cubicBezTo>
                      <a:lnTo>
                        <a:pt x="0" y="133228"/>
                      </a:lnTo>
                      <a:cubicBezTo>
                        <a:pt x="29331" y="126429"/>
                        <a:pt x="50628" y="115078"/>
                        <a:pt x="69845" y="104065"/>
                      </a:cubicBezTo>
                      <a:cubicBezTo>
                        <a:pt x="72317" y="102660"/>
                        <a:pt x="74565" y="101424"/>
                        <a:pt x="76812" y="100075"/>
                      </a:cubicBezTo>
                      <a:cubicBezTo>
                        <a:pt x="104739" y="83836"/>
                        <a:pt x="129013" y="69845"/>
                        <a:pt x="179810" y="69845"/>
                      </a:cubicBezTo>
                      <a:cubicBezTo>
                        <a:pt x="193801" y="69845"/>
                        <a:pt x="205657" y="70912"/>
                        <a:pt x="216277" y="72823"/>
                      </a:cubicBezTo>
                      <a:cubicBezTo>
                        <a:pt x="229875" y="75071"/>
                        <a:pt x="241057" y="78779"/>
                        <a:pt x="251565" y="83274"/>
                      </a:cubicBezTo>
                      <a:cubicBezTo>
                        <a:pt x="262578" y="88163"/>
                        <a:pt x="272524" y="93894"/>
                        <a:pt x="282975" y="100019"/>
                      </a:cubicBezTo>
                      <a:cubicBezTo>
                        <a:pt x="284717" y="101087"/>
                        <a:pt x="286291" y="101930"/>
                        <a:pt x="288032" y="102997"/>
                      </a:cubicBezTo>
                      <a:lnTo>
                        <a:pt x="344785" y="54280"/>
                      </a:lnTo>
                      <a:cubicBezTo>
                        <a:pt x="335626" y="49785"/>
                        <a:pt x="289718" y="23769"/>
                        <a:pt x="278705" y="19049"/>
                      </a:cubicBezTo>
                      <a:close/>
                    </a:path>
                  </a:pathLst>
                </a:custGeom>
                <a:solidFill>
                  <a:srgbClr val="A4C231"/>
                </a:solidFill>
                <a:ln w="5614" cap="flat">
                  <a:noFill/>
                  <a:prstDash val="solid"/>
                  <a:miter/>
                </a:ln>
              </p:spPr>
              <p:txBody>
                <a:bodyPr rtlCol="0" anchor="ctr"/>
                <a:lstStyle/>
                <a:p>
                  <a:endParaRPr lang="nl-NL"/>
                </a:p>
              </p:txBody>
            </p:sp>
          </p:grpSp>
          <p:sp>
            <p:nvSpPr>
              <p:cNvPr id="93" name="Vrije vorm: vorm 92">
                <a:extLst>
                  <a:ext uri="{FF2B5EF4-FFF2-40B4-BE49-F238E27FC236}">
                    <a16:creationId xmlns:a16="http://schemas.microsoft.com/office/drawing/2014/main" id="{7F445F67-9CCA-F079-A6DF-A5BC64046987}"/>
                  </a:ext>
                </a:extLst>
              </p:cNvPr>
              <p:cNvSpPr/>
              <p:nvPr/>
            </p:nvSpPr>
            <p:spPr>
              <a:xfrm>
                <a:off x="3361452" y="1001916"/>
                <a:ext cx="168" cy="393"/>
              </a:xfrm>
              <a:custGeom>
                <a:avLst/>
                <a:gdLst>
                  <a:gd name="connsiteX0" fmla="*/ 0 w 168"/>
                  <a:gd name="connsiteY0" fmla="*/ 393 h 393"/>
                  <a:gd name="connsiteX1" fmla="*/ 169 w 168"/>
                  <a:gd name="connsiteY1" fmla="*/ 281 h 393"/>
                  <a:gd name="connsiteX2" fmla="*/ 169 w 168"/>
                  <a:gd name="connsiteY2" fmla="*/ 0 h 393"/>
                </a:gdLst>
                <a:ahLst/>
                <a:cxnLst>
                  <a:cxn ang="0">
                    <a:pos x="connsiteX0" y="connsiteY0"/>
                  </a:cxn>
                  <a:cxn ang="0">
                    <a:pos x="connsiteX1" y="connsiteY1"/>
                  </a:cxn>
                  <a:cxn ang="0">
                    <a:pos x="connsiteX2" y="connsiteY2"/>
                  </a:cxn>
                </a:cxnLst>
                <a:rect l="l" t="t" r="r" b="b"/>
                <a:pathLst>
                  <a:path w="168" h="393">
                    <a:moveTo>
                      <a:pt x="0" y="393"/>
                    </a:moveTo>
                    <a:lnTo>
                      <a:pt x="169" y="281"/>
                    </a:lnTo>
                    <a:lnTo>
                      <a:pt x="169" y="0"/>
                    </a:lnTo>
                    <a:close/>
                  </a:path>
                </a:pathLst>
              </a:custGeom>
              <a:solidFill>
                <a:srgbClr val="A4C231"/>
              </a:solidFill>
              <a:ln w="5614" cap="flat">
                <a:noFill/>
                <a:prstDash val="solid"/>
                <a:miter/>
              </a:ln>
            </p:spPr>
            <p:txBody>
              <a:bodyPr rtlCol="0" anchor="ctr"/>
              <a:lstStyle/>
              <a:p>
                <a:endParaRPr lang="nl-NL"/>
              </a:p>
            </p:txBody>
          </p:sp>
          <p:sp>
            <p:nvSpPr>
              <p:cNvPr id="94" name="Vrije vorm: vorm 93">
                <a:extLst>
                  <a:ext uri="{FF2B5EF4-FFF2-40B4-BE49-F238E27FC236}">
                    <a16:creationId xmlns:a16="http://schemas.microsoft.com/office/drawing/2014/main" id="{2175120C-9B9B-C184-30DB-C576FE1ED449}"/>
                  </a:ext>
                </a:extLst>
              </p:cNvPr>
              <p:cNvSpPr/>
              <p:nvPr/>
            </p:nvSpPr>
            <p:spPr>
              <a:xfrm>
                <a:off x="2755702" y="140010"/>
                <a:ext cx="659467" cy="954339"/>
              </a:xfrm>
              <a:custGeom>
                <a:avLst/>
                <a:gdLst>
                  <a:gd name="connsiteX0" fmla="*/ 148696 w 659467"/>
                  <a:gd name="connsiteY0" fmla="*/ 468516 h 954339"/>
                  <a:gd name="connsiteX1" fmla="*/ 70479 w 659467"/>
                  <a:gd name="connsiteY1" fmla="*/ 313543 h 954339"/>
                  <a:gd name="connsiteX2" fmla="*/ 124759 w 659467"/>
                  <a:gd name="connsiteY2" fmla="*/ 148680 h 954339"/>
                  <a:gd name="connsiteX3" fmla="*/ 296758 w 659467"/>
                  <a:gd name="connsiteY3" fmla="*/ 69845 h 954339"/>
                  <a:gd name="connsiteX4" fmla="*/ 296758 w 659467"/>
                  <a:gd name="connsiteY4" fmla="*/ 69789 h 954339"/>
                  <a:gd name="connsiteX5" fmla="*/ 296758 w 659467"/>
                  <a:gd name="connsiteY5" fmla="*/ 69845 h 954339"/>
                  <a:gd name="connsiteX6" fmla="*/ 444595 w 659467"/>
                  <a:gd name="connsiteY6" fmla="*/ 124743 h 954339"/>
                  <a:gd name="connsiteX7" fmla="*/ 606031 w 659467"/>
                  <a:gd name="connsiteY7" fmla="*/ 263758 h 954339"/>
                  <a:gd name="connsiteX8" fmla="*/ 606031 w 659467"/>
                  <a:gd name="connsiteY8" fmla="*/ 171606 h 954339"/>
                  <a:gd name="connsiteX9" fmla="*/ 490166 w 659467"/>
                  <a:gd name="connsiteY9" fmla="*/ 71811 h 954339"/>
                  <a:gd name="connsiteX10" fmla="*/ 296814 w 659467"/>
                  <a:gd name="connsiteY10" fmla="*/ 0 h 954339"/>
                  <a:gd name="connsiteX11" fmla="*/ 296814 w 659467"/>
                  <a:gd name="connsiteY11" fmla="*/ 0 h 954339"/>
                  <a:gd name="connsiteX12" fmla="*/ 71828 w 659467"/>
                  <a:gd name="connsiteY12" fmla="*/ 103110 h 954339"/>
                  <a:gd name="connsiteX13" fmla="*/ 71828 w 659467"/>
                  <a:gd name="connsiteY13" fmla="*/ 103110 h 954339"/>
                  <a:gd name="connsiteX14" fmla="*/ 103126 w 659467"/>
                  <a:gd name="connsiteY14" fmla="*/ 521448 h 954339"/>
                  <a:gd name="connsiteX15" fmla="*/ 605974 w 659467"/>
                  <a:gd name="connsiteY15" fmla="*/ 954339 h 954339"/>
                  <a:gd name="connsiteX16" fmla="*/ 659468 w 659467"/>
                  <a:gd name="connsiteY16" fmla="*/ 908263 h 954339"/>
                  <a:gd name="connsiteX17" fmla="*/ 148696 w 659467"/>
                  <a:gd name="connsiteY17" fmla="*/ 468516 h 9543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59467" h="954339">
                    <a:moveTo>
                      <a:pt x="148696" y="468516"/>
                    </a:moveTo>
                    <a:cubicBezTo>
                      <a:pt x="102789" y="429014"/>
                      <a:pt x="75031" y="373948"/>
                      <a:pt x="70479" y="313543"/>
                    </a:cubicBezTo>
                    <a:cubicBezTo>
                      <a:pt x="65984" y="253138"/>
                      <a:pt x="85257" y="194588"/>
                      <a:pt x="124759" y="148680"/>
                    </a:cubicBezTo>
                    <a:cubicBezTo>
                      <a:pt x="167857" y="98614"/>
                      <a:pt x="230566" y="69845"/>
                      <a:pt x="296758" y="69845"/>
                    </a:cubicBezTo>
                    <a:lnTo>
                      <a:pt x="296758" y="69789"/>
                    </a:lnTo>
                    <a:lnTo>
                      <a:pt x="296758" y="69845"/>
                    </a:lnTo>
                    <a:cubicBezTo>
                      <a:pt x="350926" y="69845"/>
                      <a:pt x="403408" y="89343"/>
                      <a:pt x="444595" y="124743"/>
                    </a:cubicBezTo>
                    <a:lnTo>
                      <a:pt x="606031" y="263758"/>
                    </a:lnTo>
                    <a:lnTo>
                      <a:pt x="606031" y="171606"/>
                    </a:lnTo>
                    <a:lnTo>
                      <a:pt x="490166" y="71811"/>
                    </a:lnTo>
                    <a:cubicBezTo>
                      <a:pt x="434200" y="23600"/>
                      <a:pt x="365311" y="0"/>
                      <a:pt x="296814" y="0"/>
                    </a:cubicBezTo>
                    <a:cubicBezTo>
                      <a:pt x="296814" y="0"/>
                      <a:pt x="296814" y="0"/>
                      <a:pt x="296814" y="0"/>
                    </a:cubicBezTo>
                    <a:cubicBezTo>
                      <a:pt x="213428" y="0"/>
                      <a:pt x="130491" y="34950"/>
                      <a:pt x="71828" y="103110"/>
                    </a:cubicBezTo>
                    <a:lnTo>
                      <a:pt x="71828" y="103110"/>
                    </a:lnTo>
                    <a:cubicBezTo>
                      <a:pt x="-35047" y="227234"/>
                      <a:pt x="-21055" y="414573"/>
                      <a:pt x="103126" y="521448"/>
                    </a:cubicBezTo>
                    <a:lnTo>
                      <a:pt x="605974" y="954339"/>
                    </a:lnTo>
                    <a:lnTo>
                      <a:pt x="659468" y="908263"/>
                    </a:lnTo>
                    <a:lnTo>
                      <a:pt x="148696" y="468516"/>
                    </a:lnTo>
                    <a:close/>
                  </a:path>
                </a:pathLst>
              </a:custGeom>
              <a:solidFill>
                <a:srgbClr val="2A4371"/>
              </a:solidFill>
              <a:ln w="5614" cap="flat">
                <a:noFill/>
                <a:prstDash val="solid"/>
                <a:miter/>
              </a:ln>
            </p:spPr>
            <p:txBody>
              <a:bodyPr rtlCol="0" anchor="ctr"/>
              <a:lstStyle/>
              <a:p>
                <a:endParaRPr lang="nl-NL"/>
              </a:p>
            </p:txBody>
          </p:sp>
        </p:grpSp>
        <p:grpSp>
          <p:nvGrpSpPr>
            <p:cNvPr id="29" name="Graphic 5">
              <a:extLst>
                <a:ext uri="{FF2B5EF4-FFF2-40B4-BE49-F238E27FC236}">
                  <a16:creationId xmlns:a16="http://schemas.microsoft.com/office/drawing/2014/main" id="{9C632E30-57FC-C8E4-4305-85B8DFA54940}"/>
                </a:ext>
              </a:extLst>
            </p:cNvPr>
            <p:cNvGrpSpPr/>
            <p:nvPr/>
          </p:nvGrpSpPr>
          <p:grpSpPr>
            <a:xfrm>
              <a:off x="4270052" y="141527"/>
              <a:ext cx="2945393" cy="1016036"/>
              <a:chOff x="4270052" y="141527"/>
              <a:chExt cx="2945393" cy="1016036"/>
            </a:xfrm>
            <a:solidFill>
              <a:srgbClr val="2A4371"/>
            </a:solidFill>
          </p:grpSpPr>
          <p:sp>
            <p:nvSpPr>
              <p:cNvPr id="30" name="Vrije vorm: vorm 29">
                <a:extLst>
                  <a:ext uri="{FF2B5EF4-FFF2-40B4-BE49-F238E27FC236}">
                    <a16:creationId xmlns:a16="http://schemas.microsoft.com/office/drawing/2014/main" id="{A4714132-858A-ADAA-2C6D-C653397662A6}"/>
                  </a:ext>
                </a:extLst>
              </p:cNvPr>
              <p:cNvSpPr/>
              <p:nvPr/>
            </p:nvSpPr>
            <p:spPr>
              <a:xfrm>
                <a:off x="4270052" y="141527"/>
                <a:ext cx="269320" cy="364620"/>
              </a:xfrm>
              <a:custGeom>
                <a:avLst/>
                <a:gdLst>
                  <a:gd name="connsiteX0" fmla="*/ 12025 w 269320"/>
                  <a:gd name="connsiteY0" fmla="*/ 54730 h 364620"/>
                  <a:gd name="connsiteX1" fmla="*/ 189755 w 269320"/>
                  <a:gd name="connsiteY1" fmla="*/ 54730 h 364620"/>
                  <a:gd name="connsiteX2" fmla="*/ 0 w 269320"/>
                  <a:gd name="connsiteY2" fmla="*/ 322927 h 364620"/>
                  <a:gd name="connsiteX3" fmla="*/ 0 w 269320"/>
                  <a:gd name="connsiteY3" fmla="*/ 364620 h 364620"/>
                  <a:gd name="connsiteX4" fmla="*/ 269321 w 269320"/>
                  <a:gd name="connsiteY4" fmla="*/ 364620 h 364620"/>
                  <a:gd name="connsiteX5" fmla="*/ 269321 w 269320"/>
                  <a:gd name="connsiteY5" fmla="*/ 309947 h 364620"/>
                  <a:gd name="connsiteX6" fmla="*/ 79566 w 269320"/>
                  <a:gd name="connsiteY6" fmla="*/ 309947 h 364620"/>
                  <a:gd name="connsiteX7" fmla="*/ 269321 w 269320"/>
                  <a:gd name="connsiteY7" fmla="*/ 41693 h 364620"/>
                  <a:gd name="connsiteX8" fmla="*/ 269321 w 269320"/>
                  <a:gd name="connsiteY8" fmla="*/ 0 h 364620"/>
                  <a:gd name="connsiteX9" fmla="*/ 12025 w 269320"/>
                  <a:gd name="connsiteY9" fmla="*/ 0 h 36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320" h="364620">
                    <a:moveTo>
                      <a:pt x="12025" y="54730"/>
                    </a:moveTo>
                    <a:lnTo>
                      <a:pt x="189755" y="54730"/>
                    </a:lnTo>
                    <a:lnTo>
                      <a:pt x="0" y="322927"/>
                    </a:lnTo>
                    <a:lnTo>
                      <a:pt x="0" y="364620"/>
                    </a:lnTo>
                    <a:lnTo>
                      <a:pt x="269321" y="364620"/>
                    </a:lnTo>
                    <a:lnTo>
                      <a:pt x="269321" y="309947"/>
                    </a:lnTo>
                    <a:lnTo>
                      <a:pt x="79566" y="309947"/>
                    </a:lnTo>
                    <a:lnTo>
                      <a:pt x="269321" y="41693"/>
                    </a:lnTo>
                    <a:lnTo>
                      <a:pt x="269321" y="0"/>
                    </a:lnTo>
                    <a:lnTo>
                      <a:pt x="12025" y="0"/>
                    </a:lnTo>
                    <a:close/>
                  </a:path>
                </a:pathLst>
              </a:custGeom>
              <a:solidFill>
                <a:srgbClr val="2A4371"/>
              </a:solidFill>
              <a:ln w="5614" cap="flat">
                <a:noFill/>
                <a:prstDash val="solid"/>
                <a:miter/>
              </a:ln>
            </p:spPr>
            <p:txBody>
              <a:bodyPr rtlCol="0" anchor="ctr"/>
              <a:lstStyle/>
              <a:p>
                <a:endParaRPr lang="nl-NL"/>
              </a:p>
            </p:txBody>
          </p:sp>
          <p:sp>
            <p:nvSpPr>
              <p:cNvPr id="34" name="Vrije vorm: vorm 33">
                <a:extLst>
                  <a:ext uri="{FF2B5EF4-FFF2-40B4-BE49-F238E27FC236}">
                    <a16:creationId xmlns:a16="http://schemas.microsoft.com/office/drawing/2014/main" id="{55A386A2-73CA-C193-5A77-9BB396FB4C0A}"/>
                  </a:ext>
                </a:extLst>
              </p:cNvPr>
              <p:cNvSpPr/>
              <p:nvPr/>
            </p:nvSpPr>
            <p:spPr>
              <a:xfrm>
                <a:off x="4560220" y="250930"/>
                <a:ext cx="248418" cy="260386"/>
              </a:xfrm>
              <a:custGeom>
                <a:avLst/>
                <a:gdLst>
                  <a:gd name="connsiteX0" fmla="*/ 64788 w 248418"/>
                  <a:gd name="connsiteY0" fmla="*/ 243473 h 260386"/>
                  <a:gd name="connsiteX1" fmla="*/ 132216 w 248418"/>
                  <a:gd name="connsiteY1" fmla="*/ 260387 h 260386"/>
                  <a:gd name="connsiteX2" fmla="*/ 187451 w 248418"/>
                  <a:gd name="connsiteY2" fmla="*/ 249430 h 260386"/>
                  <a:gd name="connsiteX3" fmla="*/ 231730 w 248418"/>
                  <a:gd name="connsiteY3" fmla="*/ 217120 h 260386"/>
                  <a:gd name="connsiteX4" fmla="*/ 195262 w 248418"/>
                  <a:gd name="connsiteY4" fmla="*/ 180147 h 260386"/>
                  <a:gd name="connsiteX5" fmla="*/ 167391 w 248418"/>
                  <a:gd name="connsiteY5" fmla="*/ 199926 h 260386"/>
                  <a:gd name="connsiteX6" fmla="*/ 131710 w 248418"/>
                  <a:gd name="connsiteY6" fmla="*/ 206725 h 260386"/>
                  <a:gd name="connsiteX7" fmla="*/ 92152 w 248418"/>
                  <a:gd name="connsiteY7" fmla="*/ 197116 h 260386"/>
                  <a:gd name="connsiteX8" fmla="*/ 65574 w 248418"/>
                  <a:gd name="connsiteY8" fmla="*/ 169752 h 260386"/>
                  <a:gd name="connsiteX9" fmla="*/ 58831 w 248418"/>
                  <a:gd name="connsiteY9" fmla="*/ 151546 h 260386"/>
                  <a:gd name="connsiteX10" fmla="*/ 245271 w 248418"/>
                  <a:gd name="connsiteY10" fmla="*/ 151546 h 260386"/>
                  <a:gd name="connsiteX11" fmla="*/ 247631 w 248418"/>
                  <a:gd name="connsiteY11" fmla="*/ 137217 h 260386"/>
                  <a:gd name="connsiteX12" fmla="*/ 248418 w 248418"/>
                  <a:gd name="connsiteY12" fmla="*/ 124462 h 260386"/>
                  <a:gd name="connsiteX13" fmla="*/ 233078 w 248418"/>
                  <a:gd name="connsiteY13" fmla="*/ 60405 h 260386"/>
                  <a:gd name="connsiteX14" fmla="*/ 190879 w 248418"/>
                  <a:gd name="connsiteY14" fmla="*/ 16127 h 260386"/>
                  <a:gd name="connsiteX15" fmla="*/ 129182 w 248418"/>
                  <a:gd name="connsiteY15" fmla="*/ 0 h 260386"/>
                  <a:gd name="connsiteX16" fmla="*/ 63832 w 248418"/>
                  <a:gd name="connsiteY16" fmla="*/ 17194 h 260386"/>
                  <a:gd name="connsiteX17" fmla="*/ 17194 w 248418"/>
                  <a:gd name="connsiteY17" fmla="*/ 63832 h 260386"/>
                  <a:gd name="connsiteX18" fmla="*/ 0 w 248418"/>
                  <a:gd name="connsiteY18" fmla="*/ 130250 h 260386"/>
                  <a:gd name="connsiteX19" fmla="*/ 17475 w 248418"/>
                  <a:gd name="connsiteY19" fmla="*/ 196892 h 260386"/>
                  <a:gd name="connsiteX20" fmla="*/ 64788 w 248418"/>
                  <a:gd name="connsiteY20" fmla="*/ 243473 h 260386"/>
                  <a:gd name="connsiteX21" fmla="*/ 65069 w 248418"/>
                  <a:gd name="connsiteY21" fmla="*/ 88275 h 260386"/>
                  <a:gd name="connsiteX22" fmla="*/ 90073 w 248418"/>
                  <a:gd name="connsiteY22" fmla="*/ 61978 h 260386"/>
                  <a:gd name="connsiteX23" fmla="*/ 128114 w 248418"/>
                  <a:gd name="connsiteY23" fmla="*/ 52594 h 260386"/>
                  <a:gd name="connsiteX24" fmla="*/ 163290 w 248418"/>
                  <a:gd name="connsiteY24" fmla="*/ 60911 h 260386"/>
                  <a:gd name="connsiteX25" fmla="*/ 185429 w 248418"/>
                  <a:gd name="connsiteY25" fmla="*/ 84848 h 260386"/>
                  <a:gd name="connsiteX26" fmla="*/ 191947 w 248418"/>
                  <a:gd name="connsiteY26" fmla="*/ 104627 h 260386"/>
                  <a:gd name="connsiteX27" fmla="*/ 59056 w 248418"/>
                  <a:gd name="connsiteY27" fmla="*/ 104627 h 260386"/>
                  <a:gd name="connsiteX28" fmla="*/ 65069 w 248418"/>
                  <a:gd name="connsiteY28" fmla="*/ 88275 h 26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8418" h="260386">
                    <a:moveTo>
                      <a:pt x="64788" y="243473"/>
                    </a:moveTo>
                    <a:cubicBezTo>
                      <a:pt x="84735" y="254768"/>
                      <a:pt x="107211" y="260387"/>
                      <a:pt x="132216" y="260387"/>
                    </a:cubicBezTo>
                    <a:cubicBezTo>
                      <a:pt x="151658" y="260387"/>
                      <a:pt x="170032" y="256734"/>
                      <a:pt x="187451" y="249430"/>
                    </a:cubicBezTo>
                    <a:cubicBezTo>
                      <a:pt x="204814" y="242125"/>
                      <a:pt x="219592" y="231392"/>
                      <a:pt x="231730" y="217120"/>
                    </a:cubicBezTo>
                    <a:lnTo>
                      <a:pt x="195262" y="180147"/>
                    </a:lnTo>
                    <a:cubicBezTo>
                      <a:pt x="187620" y="188800"/>
                      <a:pt x="178349" y="195431"/>
                      <a:pt x="167391" y="199926"/>
                    </a:cubicBezTo>
                    <a:cubicBezTo>
                      <a:pt x="156434" y="204421"/>
                      <a:pt x="144578" y="206725"/>
                      <a:pt x="131710" y="206725"/>
                    </a:cubicBezTo>
                    <a:cubicBezTo>
                      <a:pt x="116764" y="206725"/>
                      <a:pt x="103559" y="203522"/>
                      <a:pt x="92152" y="197116"/>
                    </a:cubicBezTo>
                    <a:cubicBezTo>
                      <a:pt x="80689" y="190711"/>
                      <a:pt x="71868" y="181608"/>
                      <a:pt x="65574" y="169752"/>
                    </a:cubicBezTo>
                    <a:cubicBezTo>
                      <a:pt x="62596" y="164132"/>
                      <a:pt x="60349" y="158008"/>
                      <a:pt x="58831" y="151546"/>
                    </a:cubicBezTo>
                    <a:lnTo>
                      <a:pt x="245271" y="151546"/>
                    </a:lnTo>
                    <a:cubicBezTo>
                      <a:pt x="246339" y="146320"/>
                      <a:pt x="247069" y="141544"/>
                      <a:pt x="247631" y="137217"/>
                    </a:cubicBezTo>
                    <a:cubicBezTo>
                      <a:pt x="248137" y="132891"/>
                      <a:pt x="248418" y="128620"/>
                      <a:pt x="248418" y="124462"/>
                    </a:cubicBezTo>
                    <a:cubicBezTo>
                      <a:pt x="248418" y="100525"/>
                      <a:pt x="243305" y="79172"/>
                      <a:pt x="233078" y="60405"/>
                    </a:cubicBezTo>
                    <a:cubicBezTo>
                      <a:pt x="222851" y="41637"/>
                      <a:pt x="208748" y="26915"/>
                      <a:pt x="190879" y="16127"/>
                    </a:cubicBezTo>
                    <a:cubicBezTo>
                      <a:pt x="173010" y="5394"/>
                      <a:pt x="152445" y="0"/>
                      <a:pt x="129182" y="0"/>
                    </a:cubicBezTo>
                    <a:cubicBezTo>
                      <a:pt x="105245" y="0"/>
                      <a:pt x="83443" y="5731"/>
                      <a:pt x="63832" y="17194"/>
                    </a:cubicBezTo>
                    <a:cubicBezTo>
                      <a:pt x="44222" y="28657"/>
                      <a:pt x="28657" y="44222"/>
                      <a:pt x="17194" y="63832"/>
                    </a:cubicBezTo>
                    <a:cubicBezTo>
                      <a:pt x="5731" y="83443"/>
                      <a:pt x="0" y="105582"/>
                      <a:pt x="0" y="130250"/>
                    </a:cubicBezTo>
                    <a:cubicBezTo>
                      <a:pt x="0" y="154917"/>
                      <a:pt x="5788" y="177112"/>
                      <a:pt x="17475" y="196892"/>
                    </a:cubicBezTo>
                    <a:cubicBezTo>
                      <a:pt x="29050" y="216671"/>
                      <a:pt x="44840" y="232235"/>
                      <a:pt x="64788" y="243473"/>
                    </a:cubicBezTo>
                    <a:close/>
                    <a:moveTo>
                      <a:pt x="65069" y="88275"/>
                    </a:moveTo>
                    <a:cubicBezTo>
                      <a:pt x="70968" y="76981"/>
                      <a:pt x="79285" y="68215"/>
                      <a:pt x="90073" y="61978"/>
                    </a:cubicBezTo>
                    <a:cubicBezTo>
                      <a:pt x="100806" y="55741"/>
                      <a:pt x="113505" y="52594"/>
                      <a:pt x="128114" y="52594"/>
                    </a:cubicBezTo>
                    <a:cubicBezTo>
                      <a:pt x="141993" y="52594"/>
                      <a:pt x="153737" y="55404"/>
                      <a:pt x="163290" y="60911"/>
                    </a:cubicBezTo>
                    <a:cubicBezTo>
                      <a:pt x="172842" y="66473"/>
                      <a:pt x="180203" y="74452"/>
                      <a:pt x="185429" y="84848"/>
                    </a:cubicBezTo>
                    <a:cubicBezTo>
                      <a:pt x="188350" y="90635"/>
                      <a:pt x="190486" y="97322"/>
                      <a:pt x="191947" y="104627"/>
                    </a:cubicBezTo>
                    <a:lnTo>
                      <a:pt x="59056" y="104627"/>
                    </a:lnTo>
                    <a:cubicBezTo>
                      <a:pt x="60517" y="98839"/>
                      <a:pt x="62428" y="93276"/>
                      <a:pt x="65069" y="88275"/>
                    </a:cubicBezTo>
                    <a:close/>
                  </a:path>
                </a:pathLst>
              </a:custGeom>
              <a:solidFill>
                <a:srgbClr val="2A4371"/>
              </a:solidFill>
              <a:ln w="5614" cap="flat">
                <a:noFill/>
                <a:prstDash val="solid"/>
                <a:miter/>
              </a:ln>
            </p:spPr>
            <p:txBody>
              <a:bodyPr rtlCol="0" anchor="ctr"/>
              <a:lstStyle/>
              <a:p>
                <a:endParaRPr lang="nl-NL"/>
              </a:p>
            </p:txBody>
          </p:sp>
          <p:sp>
            <p:nvSpPr>
              <p:cNvPr id="51" name="Vrije vorm: vorm 50">
                <a:extLst>
                  <a:ext uri="{FF2B5EF4-FFF2-40B4-BE49-F238E27FC236}">
                    <a16:creationId xmlns:a16="http://schemas.microsoft.com/office/drawing/2014/main" id="{D97B2594-DE03-6415-A7C8-1C7C22B2797B}"/>
                  </a:ext>
                </a:extLst>
              </p:cNvPr>
              <p:cNvSpPr/>
              <p:nvPr/>
            </p:nvSpPr>
            <p:spPr>
              <a:xfrm>
                <a:off x="4838307" y="250930"/>
                <a:ext cx="248418" cy="260386"/>
              </a:xfrm>
              <a:custGeom>
                <a:avLst/>
                <a:gdLst>
                  <a:gd name="connsiteX0" fmla="*/ 64844 w 248418"/>
                  <a:gd name="connsiteY0" fmla="*/ 243473 h 260386"/>
                  <a:gd name="connsiteX1" fmla="*/ 132272 w 248418"/>
                  <a:gd name="connsiteY1" fmla="*/ 260387 h 260386"/>
                  <a:gd name="connsiteX2" fmla="*/ 187451 w 248418"/>
                  <a:gd name="connsiteY2" fmla="*/ 249430 h 260386"/>
                  <a:gd name="connsiteX3" fmla="*/ 231730 w 248418"/>
                  <a:gd name="connsiteY3" fmla="*/ 217120 h 260386"/>
                  <a:gd name="connsiteX4" fmla="*/ 195262 w 248418"/>
                  <a:gd name="connsiteY4" fmla="*/ 180147 h 260386"/>
                  <a:gd name="connsiteX5" fmla="*/ 167392 w 248418"/>
                  <a:gd name="connsiteY5" fmla="*/ 199926 h 260386"/>
                  <a:gd name="connsiteX6" fmla="*/ 131711 w 248418"/>
                  <a:gd name="connsiteY6" fmla="*/ 206725 h 260386"/>
                  <a:gd name="connsiteX7" fmla="*/ 92152 w 248418"/>
                  <a:gd name="connsiteY7" fmla="*/ 197116 h 260386"/>
                  <a:gd name="connsiteX8" fmla="*/ 65574 w 248418"/>
                  <a:gd name="connsiteY8" fmla="*/ 169752 h 260386"/>
                  <a:gd name="connsiteX9" fmla="*/ 58831 w 248418"/>
                  <a:gd name="connsiteY9" fmla="*/ 151546 h 260386"/>
                  <a:gd name="connsiteX10" fmla="*/ 245271 w 248418"/>
                  <a:gd name="connsiteY10" fmla="*/ 151546 h 260386"/>
                  <a:gd name="connsiteX11" fmla="*/ 247632 w 248418"/>
                  <a:gd name="connsiteY11" fmla="*/ 137217 h 260386"/>
                  <a:gd name="connsiteX12" fmla="*/ 248418 w 248418"/>
                  <a:gd name="connsiteY12" fmla="*/ 124462 h 260386"/>
                  <a:gd name="connsiteX13" fmla="*/ 233078 w 248418"/>
                  <a:gd name="connsiteY13" fmla="*/ 60405 h 260386"/>
                  <a:gd name="connsiteX14" fmla="*/ 190879 w 248418"/>
                  <a:gd name="connsiteY14" fmla="*/ 16127 h 260386"/>
                  <a:gd name="connsiteX15" fmla="*/ 129182 w 248418"/>
                  <a:gd name="connsiteY15" fmla="*/ 0 h 260386"/>
                  <a:gd name="connsiteX16" fmla="*/ 63832 w 248418"/>
                  <a:gd name="connsiteY16" fmla="*/ 17194 h 260386"/>
                  <a:gd name="connsiteX17" fmla="*/ 17194 w 248418"/>
                  <a:gd name="connsiteY17" fmla="*/ 63832 h 260386"/>
                  <a:gd name="connsiteX18" fmla="*/ 0 w 248418"/>
                  <a:gd name="connsiteY18" fmla="*/ 130250 h 260386"/>
                  <a:gd name="connsiteX19" fmla="*/ 17475 w 248418"/>
                  <a:gd name="connsiteY19" fmla="*/ 196892 h 260386"/>
                  <a:gd name="connsiteX20" fmla="*/ 64844 w 248418"/>
                  <a:gd name="connsiteY20" fmla="*/ 243473 h 260386"/>
                  <a:gd name="connsiteX21" fmla="*/ 65125 w 248418"/>
                  <a:gd name="connsiteY21" fmla="*/ 88275 h 260386"/>
                  <a:gd name="connsiteX22" fmla="*/ 90130 w 248418"/>
                  <a:gd name="connsiteY22" fmla="*/ 61978 h 260386"/>
                  <a:gd name="connsiteX23" fmla="*/ 128171 w 248418"/>
                  <a:gd name="connsiteY23" fmla="*/ 52594 h 260386"/>
                  <a:gd name="connsiteX24" fmla="*/ 163346 w 248418"/>
                  <a:gd name="connsiteY24" fmla="*/ 60911 h 260386"/>
                  <a:gd name="connsiteX25" fmla="*/ 185485 w 248418"/>
                  <a:gd name="connsiteY25" fmla="*/ 84848 h 260386"/>
                  <a:gd name="connsiteX26" fmla="*/ 192003 w 248418"/>
                  <a:gd name="connsiteY26" fmla="*/ 104627 h 260386"/>
                  <a:gd name="connsiteX27" fmla="*/ 59112 w 248418"/>
                  <a:gd name="connsiteY27" fmla="*/ 104627 h 260386"/>
                  <a:gd name="connsiteX28" fmla="*/ 65125 w 248418"/>
                  <a:gd name="connsiteY28" fmla="*/ 88275 h 26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8418" h="260386">
                    <a:moveTo>
                      <a:pt x="64844" y="243473"/>
                    </a:moveTo>
                    <a:cubicBezTo>
                      <a:pt x="84791" y="254768"/>
                      <a:pt x="107268" y="260387"/>
                      <a:pt x="132272" y="260387"/>
                    </a:cubicBezTo>
                    <a:cubicBezTo>
                      <a:pt x="151714" y="260387"/>
                      <a:pt x="170089" y="256734"/>
                      <a:pt x="187451" y="249430"/>
                    </a:cubicBezTo>
                    <a:cubicBezTo>
                      <a:pt x="204814" y="242125"/>
                      <a:pt x="219536" y="231392"/>
                      <a:pt x="231730" y="217120"/>
                    </a:cubicBezTo>
                    <a:lnTo>
                      <a:pt x="195262" y="180147"/>
                    </a:lnTo>
                    <a:cubicBezTo>
                      <a:pt x="187620" y="188800"/>
                      <a:pt x="178349" y="195431"/>
                      <a:pt x="167392" y="199926"/>
                    </a:cubicBezTo>
                    <a:cubicBezTo>
                      <a:pt x="156434" y="204421"/>
                      <a:pt x="144578" y="206725"/>
                      <a:pt x="131711" y="206725"/>
                    </a:cubicBezTo>
                    <a:cubicBezTo>
                      <a:pt x="116764" y="206725"/>
                      <a:pt x="103559" y="203522"/>
                      <a:pt x="92152" y="197116"/>
                    </a:cubicBezTo>
                    <a:cubicBezTo>
                      <a:pt x="80689" y="190711"/>
                      <a:pt x="71868" y="181608"/>
                      <a:pt x="65574" y="169752"/>
                    </a:cubicBezTo>
                    <a:cubicBezTo>
                      <a:pt x="62596" y="164132"/>
                      <a:pt x="60349" y="158008"/>
                      <a:pt x="58831" y="151546"/>
                    </a:cubicBezTo>
                    <a:lnTo>
                      <a:pt x="245271" y="151546"/>
                    </a:lnTo>
                    <a:cubicBezTo>
                      <a:pt x="246339" y="146320"/>
                      <a:pt x="247070" y="141544"/>
                      <a:pt x="247632" y="137217"/>
                    </a:cubicBezTo>
                    <a:cubicBezTo>
                      <a:pt x="248137" y="132891"/>
                      <a:pt x="248418" y="128620"/>
                      <a:pt x="248418" y="124462"/>
                    </a:cubicBezTo>
                    <a:cubicBezTo>
                      <a:pt x="248418" y="100525"/>
                      <a:pt x="243305" y="79172"/>
                      <a:pt x="233078" y="60405"/>
                    </a:cubicBezTo>
                    <a:cubicBezTo>
                      <a:pt x="222852" y="41637"/>
                      <a:pt x="208748" y="26915"/>
                      <a:pt x="190879" y="16127"/>
                    </a:cubicBezTo>
                    <a:cubicBezTo>
                      <a:pt x="173011" y="5394"/>
                      <a:pt x="152389" y="0"/>
                      <a:pt x="129182" y="0"/>
                    </a:cubicBezTo>
                    <a:cubicBezTo>
                      <a:pt x="105245" y="0"/>
                      <a:pt x="83443" y="5731"/>
                      <a:pt x="63832" y="17194"/>
                    </a:cubicBezTo>
                    <a:cubicBezTo>
                      <a:pt x="44222" y="28657"/>
                      <a:pt x="28657" y="44222"/>
                      <a:pt x="17194" y="63832"/>
                    </a:cubicBezTo>
                    <a:cubicBezTo>
                      <a:pt x="5731" y="83443"/>
                      <a:pt x="0" y="105582"/>
                      <a:pt x="0" y="130250"/>
                    </a:cubicBezTo>
                    <a:cubicBezTo>
                      <a:pt x="0" y="154917"/>
                      <a:pt x="5788" y="177112"/>
                      <a:pt x="17475" y="196892"/>
                    </a:cubicBezTo>
                    <a:cubicBezTo>
                      <a:pt x="29107" y="216671"/>
                      <a:pt x="44896" y="232235"/>
                      <a:pt x="64844" y="243473"/>
                    </a:cubicBezTo>
                    <a:close/>
                    <a:moveTo>
                      <a:pt x="65125" y="88275"/>
                    </a:moveTo>
                    <a:cubicBezTo>
                      <a:pt x="71025" y="76981"/>
                      <a:pt x="79341" y="68215"/>
                      <a:pt x="90130" y="61978"/>
                    </a:cubicBezTo>
                    <a:cubicBezTo>
                      <a:pt x="100862" y="55741"/>
                      <a:pt x="113561" y="52594"/>
                      <a:pt x="128171" y="52594"/>
                    </a:cubicBezTo>
                    <a:cubicBezTo>
                      <a:pt x="142050" y="52594"/>
                      <a:pt x="153793" y="55404"/>
                      <a:pt x="163346" y="60911"/>
                    </a:cubicBezTo>
                    <a:cubicBezTo>
                      <a:pt x="172898" y="66473"/>
                      <a:pt x="180259" y="74452"/>
                      <a:pt x="185485" y="84848"/>
                    </a:cubicBezTo>
                    <a:cubicBezTo>
                      <a:pt x="188407" y="90635"/>
                      <a:pt x="190542" y="97322"/>
                      <a:pt x="192003" y="104627"/>
                    </a:cubicBezTo>
                    <a:lnTo>
                      <a:pt x="59112" y="104627"/>
                    </a:lnTo>
                    <a:cubicBezTo>
                      <a:pt x="60517" y="98839"/>
                      <a:pt x="62484" y="93276"/>
                      <a:pt x="65125" y="88275"/>
                    </a:cubicBezTo>
                    <a:close/>
                  </a:path>
                </a:pathLst>
              </a:custGeom>
              <a:solidFill>
                <a:srgbClr val="2A4371"/>
              </a:solidFill>
              <a:ln w="5614" cap="flat">
                <a:noFill/>
                <a:prstDash val="solid"/>
                <a:miter/>
              </a:ln>
            </p:spPr>
            <p:txBody>
              <a:bodyPr rtlCol="0" anchor="ctr"/>
              <a:lstStyle/>
              <a:p>
                <a:endParaRPr lang="nl-NL"/>
              </a:p>
            </p:txBody>
          </p:sp>
          <p:sp>
            <p:nvSpPr>
              <p:cNvPr id="62" name="Vrije vorm: vorm 61">
                <a:extLst>
                  <a:ext uri="{FF2B5EF4-FFF2-40B4-BE49-F238E27FC236}">
                    <a16:creationId xmlns:a16="http://schemas.microsoft.com/office/drawing/2014/main" id="{95C19955-43F3-DFC6-9B6A-B7D51A9B5BA4}"/>
                  </a:ext>
                </a:extLst>
              </p:cNvPr>
              <p:cNvSpPr/>
              <p:nvPr/>
            </p:nvSpPr>
            <p:spPr>
              <a:xfrm>
                <a:off x="5126339" y="255987"/>
                <a:ext cx="217738" cy="255217"/>
              </a:xfrm>
              <a:custGeom>
                <a:avLst/>
                <a:gdLst>
                  <a:gd name="connsiteX0" fmla="*/ 160424 w 217738"/>
                  <a:gd name="connsiteY0" fmla="*/ 142836 h 255217"/>
                  <a:gd name="connsiteX1" fmla="*/ 147163 w 217738"/>
                  <a:gd name="connsiteY1" fmla="*/ 185260 h 255217"/>
                  <a:gd name="connsiteX2" fmla="*/ 108897 w 217738"/>
                  <a:gd name="connsiteY2" fmla="*/ 200094 h 255217"/>
                  <a:gd name="connsiteX3" fmla="*/ 81027 w 217738"/>
                  <a:gd name="connsiteY3" fmla="*/ 193295 h 255217"/>
                  <a:gd name="connsiteX4" fmla="*/ 63327 w 217738"/>
                  <a:gd name="connsiteY4" fmla="*/ 173741 h 255217"/>
                  <a:gd name="connsiteX5" fmla="*/ 57314 w 217738"/>
                  <a:gd name="connsiteY5" fmla="*/ 142724 h 255217"/>
                  <a:gd name="connsiteX6" fmla="*/ 57314 w 217738"/>
                  <a:gd name="connsiteY6" fmla="*/ 0 h 255217"/>
                  <a:gd name="connsiteX7" fmla="*/ 0 w 217738"/>
                  <a:gd name="connsiteY7" fmla="*/ 0 h 255217"/>
                  <a:gd name="connsiteX8" fmla="*/ 0 w 217738"/>
                  <a:gd name="connsiteY8" fmla="*/ 145309 h 255217"/>
                  <a:gd name="connsiteX9" fmla="*/ 13823 w 217738"/>
                  <a:gd name="connsiteY9" fmla="*/ 202342 h 255217"/>
                  <a:gd name="connsiteX10" fmla="*/ 52369 w 217738"/>
                  <a:gd name="connsiteY10" fmla="*/ 241170 h 255217"/>
                  <a:gd name="connsiteX11" fmla="*/ 108897 w 217738"/>
                  <a:gd name="connsiteY11" fmla="*/ 255217 h 255217"/>
                  <a:gd name="connsiteX12" fmla="*/ 165649 w 217738"/>
                  <a:gd name="connsiteY12" fmla="*/ 241394 h 255217"/>
                  <a:gd name="connsiteX13" fmla="*/ 203915 w 217738"/>
                  <a:gd name="connsiteY13" fmla="*/ 202848 h 255217"/>
                  <a:gd name="connsiteX14" fmla="*/ 217738 w 217738"/>
                  <a:gd name="connsiteY14" fmla="*/ 145309 h 255217"/>
                  <a:gd name="connsiteX15" fmla="*/ 217738 w 217738"/>
                  <a:gd name="connsiteY15" fmla="*/ 169 h 255217"/>
                  <a:gd name="connsiteX16" fmla="*/ 160424 w 217738"/>
                  <a:gd name="connsiteY16" fmla="*/ 169 h 255217"/>
                  <a:gd name="connsiteX17" fmla="*/ 160424 w 217738"/>
                  <a:gd name="connsiteY17" fmla="*/ 142836 h 25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7738" h="255217">
                    <a:moveTo>
                      <a:pt x="160424" y="142836"/>
                    </a:moveTo>
                    <a:cubicBezTo>
                      <a:pt x="160424" y="161267"/>
                      <a:pt x="155985" y="175371"/>
                      <a:pt x="147163" y="185260"/>
                    </a:cubicBezTo>
                    <a:cubicBezTo>
                      <a:pt x="138285" y="195150"/>
                      <a:pt x="125530" y="200094"/>
                      <a:pt x="108897" y="200094"/>
                    </a:cubicBezTo>
                    <a:cubicBezTo>
                      <a:pt x="98109" y="200094"/>
                      <a:pt x="88837" y="197847"/>
                      <a:pt x="81027" y="193295"/>
                    </a:cubicBezTo>
                    <a:cubicBezTo>
                      <a:pt x="73216" y="188800"/>
                      <a:pt x="67316" y="182282"/>
                      <a:pt x="63327" y="173741"/>
                    </a:cubicBezTo>
                    <a:cubicBezTo>
                      <a:pt x="59337" y="165256"/>
                      <a:pt x="57314" y="154917"/>
                      <a:pt x="57314" y="142724"/>
                    </a:cubicBezTo>
                    <a:lnTo>
                      <a:pt x="57314" y="0"/>
                    </a:lnTo>
                    <a:lnTo>
                      <a:pt x="0" y="0"/>
                    </a:lnTo>
                    <a:lnTo>
                      <a:pt x="0" y="145309"/>
                    </a:lnTo>
                    <a:cubicBezTo>
                      <a:pt x="0" y="166830"/>
                      <a:pt x="4607" y="185878"/>
                      <a:pt x="13823" y="202342"/>
                    </a:cubicBezTo>
                    <a:cubicBezTo>
                      <a:pt x="23038" y="218862"/>
                      <a:pt x="35849" y="231786"/>
                      <a:pt x="52369" y="241170"/>
                    </a:cubicBezTo>
                    <a:cubicBezTo>
                      <a:pt x="68833" y="250553"/>
                      <a:pt x="87713" y="255217"/>
                      <a:pt x="108897" y="255217"/>
                    </a:cubicBezTo>
                    <a:cubicBezTo>
                      <a:pt x="130418" y="255217"/>
                      <a:pt x="149354" y="250610"/>
                      <a:pt x="165649" y="241394"/>
                    </a:cubicBezTo>
                    <a:cubicBezTo>
                      <a:pt x="181945" y="232179"/>
                      <a:pt x="194700" y="219368"/>
                      <a:pt x="203915" y="202848"/>
                    </a:cubicBezTo>
                    <a:cubicBezTo>
                      <a:pt x="213130" y="186384"/>
                      <a:pt x="217738" y="167167"/>
                      <a:pt x="217738" y="145309"/>
                    </a:cubicBezTo>
                    <a:lnTo>
                      <a:pt x="217738" y="169"/>
                    </a:lnTo>
                    <a:lnTo>
                      <a:pt x="160424" y="169"/>
                    </a:lnTo>
                    <a:lnTo>
                      <a:pt x="160424" y="142836"/>
                    </a:lnTo>
                    <a:close/>
                  </a:path>
                </a:pathLst>
              </a:custGeom>
              <a:solidFill>
                <a:srgbClr val="2A4371"/>
              </a:solidFill>
              <a:ln w="5614" cap="flat">
                <a:noFill/>
                <a:prstDash val="solid"/>
                <a:miter/>
              </a:ln>
            </p:spPr>
            <p:txBody>
              <a:bodyPr rtlCol="0" anchor="ctr"/>
              <a:lstStyle/>
              <a:p>
                <a:endParaRPr lang="nl-NL"/>
              </a:p>
            </p:txBody>
          </p:sp>
          <p:sp>
            <p:nvSpPr>
              <p:cNvPr id="75" name="Vrije vorm: vorm 74">
                <a:extLst>
                  <a:ext uri="{FF2B5EF4-FFF2-40B4-BE49-F238E27FC236}">
                    <a16:creationId xmlns:a16="http://schemas.microsoft.com/office/drawing/2014/main" id="{29DFEDC2-9B86-034A-4F0F-10F85C95F546}"/>
                  </a:ext>
                </a:extLst>
              </p:cNvPr>
              <p:cNvSpPr/>
              <p:nvPr/>
            </p:nvSpPr>
            <p:spPr>
              <a:xfrm>
                <a:off x="5374252" y="256155"/>
                <a:ext cx="384398" cy="249991"/>
              </a:xfrm>
              <a:custGeom>
                <a:avLst/>
                <a:gdLst>
                  <a:gd name="connsiteX0" fmla="*/ 133846 w 384398"/>
                  <a:gd name="connsiteY0" fmla="*/ 249992 h 249991"/>
                  <a:gd name="connsiteX1" fmla="*/ 192228 w 384398"/>
                  <a:gd name="connsiteY1" fmla="*/ 101031 h 249991"/>
                  <a:gd name="connsiteX2" fmla="*/ 250553 w 384398"/>
                  <a:gd name="connsiteY2" fmla="*/ 249992 h 249991"/>
                  <a:gd name="connsiteX3" fmla="*/ 283874 w 384398"/>
                  <a:gd name="connsiteY3" fmla="*/ 249992 h 249991"/>
                  <a:gd name="connsiteX4" fmla="*/ 384399 w 384398"/>
                  <a:gd name="connsiteY4" fmla="*/ 0 h 249991"/>
                  <a:gd name="connsiteX5" fmla="*/ 325006 w 384398"/>
                  <a:gd name="connsiteY5" fmla="*/ 0 h 249991"/>
                  <a:gd name="connsiteX6" fmla="*/ 266174 w 384398"/>
                  <a:gd name="connsiteY6" fmla="*/ 157951 h 249991"/>
                  <a:gd name="connsiteX7" fmla="*/ 208860 w 384398"/>
                  <a:gd name="connsiteY7" fmla="*/ 0 h 249991"/>
                  <a:gd name="connsiteX8" fmla="*/ 175539 w 384398"/>
                  <a:gd name="connsiteY8" fmla="*/ 0 h 249991"/>
                  <a:gd name="connsiteX9" fmla="*/ 118225 w 384398"/>
                  <a:gd name="connsiteY9" fmla="*/ 157951 h 249991"/>
                  <a:gd name="connsiteX10" fmla="*/ 59393 w 384398"/>
                  <a:gd name="connsiteY10" fmla="*/ 0 h 249991"/>
                  <a:gd name="connsiteX11" fmla="*/ 0 w 384398"/>
                  <a:gd name="connsiteY11" fmla="*/ 0 h 249991"/>
                  <a:gd name="connsiteX12" fmla="*/ 100525 w 384398"/>
                  <a:gd name="connsiteY12" fmla="*/ 249992 h 249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84398" h="249991">
                    <a:moveTo>
                      <a:pt x="133846" y="249992"/>
                    </a:moveTo>
                    <a:lnTo>
                      <a:pt x="192228" y="101031"/>
                    </a:lnTo>
                    <a:lnTo>
                      <a:pt x="250553" y="249992"/>
                    </a:lnTo>
                    <a:lnTo>
                      <a:pt x="283874" y="249992"/>
                    </a:lnTo>
                    <a:lnTo>
                      <a:pt x="384399" y="0"/>
                    </a:lnTo>
                    <a:lnTo>
                      <a:pt x="325006" y="0"/>
                    </a:lnTo>
                    <a:lnTo>
                      <a:pt x="266174" y="157951"/>
                    </a:lnTo>
                    <a:lnTo>
                      <a:pt x="208860" y="0"/>
                    </a:lnTo>
                    <a:lnTo>
                      <a:pt x="175539" y="0"/>
                    </a:lnTo>
                    <a:lnTo>
                      <a:pt x="118225" y="157951"/>
                    </a:lnTo>
                    <a:lnTo>
                      <a:pt x="59393" y="0"/>
                    </a:lnTo>
                    <a:lnTo>
                      <a:pt x="0" y="0"/>
                    </a:lnTo>
                    <a:lnTo>
                      <a:pt x="100525" y="249992"/>
                    </a:lnTo>
                    <a:close/>
                  </a:path>
                </a:pathLst>
              </a:custGeom>
              <a:solidFill>
                <a:srgbClr val="2A4371"/>
              </a:solidFill>
              <a:ln w="5614" cap="flat">
                <a:noFill/>
                <a:prstDash val="solid"/>
                <a:miter/>
              </a:ln>
            </p:spPr>
            <p:txBody>
              <a:bodyPr rtlCol="0" anchor="ctr"/>
              <a:lstStyle/>
              <a:p>
                <a:endParaRPr lang="nl-NL"/>
              </a:p>
            </p:txBody>
          </p:sp>
          <p:sp>
            <p:nvSpPr>
              <p:cNvPr id="76" name="Vrije vorm: vorm 75">
                <a:extLst>
                  <a:ext uri="{FF2B5EF4-FFF2-40B4-BE49-F238E27FC236}">
                    <a16:creationId xmlns:a16="http://schemas.microsoft.com/office/drawing/2014/main" id="{95C0AE04-C707-DD37-9F2F-83E7BB87804C}"/>
                  </a:ext>
                </a:extLst>
              </p:cNvPr>
              <p:cNvSpPr/>
              <p:nvPr/>
            </p:nvSpPr>
            <p:spPr>
              <a:xfrm>
                <a:off x="5766574" y="250930"/>
                <a:ext cx="198408" cy="260442"/>
              </a:xfrm>
              <a:custGeom>
                <a:avLst/>
                <a:gdLst>
                  <a:gd name="connsiteX0" fmla="*/ 103559 w 198408"/>
                  <a:gd name="connsiteY0" fmla="*/ 260443 h 260442"/>
                  <a:gd name="connsiteX1" fmla="*/ 172842 w 198408"/>
                  <a:gd name="connsiteY1" fmla="*/ 239091 h 260442"/>
                  <a:gd name="connsiteX2" fmla="*/ 198352 w 198408"/>
                  <a:gd name="connsiteY2" fmla="*/ 181271 h 260442"/>
                  <a:gd name="connsiteX3" fmla="*/ 188969 w 198408"/>
                  <a:gd name="connsiteY3" fmla="*/ 144016 h 260442"/>
                  <a:gd name="connsiteX4" fmla="*/ 164751 w 198408"/>
                  <a:gd name="connsiteY4" fmla="*/ 121091 h 260442"/>
                  <a:gd name="connsiteX5" fmla="*/ 133509 w 198408"/>
                  <a:gd name="connsiteY5" fmla="*/ 107549 h 260442"/>
                  <a:gd name="connsiteX6" fmla="*/ 102267 w 198408"/>
                  <a:gd name="connsiteY6" fmla="*/ 98446 h 260442"/>
                  <a:gd name="connsiteX7" fmla="*/ 78048 w 198408"/>
                  <a:gd name="connsiteY7" fmla="*/ 88556 h 260442"/>
                  <a:gd name="connsiteX8" fmla="*/ 68665 w 198408"/>
                  <a:gd name="connsiteY8" fmla="*/ 72430 h 260442"/>
                  <a:gd name="connsiteX9" fmla="*/ 78048 w 198408"/>
                  <a:gd name="connsiteY9" fmla="*/ 57314 h 260442"/>
                  <a:gd name="connsiteX10" fmla="*/ 104627 w 198408"/>
                  <a:gd name="connsiteY10" fmla="*/ 52089 h 260442"/>
                  <a:gd name="connsiteX11" fmla="*/ 136936 w 198408"/>
                  <a:gd name="connsiteY11" fmla="*/ 58888 h 260442"/>
                  <a:gd name="connsiteX12" fmla="*/ 161941 w 198408"/>
                  <a:gd name="connsiteY12" fmla="*/ 79172 h 260442"/>
                  <a:gd name="connsiteX13" fmla="*/ 198409 w 198408"/>
                  <a:gd name="connsiteY13" fmla="*/ 42705 h 260442"/>
                  <a:gd name="connsiteX14" fmla="*/ 159581 w 198408"/>
                  <a:gd name="connsiteY14" fmla="*/ 10676 h 260442"/>
                  <a:gd name="connsiteX15" fmla="*/ 106200 w 198408"/>
                  <a:gd name="connsiteY15" fmla="*/ 0 h 260442"/>
                  <a:gd name="connsiteX16" fmla="*/ 56977 w 198408"/>
                  <a:gd name="connsiteY16" fmla="*/ 9384 h 260442"/>
                  <a:gd name="connsiteX17" fmla="*/ 25229 w 198408"/>
                  <a:gd name="connsiteY17" fmla="*/ 35962 h 260442"/>
                  <a:gd name="connsiteX18" fmla="*/ 14048 w 198408"/>
                  <a:gd name="connsiteY18" fmla="*/ 77093 h 260442"/>
                  <a:gd name="connsiteX19" fmla="*/ 23431 w 198408"/>
                  <a:gd name="connsiteY19" fmla="*/ 113561 h 260442"/>
                  <a:gd name="connsiteX20" fmla="*/ 47649 w 198408"/>
                  <a:gd name="connsiteY20" fmla="*/ 135700 h 260442"/>
                  <a:gd name="connsiteX21" fmla="*/ 78891 w 198408"/>
                  <a:gd name="connsiteY21" fmla="*/ 148455 h 260442"/>
                  <a:gd name="connsiteX22" fmla="*/ 110133 w 198408"/>
                  <a:gd name="connsiteY22" fmla="*/ 157558 h 260442"/>
                  <a:gd name="connsiteX23" fmla="*/ 134351 w 198408"/>
                  <a:gd name="connsiteY23" fmla="*/ 168234 h 260442"/>
                  <a:gd name="connsiteX24" fmla="*/ 143735 w 198408"/>
                  <a:gd name="connsiteY24" fmla="*/ 185934 h 260442"/>
                  <a:gd name="connsiteX25" fmla="*/ 133846 w 198408"/>
                  <a:gd name="connsiteY25" fmla="*/ 202623 h 260442"/>
                  <a:gd name="connsiteX26" fmla="*/ 104683 w 198408"/>
                  <a:gd name="connsiteY26" fmla="*/ 208354 h 260442"/>
                  <a:gd name="connsiteX27" fmla="*/ 66417 w 198408"/>
                  <a:gd name="connsiteY27" fmla="*/ 200825 h 260442"/>
                  <a:gd name="connsiteX28" fmla="*/ 36468 w 198408"/>
                  <a:gd name="connsiteY28" fmla="*/ 178180 h 260442"/>
                  <a:gd name="connsiteX29" fmla="*/ 0 w 198408"/>
                  <a:gd name="connsiteY29" fmla="*/ 214648 h 260442"/>
                  <a:gd name="connsiteX30" fmla="*/ 28151 w 198408"/>
                  <a:gd name="connsiteY30" fmla="*/ 239372 h 260442"/>
                  <a:gd name="connsiteX31" fmla="*/ 63551 w 198408"/>
                  <a:gd name="connsiteY31" fmla="*/ 254993 h 260442"/>
                  <a:gd name="connsiteX32" fmla="*/ 103559 w 198408"/>
                  <a:gd name="connsiteY32" fmla="*/ 260443 h 26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98408" h="260442">
                    <a:moveTo>
                      <a:pt x="103559" y="260443"/>
                    </a:moveTo>
                    <a:cubicBezTo>
                      <a:pt x="132722" y="260443"/>
                      <a:pt x="155816" y="253307"/>
                      <a:pt x="172842" y="239091"/>
                    </a:cubicBezTo>
                    <a:cubicBezTo>
                      <a:pt x="189868" y="224874"/>
                      <a:pt x="198352" y="205601"/>
                      <a:pt x="198352" y="181271"/>
                    </a:cubicBezTo>
                    <a:cubicBezTo>
                      <a:pt x="198352" y="165987"/>
                      <a:pt x="195206" y="153569"/>
                      <a:pt x="188969" y="144016"/>
                    </a:cubicBezTo>
                    <a:cubicBezTo>
                      <a:pt x="182731" y="134464"/>
                      <a:pt x="174640" y="126822"/>
                      <a:pt x="164751" y="121091"/>
                    </a:cubicBezTo>
                    <a:cubicBezTo>
                      <a:pt x="154861" y="115359"/>
                      <a:pt x="144410" y="110864"/>
                      <a:pt x="133509" y="107549"/>
                    </a:cubicBezTo>
                    <a:cubicBezTo>
                      <a:pt x="122551" y="104233"/>
                      <a:pt x="112156" y="101199"/>
                      <a:pt x="102267" y="98446"/>
                    </a:cubicBezTo>
                    <a:cubicBezTo>
                      <a:pt x="92377" y="95692"/>
                      <a:pt x="84286" y="92377"/>
                      <a:pt x="78048" y="88556"/>
                    </a:cubicBezTo>
                    <a:cubicBezTo>
                      <a:pt x="71811" y="84735"/>
                      <a:pt x="68665" y="79341"/>
                      <a:pt x="68665" y="72430"/>
                    </a:cubicBezTo>
                    <a:cubicBezTo>
                      <a:pt x="68665" y="65855"/>
                      <a:pt x="71811" y="60798"/>
                      <a:pt x="78048" y="57314"/>
                    </a:cubicBezTo>
                    <a:cubicBezTo>
                      <a:pt x="84286" y="53830"/>
                      <a:pt x="93164" y="52089"/>
                      <a:pt x="104627" y="52089"/>
                    </a:cubicBezTo>
                    <a:cubicBezTo>
                      <a:pt x="116764" y="52089"/>
                      <a:pt x="127552" y="54336"/>
                      <a:pt x="136936" y="58888"/>
                    </a:cubicBezTo>
                    <a:cubicBezTo>
                      <a:pt x="146320" y="63383"/>
                      <a:pt x="154636" y="70182"/>
                      <a:pt x="161941" y="79172"/>
                    </a:cubicBezTo>
                    <a:lnTo>
                      <a:pt x="198409" y="42705"/>
                    </a:lnTo>
                    <a:cubicBezTo>
                      <a:pt x="188013" y="28489"/>
                      <a:pt x="175033" y="17812"/>
                      <a:pt x="159581" y="10676"/>
                    </a:cubicBezTo>
                    <a:cubicBezTo>
                      <a:pt x="144128" y="3540"/>
                      <a:pt x="126316" y="0"/>
                      <a:pt x="106200" y="0"/>
                    </a:cubicBezTo>
                    <a:cubicBezTo>
                      <a:pt x="87095" y="0"/>
                      <a:pt x="70687" y="3147"/>
                      <a:pt x="56977" y="9384"/>
                    </a:cubicBezTo>
                    <a:cubicBezTo>
                      <a:pt x="43267" y="15621"/>
                      <a:pt x="32647" y="24499"/>
                      <a:pt x="25229" y="35962"/>
                    </a:cubicBezTo>
                    <a:cubicBezTo>
                      <a:pt x="17756" y="47425"/>
                      <a:pt x="14048" y="61135"/>
                      <a:pt x="14048" y="77093"/>
                    </a:cubicBezTo>
                    <a:cubicBezTo>
                      <a:pt x="14048" y="92040"/>
                      <a:pt x="17194" y="104177"/>
                      <a:pt x="23431" y="113561"/>
                    </a:cubicBezTo>
                    <a:cubicBezTo>
                      <a:pt x="29668" y="122945"/>
                      <a:pt x="37760" y="130306"/>
                      <a:pt x="47649" y="135700"/>
                    </a:cubicBezTo>
                    <a:cubicBezTo>
                      <a:pt x="57539" y="141094"/>
                      <a:pt x="67990" y="145309"/>
                      <a:pt x="78891" y="148455"/>
                    </a:cubicBezTo>
                    <a:cubicBezTo>
                      <a:pt x="89849" y="151602"/>
                      <a:pt x="100244" y="154636"/>
                      <a:pt x="110133" y="157558"/>
                    </a:cubicBezTo>
                    <a:cubicBezTo>
                      <a:pt x="120023" y="160536"/>
                      <a:pt x="128114" y="164076"/>
                      <a:pt x="134351" y="168234"/>
                    </a:cubicBezTo>
                    <a:cubicBezTo>
                      <a:pt x="140588" y="172392"/>
                      <a:pt x="143735" y="178292"/>
                      <a:pt x="143735" y="185934"/>
                    </a:cubicBezTo>
                    <a:cubicBezTo>
                      <a:pt x="143735" y="193239"/>
                      <a:pt x="140420" y="198802"/>
                      <a:pt x="133846" y="202623"/>
                    </a:cubicBezTo>
                    <a:cubicBezTo>
                      <a:pt x="127271" y="206444"/>
                      <a:pt x="117494" y="208354"/>
                      <a:pt x="104683" y="208354"/>
                    </a:cubicBezTo>
                    <a:cubicBezTo>
                      <a:pt x="90467" y="208354"/>
                      <a:pt x="77655" y="205826"/>
                      <a:pt x="66417" y="200825"/>
                    </a:cubicBezTo>
                    <a:cubicBezTo>
                      <a:pt x="55123" y="195768"/>
                      <a:pt x="45121" y="188238"/>
                      <a:pt x="36468" y="178180"/>
                    </a:cubicBezTo>
                    <a:lnTo>
                      <a:pt x="0" y="214648"/>
                    </a:lnTo>
                    <a:cubicBezTo>
                      <a:pt x="7979" y="224369"/>
                      <a:pt x="17363" y="232629"/>
                      <a:pt x="28151" y="239372"/>
                    </a:cubicBezTo>
                    <a:cubicBezTo>
                      <a:pt x="38940" y="246171"/>
                      <a:pt x="50740" y="251340"/>
                      <a:pt x="63551" y="254993"/>
                    </a:cubicBezTo>
                    <a:cubicBezTo>
                      <a:pt x="76363" y="258645"/>
                      <a:pt x="89624" y="260443"/>
                      <a:pt x="103559" y="260443"/>
                    </a:cubicBezTo>
                    <a:close/>
                  </a:path>
                </a:pathLst>
              </a:custGeom>
              <a:solidFill>
                <a:srgbClr val="2A4371"/>
              </a:solidFill>
              <a:ln w="5614" cap="flat">
                <a:noFill/>
                <a:prstDash val="solid"/>
                <a:miter/>
              </a:ln>
            </p:spPr>
            <p:txBody>
              <a:bodyPr rtlCol="0" anchor="ctr"/>
              <a:lstStyle/>
              <a:p>
                <a:endParaRPr lang="nl-NL"/>
              </a:p>
            </p:txBody>
          </p:sp>
          <p:sp>
            <p:nvSpPr>
              <p:cNvPr id="77" name="Vrije vorm: vorm 76">
                <a:extLst>
                  <a:ext uri="{FF2B5EF4-FFF2-40B4-BE49-F238E27FC236}">
                    <a16:creationId xmlns:a16="http://schemas.microsoft.com/office/drawing/2014/main" id="{D780DBA1-E8C0-21F0-8899-F4B18C62F961}"/>
                  </a:ext>
                </a:extLst>
              </p:cNvPr>
              <p:cNvSpPr/>
              <p:nvPr/>
            </p:nvSpPr>
            <p:spPr>
              <a:xfrm>
                <a:off x="5996168" y="250930"/>
                <a:ext cx="248474" cy="260386"/>
              </a:xfrm>
              <a:custGeom>
                <a:avLst/>
                <a:gdLst>
                  <a:gd name="connsiteX0" fmla="*/ 64844 w 248474"/>
                  <a:gd name="connsiteY0" fmla="*/ 243473 h 260386"/>
                  <a:gd name="connsiteX1" fmla="*/ 132272 w 248474"/>
                  <a:gd name="connsiteY1" fmla="*/ 260387 h 260386"/>
                  <a:gd name="connsiteX2" fmla="*/ 187508 w 248474"/>
                  <a:gd name="connsiteY2" fmla="*/ 249430 h 260386"/>
                  <a:gd name="connsiteX3" fmla="*/ 231786 w 248474"/>
                  <a:gd name="connsiteY3" fmla="*/ 217120 h 260386"/>
                  <a:gd name="connsiteX4" fmla="*/ 195318 w 248474"/>
                  <a:gd name="connsiteY4" fmla="*/ 180147 h 260386"/>
                  <a:gd name="connsiteX5" fmla="*/ 167448 w 248474"/>
                  <a:gd name="connsiteY5" fmla="*/ 199926 h 260386"/>
                  <a:gd name="connsiteX6" fmla="*/ 131767 w 248474"/>
                  <a:gd name="connsiteY6" fmla="*/ 206725 h 260386"/>
                  <a:gd name="connsiteX7" fmla="*/ 92208 w 248474"/>
                  <a:gd name="connsiteY7" fmla="*/ 197116 h 260386"/>
                  <a:gd name="connsiteX8" fmla="*/ 65630 w 248474"/>
                  <a:gd name="connsiteY8" fmla="*/ 169752 h 260386"/>
                  <a:gd name="connsiteX9" fmla="*/ 58888 w 248474"/>
                  <a:gd name="connsiteY9" fmla="*/ 151546 h 260386"/>
                  <a:gd name="connsiteX10" fmla="*/ 245328 w 248474"/>
                  <a:gd name="connsiteY10" fmla="*/ 151546 h 260386"/>
                  <a:gd name="connsiteX11" fmla="*/ 247688 w 248474"/>
                  <a:gd name="connsiteY11" fmla="*/ 137217 h 260386"/>
                  <a:gd name="connsiteX12" fmla="*/ 248474 w 248474"/>
                  <a:gd name="connsiteY12" fmla="*/ 124462 h 260386"/>
                  <a:gd name="connsiteX13" fmla="*/ 233078 w 248474"/>
                  <a:gd name="connsiteY13" fmla="*/ 60405 h 260386"/>
                  <a:gd name="connsiteX14" fmla="*/ 190879 w 248474"/>
                  <a:gd name="connsiteY14" fmla="*/ 16127 h 260386"/>
                  <a:gd name="connsiteX15" fmla="*/ 129182 w 248474"/>
                  <a:gd name="connsiteY15" fmla="*/ 0 h 260386"/>
                  <a:gd name="connsiteX16" fmla="*/ 63832 w 248474"/>
                  <a:gd name="connsiteY16" fmla="*/ 17194 h 260386"/>
                  <a:gd name="connsiteX17" fmla="*/ 17194 w 248474"/>
                  <a:gd name="connsiteY17" fmla="*/ 63832 h 260386"/>
                  <a:gd name="connsiteX18" fmla="*/ 0 w 248474"/>
                  <a:gd name="connsiteY18" fmla="*/ 130250 h 260386"/>
                  <a:gd name="connsiteX19" fmla="*/ 17419 w 248474"/>
                  <a:gd name="connsiteY19" fmla="*/ 196892 h 260386"/>
                  <a:gd name="connsiteX20" fmla="*/ 64844 w 248474"/>
                  <a:gd name="connsiteY20" fmla="*/ 243473 h 260386"/>
                  <a:gd name="connsiteX21" fmla="*/ 65069 w 248474"/>
                  <a:gd name="connsiteY21" fmla="*/ 88275 h 260386"/>
                  <a:gd name="connsiteX22" fmla="*/ 90073 w 248474"/>
                  <a:gd name="connsiteY22" fmla="*/ 61978 h 260386"/>
                  <a:gd name="connsiteX23" fmla="*/ 128114 w 248474"/>
                  <a:gd name="connsiteY23" fmla="*/ 52594 h 260386"/>
                  <a:gd name="connsiteX24" fmla="*/ 163290 w 248474"/>
                  <a:gd name="connsiteY24" fmla="*/ 60911 h 260386"/>
                  <a:gd name="connsiteX25" fmla="*/ 185429 w 248474"/>
                  <a:gd name="connsiteY25" fmla="*/ 84848 h 260386"/>
                  <a:gd name="connsiteX26" fmla="*/ 191947 w 248474"/>
                  <a:gd name="connsiteY26" fmla="*/ 104627 h 260386"/>
                  <a:gd name="connsiteX27" fmla="*/ 59056 w 248474"/>
                  <a:gd name="connsiteY27" fmla="*/ 104627 h 260386"/>
                  <a:gd name="connsiteX28" fmla="*/ 65069 w 248474"/>
                  <a:gd name="connsiteY28" fmla="*/ 88275 h 260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8474" h="260386">
                    <a:moveTo>
                      <a:pt x="64844" y="243473"/>
                    </a:moveTo>
                    <a:cubicBezTo>
                      <a:pt x="84792" y="254768"/>
                      <a:pt x="107268" y="260387"/>
                      <a:pt x="132272" y="260387"/>
                    </a:cubicBezTo>
                    <a:cubicBezTo>
                      <a:pt x="151714" y="260387"/>
                      <a:pt x="170089" y="256734"/>
                      <a:pt x="187508" y="249430"/>
                    </a:cubicBezTo>
                    <a:cubicBezTo>
                      <a:pt x="204871" y="242125"/>
                      <a:pt x="219593" y="231392"/>
                      <a:pt x="231786" y="217120"/>
                    </a:cubicBezTo>
                    <a:lnTo>
                      <a:pt x="195318" y="180147"/>
                    </a:lnTo>
                    <a:cubicBezTo>
                      <a:pt x="187676" y="188800"/>
                      <a:pt x="178405" y="195431"/>
                      <a:pt x="167448" y="199926"/>
                    </a:cubicBezTo>
                    <a:cubicBezTo>
                      <a:pt x="156490" y="204421"/>
                      <a:pt x="144634" y="206725"/>
                      <a:pt x="131767" y="206725"/>
                    </a:cubicBezTo>
                    <a:cubicBezTo>
                      <a:pt x="116820" y="206725"/>
                      <a:pt x="103615" y="203522"/>
                      <a:pt x="92208" y="197116"/>
                    </a:cubicBezTo>
                    <a:cubicBezTo>
                      <a:pt x="80746" y="190711"/>
                      <a:pt x="71868" y="181608"/>
                      <a:pt x="65630" y="169752"/>
                    </a:cubicBezTo>
                    <a:cubicBezTo>
                      <a:pt x="62653" y="164132"/>
                      <a:pt x="60405" y="158008"/>
                      <a:pt x="58888" y="151546"/>
                    </a:cubicBezTo>
                    <a:lnTo>
                      <a:pt x="245328" y="151546"/>
                    </a:lnTo>
                    <a:cubicBezTo>
                      <a:pt x="246395" y="146320"/>
                      <a:pt x="247126" y="141544"/>
                      <a:pt x="247688" y="137217"/>
                    </a:cubicBezTo>
                    <a:cubicBezTo>
                      <a:pt x="248193" y="132891"/>
                      <a:pt x="248474" y="128620"/>
                      <a:pt x="248474" y="124462"/>
                    </a:cubicBezTo>
                    <a:cubicBezTo>
                      <a:pt x="248474" y="100525"/>
                      <a:pt x="243361" y="79172"/>
                      <a:pt x="233078" y="60405"/>
                    </a:cubicBezTo>
                    <a:cubicBezTo>
                      <a:pt x="222851" y="41637"/>
                      <a:pt x="208748" y="26915"/>
                      <a:pt x="190879" y="16127"/>
                    </a:cubicBezTo>
                    <a:cubicBezTo>
                      <a:pt x="173010" y="5394"/>
                      <a:pt x="152445" y="0"/>
                      <a:pt x="129182" y="0"/>
                    </a:cubicBezTo>
                    <a:cubicBezTo>
                      <a:pt x="105245" y="0"/>
                      <a:pt x="83443" y="5731"/>
                      <a:pt x="63832" y="17194"/>
                    </a:cubicBezTo>
                    <a:cubicBezTo>
                      <a:pt x="44222" y="28657"/>
                      <a:pt x="28657" y="44222"/>
                      <a:pt x="17194" y="63832"/>
                    </a:cubicBezTo>
                    <a:cubicBezTo>
                      <a:pt x="5732" y="83443"/>
                      <a:pt x="0" y="105582"/>
                      <a:pt x="0" y="130250"/>
                    </a:cubicBezTo>
                    <a:cubicBezTo>
                      <a:pt x="0" y="154917"/>
                      <a:pt x="5787" y="177112"/>
                      <a:pt x="17419" y="196892"/>
                    </a:cubicBezTo>
                    <a:cubicBezTo>
                      <a:pt x="29050" y="216671"/>
                      <a:pt x="44840" y="232235"/>
                      <a:pt x="64844" y="243473"/>
                    </a:cubicBezTo>
                    <a:close/>
                    <a:moveTo>
                      <a:pt x="65069" y="88275"/>
                    </a:moveTo>
                    <a:cubicBezTo>
                      <a:pt x="70969" y="76981"/>
                      <a:pt x="79285" y="68215"/>
                      <a:pt x="90073" y="61978"/>
                    </a:cubicBezTo>
                    <a:cubicBezTo>
                      <a:pt x="100862" y="55741"/>
                      <a:pt x="113505" y="52594"/>
                      <a:pt x="128114" y="52594"/>
                    </a:cubicBezTo>
                    <a:cubicBezTo>
                      <a:pt x="141993" y="52594"/>
                      <a:pt x="153737" y="55404"/>
                      <a:pt x="163290" y="60911"/>
                    </a:cubicBezTo>
                    <a:cubicBezTo>
                      <a:pt x="172842" y="66473"/>
                      <a:pt x="180203" y="74452"/>
                      <a:pt x="185429" y="84848"/>
                    </a:cubicBezTo>
                    <a:cubicBezTo>
                      <a:pt x="188351" y="90635"/>
                      <a:pt x="190486" y="97322"/>
                      <a:pt x="191947" y="104627"/>
                    </a:cubicBezTo>
                    <a:lnTo>
                      <a:pt x="59056" y="104627"/>
                    </a:lnTo>
                    <a:cubicBezTo>
                      <a:pt x="60517" y="98839"/>
                      <a:pt x="62484" y="93276"/>
                      <a:pt x="65069" y="88275"/>
                    </a:cubicBezTo>
                    <a:close/>
                  </a:path>
                </a:pathLst>
              </a:custGeom>
              <a:solidFill>
                <a:srgbClr val="2A4371"/>
              </a:solidFill>
              <a:ln w="5614" cap="flat">
                <a:noFill/>
                <a:prstDash val="solid"/>
                <a:miter/>
              </a:ln>
            </p:spPr>
            <p:txBody>
              <a:bodyPr rtlCol="0" anchor="ctr"/>
              <a:lstStyle/>
              <a:p>
                <a:endParaRPr lang="nl-NL"/>
              </a:p>
            </p:txBody>
          </p:sp>
          <p:sp>
            <p:nvSpPr>
              <p:cNvPr id="78" name="Vrije vorm: vorm 77">
                <a:extLst>
                  <a:ext uri="{FF2B5EF4-FFF2-40B4-BE49-F238E27FC236}">
                    <a16:creationId xmlns:a16="http://schemas.microsoft.com/office/drawing/2014/main" id="{3A0BD391-E3C0-746E-27FB-E2A6D654A16C}"/>
                  </a:ext>
                </a:extLst>
              </p:cNvPr>
              <p:cNvSpPr/>
              <p:nvPr/>
            </p:nvSpPr>
            <p:spPr>
              <a:xfrm>
                <a:off x="4270052" y="683653"/>
                <a:ext cx="269320" cy="364620"/>
              </a:xfrm>
              <a:custGeom>
                <a:avLst/>
                <a:gdLst>
                  <a:gd name="connsiteX0" fmla="*/ 12025 w 269320"/>
                  <a:gd name="connsiteY0" fmla="*/ 54673 h 364620"/>
                  <a:gd name="connsiteX1" fmla="*/ 189755 w 269320"/>
                  <a:gd name="connsiteY1" fmla="*/ 54673 h 364620"/>
                  <a:gd name="connsiteX2" fmla="*/ 0 w 269320"/>
                  <a:gd name="connsiteY2" fmla="*/ 322927 h 364620"/>
                  <a:gd name="connsiteX3" fmla="*/ 0 w 269320"/>
                  <a:gd name="connsiteY3" fmla="*/ 364620 h 364620"/>
                  <a:gd name="connsiteX4" fmla="*/ 269321 w 269320"/>
                  <a:gd name="connsiteY4" fmla="*/ 364620 h 364620"/>
                  <a:gd name="connsiteX5" fmla="*/ 269321 w 269320"/>
                  <a:gd name="connsiteY5" fmla="*/ 309891 h 364620"/>
                  <a:gd name="connsiteX6" fmla="*/ 79566 w 269320"/>
                  <a:gd name="connsiteY6" fmla="*/ 309891 h 364620"/>
                  <a:gd name="connsiteX7" fmla="*/ 269321 w 269320"/>
                  <a:gd name="connsiteY7" fmla="*/ 41693 h 364620"/>
                  <a:gd name="connsiteX8" fmla="*/ 269321 w 269320"/>
                  <a:gd name="connsiteY8" fmla="*/ 0 h 364620"/>
                  <a:gd name="connsiteX9" fmla="*/ 12025 w 269320"/>
                  <a:gd name="connsiteY9" fmla="*/ 0 h 36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320" h="364620">
                    <a:moveTo>
                      <a:pt x="12025" y="54673"/>
                    </a:moveTo>
                    <a:lnTo>
                      <a:pt x="189755" y="54673"/>
                    </a:lnTo>
                    <a:lnTo>
                      <a:pt x="0" y="322927"/>
                    </a:lnTo>
                    <a:lnTo>
                      <a:pt x="0" y="364620"/>
                    </a:lnTo>
                    <a:lnTo>
                      <a:pt x="269321" y="364620"/>
                    </a:lnTo>
                    <a:lnTo>
                      <a:pt x="269321" y="309891"/>
                    </a:lnTo>
                    <a:lnTo>
                      <a:pt x="79566" y="309891"/>
                    </a:lnTo>
                    <a:lnTo>
                      <a:pt x="269321" y="41693"/>
                    </a:lnTo>
                    <a:lnTo>
                      <a:pt x="269321" y="0"/>
                    </a:lnTo>
                    <a:lnTo>
                      <a:pt x="12025" y="0"/>
                    </a:lnTo>
                    <a:close/>
                  </a:path>
                </a:pathLst>
              </a:custGeom>
              <a:solidFill>
                <a:srgbClr val="2A4371"/>
              </a:solidFill>
              <a:ln w="5614" cap="flat">
                <a:noFill/>
                <a:prstDash val="solid"/>
                <a:miter/>
              </a:ln>
            </p:spPr>
            <p:txBody>
              <a:bodyPr rtlCol="0" anchor="ctr"/>
              <a:lstStyle/>
              <a:p>
                <a:endParaRPr lang="nl-NL"/>
              </a:p>
            </p:txBody>
          </p:sp>
          <p:sp>
            <p:nvSpPr>
              <p:cNvPr id="79" name="Vrije vorm: vorm 78">
                <a:extLst>
                  <a:ext uri="{FF2B5EF4-FFF2-40B4-BE49-F238E27FC236}">
                    <a16:creationId xmlns:a16="http://schemas.microsoft.com/office/drawing/2014/main" id="{FA09EA07-8535-F06C-CC21-2109D27C41FC}"/>
                  </a:ext>
                </a:extLst>
              </p:cNvPr>
              <p:cNvSpPr/>
              <p:nvPr/>
            </p:nvSpPr>
            <p:spPr>
              <a:xfrm>
                <a:off x="4560164" y="793055"/>
                <a:ext cx="262016" cy="260499"/>
              </a:xfrm>
              <a:custGeom>
                <a:avLst/>
                <a:gdLst>
                  <a:gd name="connsiteX0" fmla="*/ 197397 w 262016"/>
                  <a:gd name="connsiteY0" fmla="*/ 17194 h 260499"/>
                  <a:gd name="connsiteX1" fmla="*/ 130755 w 262016"/>
                  <a:gd name="connsiteY1" fmla="*/ 0 h 260499"/>
                  <a:gd name="connsiteX2" fmla="*/ 64619 w 262016"/>
                  <a:gd name="connsiteY2" fmla="*/ 17475 h 260499"/>
                  <a:gd name="connsiteX3" fmla="*/ 17475 w 262016"/>
                  <a:gd name="connsiteY3" fmla="*/ 64113 h 260499"/>
                  <a:gd name="connsiteX4" fmla="*/ 0 w 262016"/>
                  <a:gd name="connsiteY4" fmla="*/ 129744 h 260499"/>
                  <a:gd name="connsiteX5" fmla="*/ 17475 w 262016"/>
                  <a:gd name="connsiteY5" fmla="*/ 195880 h 260499"/>
                  <a:gd name="connsiteX6" fmla="*/ 64619 w 262016"/>
                  <a:gd name="connsiteY6" fmla="*/ 243024 h 260499"/>
                  <a:gd name="connsiteX7" fmla="*/ 130755 w 262016"/>
                  <a:gd name="connsiteY7" fmla="*/ 260499 h 260499"/>
                  <a:gd name="connsiteX8" fmla="*/ 197397 w 262016"/>
                  <a:gd name="connsiteY8" fmla="*/ 243024 h 260499"/>
                  <a:gd name="connsiteX9" fmla="*/ 244541 w 262016"/>
                  <a:gd name="connsiteY9" fmla="*/ 195880 h 260499"/>
                  <a:gd name="connsiteX10" fmla="*/ 262016 w 262016"/>
                  <a:gd name="connsiteY10" fmla="*/ 129744 h 260499"/>
                  <a:gd name="connsiteX11" fmla="*/ 244541 w 262016"/>
                  <a:gd name="connsiteY11" fmla="*/ 63832 h 260499"/>
                  <a:gd name="connsiteX12" fmla="*/ 197397 w 262016"/>
                  <a:gd name="connsiteY12" fmla="*/ 17194 h 260499"/>
                  <a:gd name="connsiteX13" fmla="*/ 194026 w 262016"/>
                  <a:gd name="connsiteY13" fmla="*/ 168740 h 260499"/>
                  <a:gd name="connsiteX14" fmla="*/ 168515 w 262016"/>
                  <a:gd name="connsiteY14" fmla="*/ 195543 h 260499"/>
                  <a:gd name="connsiteX15" fmla="*/ 130755 w 262016"/>
                  <a:gd name="connsiteY15" fmla="*/ 205151 h 260499"/>
                  <a:gd name="connsiteX16" fmla="*/ 93501 w 262016"/>
                  <a:gd name="connsiteY16" fmla="*/ 195543 h 260499"/>
                  <a:gd name="connsiteX17" fmla="*/ 67991 w 262016"/>
                  <a:gd name="connsiteY17" fmla="*/ 168740 h 260499"/>
                  <a:gd name="connsiteX18" fmla="*/ 58888 w 262016"/>
                  <a:gd name="connsiteY18" fmla="*/ 129688 h 260499"/>
                  <a:gd name="connsiteX19" fmla="*/ 67991 w 262016"/>
                  <a:gd name="connsiteY19" fmla="*/ 91141 h 260499"/>
                  <a:gd name="connsiteX20" fmla="*/ 93501 w 262016"/>
                  <a:gd name="connsiteY20" fmla="*/ 64844 h 260499"/>
                  <a:gd name="connsiteX21" fmla="*/ 130755 w 262016"/>
                  <a:gd name="connsiteY21" fmla="*/ 55235 h 260499"/>
                  <a:gd name="connsiteX22" fmla="*/ 168234 w 262016"/>
                  <a:gd name="connsiteY22" fmla="*/ 64844 h 260499"/>
                  <a:gd name="connsiteX23" fmla="*/ 193745 w 262016"/>
                  <a:gd name="connsiteY23" fmla="*/ 91141 h 260499"/>
                  <a:gd name="connsiteX24" fmla="*/ 203129 w 262016"/>
                  <a:gd name="connsiteY24" fmla="*/ 129688 h 260499"/>
                  <a:gd name="connsiteX25" fmla="*/ 194026 w 262016"/>
                  <a:gd name="connsiteY25" fmla="*/ 168740 h 26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2016" h="260499">
                    <a:moveTo>
                      <a:pt x="197397" y="17194"/>
                    </a:moveTo>
                    <a:cubicBezTo>
                      <a:pt x="177618" y="5731"/>
                      <a:pt x="155367" y="0"/>
                      <a:pt x="130755" y="0"/>
                    </a:cubicBezTo>
                    <a:cubicBezTo>
                      <a:pt x="106425" y="0"/>
                      <a:pt x="84398" y="5844"/>
                      <a:pt x="64619" y="17475"/>
                    </a:cubicBezTo>
                    <a:cubicBezTo>
                      <a:pt x="44840" y="29107"/>
                      <a:pt x="29107" y="44671"/>
                      <a:pt x="17475" y="64113"/>
                    </a:cubicBezTo>
                    <a:cubicBezTo>
                      <a:pt x="5844" y="83555"/>
                      <a:pt x="0" y="105413"/>
                      <a:pt x="0" y="129744"/>
                    </a:cubicBezTo>
                    <a:cubicBezTo>
                      <a:pt x="0" y="154074"/>
                      <a:pt x="5788" y="176101"/>
                      <a:pt x="17475" y="195880"/>
                    </a:cubicBezTo>
                    <a:cubicBezTo>
                      <a:pt x="29107" y="215659"/>
                      <a:pt x="44840" y="231392"/>
                      <a:pt x="64619" y="243024"/>
                    </a:cubicBezTo>
                    <a:cubicBezTo>
                      <a:pt x="84398" y="254655"/>
                      <a:pt x="106481" y="260499"/>
                      <a:pt x="130755" y="260499"/>
                    </a:cubicBezTo>
                    <a:cubicBezTo>
                      <a:pt x="155423" y="260499"/>
                      <a:pt x="177618" y="254712"/>
                      <a:pt x="197397" y="243024"/>
                    </a:cubicBezTo>
                    <a:cubicBezTo>
                      <a:pt x="217176" y="231392"/>
                      <a:pt x="232909" y="215659"/>
                      <a:pt x="244541" y="195880"/>
                    </a:cubicBezTo>
                    <a:cubicBezTo>
                      <a:pt x="256172" y="176101"/>
                      <a:pt x="262016" y="154018"/>
                      <a:pt x="262016" y="129744"/>
                    </a:cubicBezTo>
                    <a:cubicBezTo>
                      <a:pt x="262016" y="105413"/>
                      <a:pt x="256172" y="83499"/>
                      <a:pt x="244541" y="63832"/>
                    </a:cubicBezTo>
                    <a:cubicBezTo>
                      <a:pt x="232909" y="44166"/>
                      <a:pt x="217232" y="28657"/>
                      <a:pt x="197397" y="17194"/>
                    </a:cubicBezTo>
                    <a:close/>
                    <a:moveTo>
                      <a:pt x="194026" y="168740"/>
                    </a:moveTo>
                    <a:cubicBezTo>
                      <a:pt x="187957" y="180203"/>
                      <a:pt x="179416" y="189137"/>
                      <a:pt x="168515" y="195543"/>
                    </a:cubicBezTo>
                    <a:cubicBezTo>
                      <a:pt x="157558" y="201949"/>
                      <a:pt x="144971" y="205151"/>
                      <a:pt x="130755" y="205151"/>
                    </a:cubicBezTo>
                    <a:cubicBezTo>
                      <a:pt x="116876" y="205151"/>
                      <a:pt x="104458" y="201949"/>
                      <a:pt x="93501" y="195543"/>
                    </a:cubicBezTo>
                    <a:cubicBezTo>
                      <a:pt x="82544" y="189137"/>
                      <a:pt x="74059" y="180203"/>
                      <a:pt x="67991" y="168740"/>
                    </a:cubicBezTo>
                    <a:cubicBezTo>
                      <a:pt x="61922" y="157277"/>
                      <a:pt x="58888" y="144241"/>
                      <a:pt x="58888" y="129688"/>
                    </a:cubicBezTo>
                    <a:cubicBezTo>
                      <a:pt x="58888" y="115078"/>
                      <a:pt x="61922" y="102267"/>
                      <a:pt x="67991" y="91141"/>
                    </a:cubicBezTo>
                    <a:cubicBezTo>
                      <a:pt x="74059" y="80015"/>
                      <a:pt x="82600" y="71250"/>
                      <a:pt x="93501" y="64844"/>
                    </a:cubicBezTo>
                    <a:cubicBezTo>
                      <a:pt x="104458" y="58438"/>
                      <a:pt x="116876" y="55235"/>
                      <a:pt x="130755" y="55235"/>
                    </a:cubicBezTo>
                    <a:cubicBezTo>
                      <a:pt x="144971" y="55235"/>
                      <a:pt x="157502" y="58438"/>
                      <a:pt x="168234" y="64844"/>
                    </a:cubicBezTo>
                    <a:cubicBezTo>
                      <a:pt x="179023" y="71250"/>
                      <a:pt x="187508" y="80015"/>
                      <a:pt x="193745" y="91141"/>
                    </a:cubicBezTo>
                    <a:cubicBezTo>
                      <a:pt x="199982" y="102267"/>
                      <a:pt x="203129" y="115078"/>
                      <a:pt x="203129" y="129688"/>
                    </a:cubicBezTo>
                    <a:cubicBezTo>
                      <a:pt x="203129" y="144241"/>
                      <a:pt x="200094" y="157277"/>
                      <a:pt x="194026" y="168740"/>
                    </a:cubicBezTo>
                    <a:close/>
                  </a:path>
                </a:pathLst>
              </a:custGeom>
              <a:solidFill>
                <a:srgbClr val="2A4371"/>
              </a:solidFill>
              <a:ln w="5614" cap="flat">
                <a:noFill/>
                <a:prstDash val="solid"/>
                <a:miter/>
              </a:ln>
            </p:spPr>
            <p:txBody>
              <a:bodyPr rtlCol="0" anchor="ctr"/>
              <a:lstStyle/>
              <a:p>
                <a:endParaRPr lang="nl-NL"/>
              </a:p>
            </p:txBody>
          </p:sp>
          <p:sp>
            <p:nvSpPr>
              <p:cNvPr id="80" name="Vrije vorm: vorm 79">
                <a:extLst>
                  <a:ext uri="{FF2B5EF4-FFF2-40B4-BE49-F238E27FC236}">
                    <a16:creationId xmlns:a16="http://schemas.microsoft.com/office/drawing/2014/main" id="{ECDBA843-54FA-B8E1-2F56-046434C3BA58}"/>
                  </a:ext>
                </a:extLst>
              </p:cNvPr>
              <p:cNvSpPr/>
              <p:nvPr/>
            </p:nvSpPr>
            <p:spPr>
              <a:xfrm>
                <a:off x="4869549" y="792999"/>
                <a:ext cx="184360" cy="255217"/>
              </a:xfrm>
              <a:custGeom>
                <a:avLst/>
                <a:gdLst>
                  <a:gd name="connsiteX0" fmla="*/ 156266 w 184360"/>
                  <a:gd name="connsiteY0" fmla="*/ 6799 h 255217"/>
                  <a:gd name="connsiteX1" fmla="*/ 122383 w 184360"/>
                  <a:gd name="connsiteY1" fmla="*/ 0 h 255217"/>
                  <a:gd name="connsiteX2" fmla="*/ 58607 w 184360"/>
                  <a:gd name="connsiteY2" fmla="*/ 29444 h 255217"/>
                  <a:gd name="connsiteX3" fmla="*/ 57314 w 184360"/>
                  <a:gd name="connsiteY3" fmla="*/ 31467 h 255217"/>
                  <a:gd name="connsiteX4" fmla="*/ 57314 w 184360"/>
                  <a:gd name="connsiteY4" fmla="*/ 5226 h 255217"/>
                  <a:gd name="connsiteX5" fmla="*/ 0 w 184360"/>
                  <a:gd name="connsiteY5" fmla="*/ 5226 h 255217"/>
                  <a:gd name="connsiteX6" fmla="*/ 0 w 184360"/>
                  <a:gd name="connsiteY6" fmla="*/ 255217 h 255217"/>
                  <a:gd name="connsiteX7" fmla="*/ 57314 w 184360"/>
                  <a:gd name="connsiteY7" fmla="*/ 255217 h 255217"/>
                  <a:gd name="connsiteX8" fmla="*/ 57314 w 184360"/>
                  <a:gd name="connsiteY8" fmla="*/ 116146 h 255217"/>
                  <a:gd name="connsiteX9" fmla="*/ 72935 w 184360"/>
                  <a:gd name="connsiteY9" fmla="*/ 68721 h 255217"/>
                  <a:gd name="connsiteX10" fmla="*/ 112493 w 184360"/>
                  <a:gd name="connsiteY10" fmla="*/ 53606 h 255217"/>
                  <a:gd name="connsiteX11" fmla="*/ 131767 w 184360"/>
                  <a:gd name="connsiteY11" fmla="*/ 56752 h 255217"/>
                  <a:gd name="connsiteX12" fmla="*/ 146882 w 184360"/>
                  <a:gd name="connsiteY12" fmla="*/ 67148 h 255217"/>
                  <a:gd name="connsiteX13" fmla="*/ 184361 w 184360"/>
                  <a:gd name="connsiteY13" fmla="*/ 28601 h 255217"/>
                  <a:gd name="connsiteX14" fmla="*/ 156266 w 184360"/>
                  <a:gd name="connsiteY14" fmla="*/ 6799 h 2552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84360" h="255217">
                    <a:moveTo>
                      <a:pt x="156266" y="6799"/>
                    </a:moveTo>
                    <a:cubicBezTo>
                      <a:pt x="146208" y="2304"/>
                      <a:pt x="134913" y="0"/>
                      <a:pt x="122383" y="0"/>
                    </a:cubicBezTo>
                    <a:cubicBezTo>
                      <a:pt x="93894" y="0"/>
                      <a:pt x="72654" y="9833"/>
                      <a:pt x="58607" y="29444"/>
                    </a:cubicBezTo>
                    <a:cubicBezTo>
                      <a:pt x="58157" y="30118"/>
                      <a:pt x="57764" y="30792"/>
                      <a:pt x="57314" y="31467"/>
                    </a:cubicBezTo>
                    <a:lnTo>
                      <a:pt x="57314" y="5226"/>
                    </a:lnTo>
                    <a:lnTo>
                      <a:pt x="0" y="5226"/>
                    </a:lnTo>
                    <a:lnTo>
                      <a:pt x="0" y="255217"/>
                    </a:lnTo>
                    <a:lnTo>
                      <a:pt x="57314" y="255217"/>
                    </a:lnTo>
                    <a:lnTo>
                      <a:pt x="57314" y="116146"/>
                    </a:lnTo>
                    <a:cubicBezTo>
                      <a:pt x="57314" y="94625"/>
                      <a:pt x="62540" y="78835"/>
                      <a:pt x="72935" y="68721"/>
                    </a:cubicBezTo>
                    <a:cubicBezTo>
                      <a:pt x="83330" y="58663"/>
                      <a:pt x="96535" y="53606"/>
                      <a:pt x="112493" y="53606"/>
                    </a:cubicBezTo>
                    <a:cubicBezTo>
                      <a:pt x="119798" y="53606"/>
                      <a:pt x="126204" y="54617"/>
                      <a:pt x="131767" y="56752"/>
                    </a:cubicBezTo>
                    <a:cubicBezTo>
                      <a:pt x="137330" y="58888"/>
                      <a:pt x="142330" y="62315"/>
                      <a:pt x="146882" y="67148"/>
                    </a:cubicBezTo>
                    <a:lnTo>
                      <a:pt x="184361" y="28601"/>
                    </a:lnTo>
                    <a:cubicBezTo>
                      <a:pt x="175708" y="18599"/>
                      <a:pt x="166324" y="11351"/>
                      <a:pt x="156266" y="6799"/>
                    </a:cubicBezTo>
                    <a:close/>
                  </a:path>
                </a:pathLst>
              </a:custGeom>
              <a:solidFill>
                <a:srgbClr val="2A4371"/>
              </a:solidFill>
              <a:ln w="5614" cap="flat">
                <a:noFill/>
                <a:prstDash val="solid"/>
                <a:miter/>
              </a:ln>
            </p:spPr>
            <p:txBody>
              <a:bodyPr rtlCol="0" anchor="ctr"/>
              <a:lstStyle/>
              <a:p>
                <a:endParaRPr lang="nl-NL"/>
              </a:p>
            </p:txBody>
          </p:sp>
          <p:sp>
            <p:nvSpPr>
              <p:cNvPr id="81" name="Vrije vorm: vorm 80">
                <a:extLst>
                  <a:ext uri="{FF2B5EF4-FFF2-40B4-BE49-F238E27FC236}">
                    <a16:creationId xmlns:a16="http://schemas.microsoft.com/office/drawing/2014/main" id="{E8B54704-937D-660D-4D0C-1A5033829B6E}"/>
                  </a:ext>
                </a:extLst>
              </p:cNvPr>
              <p:cNvSpPr/>
              <p:nvPr/>
            </p:nvSpPr>
            <p:spPr>
              <a:xfrm>
                <a:off x="5058068" y="793055"/>
                <a:ext cx="252182" cy="364507"/>
              </a:xfrm>
              <a:custGeom>
                <a:avLst/>
                <a:gdLst>
                  <a:gd name="connsiteX0" fmla="*/ 194813 w 252182"/>
                  <a:gd name="connsiteY0" fmla="*/ 31748 h 364507"/>
                  <a:gd name="connsiteX1" fmla="*/ 169808 w 252182"/>
                  <a:gd name="connsiteY1" fmla="*/ 11969 h 364507"/>
                  <a:gd name="connsiteX2" fmla="*/ 117719 w 252182"/>
                  <a:gd name="connsiteY2" fmla="*/ 0 h 364507"/>
                  <a:gd name="connsiteX3" fmla="*/ 57539 w 252182"/>
                  <a:gd name="connsiteY3" fmla="*/ 16408 h 364507"/>
                  <a:gd name="connsiteX4" fmla="*/ 15340 w 252182"/>
                  <a:gd name="connsiteY4" fmla="*/ 60910 h 364507"/>
                  <a:gd name="connsiteX5" fmla="*/ 0 w 252182"/>
                  <a:gd name="connsiteY5" fmla="*/ 124462 h 364507"/>
                  <a:gd name="connsiteX6" fmla="*/ 15340 w 252182"/>
                  <a:gd name="connsiteY6" fmla="*/ 188519 h 364507"/>
                  <a:gd name="connsiteX7" fmla="*/ 57539 w 252182"/>
                  <a:gd name="connsiteY7" fmla="*/ 233584 h 364507"/>
                  <a:gd name="connsiteX8" fmla="*/ 117719 w 252182"/>
                  <a:gd name="connsiteY8" fmla="*/ 249992 h 364507"/>
                  <a:gd name="connsiteX9" fmla="*/ 169302 w 252182"/>
                  <a:gd name="connsiteY9" fmla="*/ 238023 h 364507"/>
                  <a:gd name="connsiteX10" fmla="*/ 194813 w 252182"/>
                  <a:gd name="connsiteY10" fmla="*/ 217682 h 364507"/>
                  <a:gd name="connsiteX11" fmla="*/ 194813 w 252182"/>
                  <a:gd name="connsiteY11" fmla="*/ 244822 h 364507"/>
                  <a:gd name="connsiteX12" fmla="*/ 175034 w 252182"/>
                  <a:gd name="connsiteY12" fmla="*/ 292472 h 364507"/>
                  <a:gd name="connsiteX13" fmla="*/ 121371 w 252182"/>
                  <a:gd name="connsiteY13" fmla="*/ 309891 h 364507"/>
                  <a:gd name="connsiteX14" fmla="*/ 75014 w 252182"/>
                  <a:gd name="connsiteY14" fmla="*/ 300507 h 364507"/>
                  <a:gd name="connsiteX15" fmla="*/ 40626 w 252182"/>
                  <a:gd name="connsiteY15" fmla="*/ 272355 h 364507"/>
                  <a:gd name="connsiteX16" fmla="*/ 3147 w 252182"/>
                  <a:gd name="connsiteY16" fmla="*/ 309834 h 364507"/>
                  <a:gd name="connsiteX17" fmla="*/ 51077 w 252182"/>
                  <a:gd name="connsiteY17" fmla="*/ 350179 h 364507"/>
                  <a:gd name="connsiteX18" fmla="*/ 120360 w 252182"/>
                  <a:gd name="connsiteY18" fmla="*/ 364508 h 364507"/>
                  <a:gd name="connsiteX19" fmla="*/ 189137 w 252182"/>
                  <a:gd name="connsiteY19" fmla="*/ 349392 h 364507"/>
                  <a:gd name="connsiteX20" fmla="*/ 235494 w 252182"/>
                  <a:gd name="connsiteY20" fmla="*/ 307474 h 364507"/>
                  <a:gd name="connsiteX21" fmla="*/ 252183 w 252182"/>
                  <a:gd name="connsiteY21" fmla="*/ 244710 h 364507"/>
                  <a:gd name="connsiteX22" fmla="*/ 252183 w 252182"/>
                  <a:gd name="connsiteY22" fmla="*/ 5113 h 364507"/>
                  <a:gd name="connsiteX23" fmla="*/ 194869 w 252182"/>
                  <a:gd name="connsiteY23" fmla="*/ 5113 h 364507"/>
                  <a:gd name="connsiteX24" fmla="*/ 194869 w 252182"/>
                  <a:gd name="connsiteY24" fmla="*/ 31748 h 364507"/>
                  <a:gd name="connsiteX25" fmla="*/ 165650 w 252182"/>
                  <a:gd name="connsiteY25" fmla="*/ 186946 h 364507"/>
                  <a:gd name="connsiteX26" fmla="*/ 129182 w 252182"/>
                  <a:gd name="connsiteY26" fmla="*/ 195824 h 364507"/>
                  <a:gd name="connsiteX27" fmla="*/ 92490 w 252182"/>
                  <a:gd name="connsiteY27" fmla="*/ 186946 h 364507"/>
                  <a:gd name="connsiteX28" fmla="*/ 67766 w 252182"/>
                  <a:gd name="connsiteY28" fmla="*/ 161941 h 364507"/>
                  <a:gd name="connsiteX29" fmla="*/ 58888 w 252182"/>
                  <a:gd name="connsiteY29" fmla="*/ 124968 h 364507"/>
                  <a:gd name="connsiteX30" fmla="*/ 67766 w 252182"/>
                  <a:gd name="connsiteY30" fmla="*/ 87713 h 364507"/>
                  <a:gd name="connsiteX31" fmla="*/ 92490 w 252182"/>
                  <a:gd name="connsiteY31" fmla="*/ 62990 h 364507"/>
                  <a:gd name="connsiteX32" fmla="*/ 129182 w 252182"/>
                  <a:gd name="connsiteY32" fmla="*/ 54111 h 364507"/>
                  <a:gd name="connsiteX33" fmla="*/ 165650 w 252182"/>
                  <a:gd name="connsiteY33" fmla="*/ 62990 h 364507"/>
                  <a:gd name="connsiteX34" fmla="*/ 189868 w 252182"/>
                  <a:gd name="connsiteY34" fmla="*/ 87713 h 364507"/>
                  <a:gd name="connsiteX35" fmla="*/ 198465 w 252182"/>
                  <a:gd name="connsiteY35" fmla="*/ 124968 h 364507"/>
                  <a:gd name="connsiteX36" fmla="*/ 189868 w 252182"/>
                  <a:gd name="connsiteY36" fmla="*/ 162222 h 364507"/>
                  <a:gd name="connsiteX37" fmla="*/ 165650 w 252182"/>
                  <a:gd name="connsiteY37" fmla="*/ 186946 h 364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52182" h="364507">
                    <a:moveTo>
                      <a:pt x="194813" y="31748"/>
                    </a:moveTo>
                    <a:cubicBezTo>
                      <a:pt x="187845" y="23881"/>
                      <a:pt x="179641" y="17194"/>
                      <a:pt x="169808" y="11969"/>
                    </a:cubicBezTo>
                    <a:cubicBezTo>
                      <a:pt x="154861" y="3990"/>
                      <a:pt x="137498" y="0"/>
                      <a:pt x="117719" y="0"/>
                    </a:cubicBezTo>
                    <a:cubicBezTo>
                      <a:pt x="95468" y="0"/>
                      <a:pt x="75464" y="5450"/>
                      <a:pt x="57539" y="16408"/>
                    </a:cubicBezTo>
                    <a:cubicBezTo>
                      <a:pt x="39670" y="27365"/>
                      <a:pt x="25567" y="42199"/>
                      <a:pt x="15340" y="60910"/>
                    </a:cubicBezTo>
                    <a:cubicBezTo>
                      <a:pt x="5113" y="79678"/>
                      <a:pt x="0" y="100862"/>
                      <a:pt x="0" y="124462"/>
                    </a:cubicBezTo>
                    <a:cubicBezTo>
                      <a:pt x="0" y="148062"/>
                      <a:pt x="5113" y="169414"/>
                      <a:pt x="15340" y="188519"/>
                    </a:cubicBezTo>
                    <a:cubicBezTo>
                      <a:pt x="25567" y="207624"/>
                      <a:pt x="39614" y="222627"/>
                      <a:pt x="57539" y="233584"/>
                    </a:cubicBezTo>
                    <a:cubicBezTo>
                      <a:pt x="75408" y="244541"/>
                      <a:pt x="95468" y="249992"/>
                      <a:pt x="117719" y="249992"/>
                    </a:cubicBezTo>
                    <a:cubicBezTo>
                      <a:pt x="137161" y="249992"/>
                      <a:pt x="154355" y="246002"/>
                      <a:pt x="169302" y="238023"/>
                    </a:cubicBezTo>
                    <a:cubicBezTo>
                      <a:pt x="179304" y="232685"/>
                      <a:pt x="187732" y="225830"/>
                      <a:pt x="194813" y="217682"/>
                    </a:cubicBezTo>
                    <a:lnTo>
                      <a:pt x="194813" y="244822"/>
                    </a:lnTo>
                    <a:cubicBezTo>
                      <a:pt x="194813" y="264938"/>
                      <a:pt x="188238" y="280840"/>
                      <a:pt x="175034" y="292472"/>
                    </a:cubicBezTo>
                    <a:cubicBezTo>
                      <a:pt x="161829" y="304103"/>
                      <a:pt x="143960" y="309891"/>
                      <a:pt x="121371" y="309891"/>
                    </a:cubicBezTo>
                    <a:cubicBezTo>
                      <a:pt x="103334" y="309891"/>
                      <a:pt x="87882" y="306744"/>
                      <a:pt x="75014" y="300507"/>
                    </a:cubicBezTo>
                    <a:cubicBezTo>
                      <a:pt x="62147" y="294270"/>
                      <a:pt x="50684" y="284886"/>
                      <a:pt x="40626" y="272355"/>
                    </a:cubicBezTo>
                    <a:lnTo>
                      <a:pt x="3147" y="309834"/>
                    </a:lnTo>
                    <a:cubicBezTo>
                      <a:pt x="15284" y="327197"/>
                      <a:pt x="31298" y="340627"/>
                      <a:pt x="51077" y="350179"/>
                    </a:cubicBezTo>
                    <a:cubicBezTo>
                      <a:pt x="70856" y="359732"/>
                      <a:pt x="93951" y="364508"/>
                      <a:pt x="120360" y="364508"/>
                    </a:cubicBezTo>
                    <a:cubicBezTo>
                      <a:pt x="146376" y="364508"/>
                      <a:pt x="169302" y="359451"/>
                      <a:pt x="189137" y="349392"/>
                    </a:cubicBezTo>
                    <a:cubicBezTo>
                      <a:pt x="208916" y="339334"/>
                      <a:pt x="224369" y="325343"/>
                      <a:pt x="235494" y="307474"/>
                    </a:cubicBezTo>
                    <a:cubicBezTo>
                      <a:pt x="246620" y="289606"/>
                      <a:pt x="252183" y="268647"/>
                      <a:pt x="252183" y="244710"/>
                    </a:cubicBezTo>
                    <a:lnTo>
                      <a:pt x="252183" y="5113"/>
                    </a:lnTo>
                    <a:lnTo>
                      <a:pt x="194869" y="5113"/>
                    </a:lnTo>
                    <a:lnTo>
                      <a:pt x="194869" y="31748"/>
                    </a:lnTo>
                    <a:close/>
                    <a:moveTo>
                      <a:pt x="165650" y="186946"/>
                    </a:moveTo>
                    <a:cubicBezTo>
                      <a:pt x="155254" y="192846"/>
                      <a:pt x="143061" y="195824"/>
                      <a:pt x="129182" y="195824"/>
                    </a:cubicBezTo>
                    <a:cubicBezTo>
                      <a:pt x="115303" y="195824"/>
                      <a:pt x="103053" y="192902"/>
                      <a:pt x="92490" y="186946"/>
                    </a:cubicBezTo>
                    <a:cubicBezTo>
                      <a:pt x="81870" y="181046"/>
                      <a:pt x="73666" y="172730"/>
                      <a:pt x="67766" y="161941"/>
                    </a:cubicBezTo>
                    <a:cubicBezTo>
                      <a:pt x="61866" y="151152"/>
                      <a:pt x="58888" y="138847"/>
                      <a:pt x="58888" y="124968"/>
                    </a:cubicBezTo>
                    <a:cubicBezTo>
                      <a:pt x="58888" y="110751"/>
                      <a:pt x="61810" y="98333"/>
                      <a:pt x="67766" y="87713"/>
                    </a:cubicBezTo>
                    <a:cubicBezTo>
                      <a:pt x="73666" y="77150"/>
                      <a:pt x="81926" y="68890"/>
                      <a:pt x="92490" y="62990"/>
                    </a:cubicBezTo>
                    <a:cubicBezTo>
                      <a:pt x="103053" y="57090"/>
                      <a:pt x="115303" y="54111"/>
                      <a:pt x="129182" y="54111"/>
                    </a:cubicBezTo>
                    <a:cubicBezTo>
                      <a:pt x="143061" y="54111"/>
                      <a:pt x="155198" y="57090"/>
                      <a:pt x="165650" y="62990"/>
                    </a:cubicBezTo>
                    <a:cubicBezTo>
                      <a:pt x="176045" y="68890"/>
                      <a:pt x="184136" y="77150"/>
                      <a:pt x="189868" y="87713"/>
                    </a:cubicBezTo>
                    <a:cubicBezTo>
                      <a:pt x="195599" y="98333"/>
                      <a:pt x="198465" y="110695"/>
                      <a:pt x="198465" y="124968"/>
                    </a:cubicBezTo>
                    <a:cubicBezTo>
                      <a:pt x="198465" y="139240"/>
                      <a:pt x="195599" y="151602"/>
                      <a:pt x="189868" y="162222"/>
                    </a:cubicBezTo>
                    <a:cubicBezTo>
                      <a:pt x="184136" y="172842"/>
                      <a:pt x="176101" y="181046"/>
                      <a:pt x="165650" y="186946"/>
                    </a:cubicBezTo>
                    <a:close/>
                  </a:path>
                </a:pathLst>
              </a:custGeom>
              <a:solidFill>
                <a:srgbClr val="2A4371"/>
              </a:solidFill>
              <a:ln w="5614" cap="flat">
                <a:noFill/>
                <a:prstDash val="solid"/>
                <a:miter/>
              </a:ln>
            </p:spPr>
            <p:txBody>
              <a:bodyPr rtlCol="0" anchor="ctr"/>
              <a:lstStyle/>
              <a:p>
                <a:endParaRPr lang="nl-NL"/>
              </a:p>
            </p:txBody>
          </p:sp>
          <p:sp>
            <p:nvSpPr>
              <p:cNvPr id="82" name="Vrije vorm: vorm 81">
                <a:extLst>
                  <a:ext uri="{FF2B5EF4-FFF2-40B4-BE49-F238E27FC236}">
                    <a16:creationId xmlns:a16="http://schemas.microsoft.com/office/drawing/2014/main" id="{E39E44D5-F45D-58A4-2E04-9033E37320AB}"/>
                  </a:ext>
                </a:extLst>
              </p:cNvPr>
              <p:cNvSpPr/>
              <p:nvPr/>
            </p:nvSpPr>
            <p:spPr>
              <a:xfrm>
                <a:off x="5467415" y="678483"/>
                <a:ext cx="320285" cy="375015"/>
              </a:xfrm>
              <a:custGeom>
                <a:avLst/>
                <a:gdLst>
                  <a:gd name="connsiteX0" fmla="*/ 240439 w 320285"/>
                  <a:gd name="connsiteY0" fmla="*/ 307531 h 375015"/>
                  <a:gd name="connsiteX1" fmla="*/ 183912 w 320285"/>
                  <a:gd name="connsiteY1" fmla="*/ 317701 h 375015"/>
                  <a:gd name="connsiteX2" fmla="*/ 134408 w 320285"/>
                  <a:gd name="connsiteY2" fmla="*/ 308317 h 375015"/>
                  <a:gd name="connsiteX3" fmla="*/ 95580 w 320285"/>
                  <a:gd name="connsiteY3" fmla="*/ 281514 h 375015"/>
                  <a:gd name="connsiteX4" fmla="*/ 70294 w 320285"/>
                  <a:gd name="connsiteY4" fmla="*/ 240102 h 375015"/>
                  <a:gd name="connsiteX5" fmla="*/ 61416 w 320285"/>
                  <a:gd name="connsiteY5" fmla="*/ 187508 h 375015"/>
                  <a:gd name="connsiteX6" fmla="*/ 70294 w 320285"/>
                  <a:gd name="connsiteY6" fmla="*/ 134913 h 375015"/>
                  <a:gd name="connsiteX7" fmla="*/ 95580 w 320285"/>
                  <a:gd name="connsiteY7" fmla="*/ 93501 h 375015"/>
                  <a:gd name="connsiteX8" fmla="*/ 134408 w 320285"/>
                  <a:gd name="connsiteY8" fmla="*/ 66698 h 375015"/>
                  <a:gd name="connsiteX9" fmla="*/ 183912 w 320285"/>
                  <a:gd name="connsiteY9" fmla="*/ 57314 h 375015"/>
                  <a:gd name="connsiteX10" fmla="*/ 237798 w 320285"/>
                  <a:gd name="connsiteY10" fmla="*/ 67204 h 375015"/>
                  <a:gd name="connsiteX11" fmla="*/ 277131 w 320285"/>
                  <a:gd name="connsiteY11" fmla="*/ 94793 h 375015"/>
                  <a:gd name="connsiteX12" fmla="*/ 317757 w 320285"/>
                  <a:gd name="connsiteY12" fmla="*/ 54168 h 375015"/>
                  <a:gd name="connsiteX13" fmla="*/ 260443 w 320285"/>
                  <a:gd name="connsiteY13" fmla="*/ 14610 h 375015"/>
                  <a:gd name="connsiteX14" fmla="*/ 183855 w 320285"/>
                  <a:gd name="connsiteY14" fmla="*/ 0 h 375015"/>
                  <a:gd name="connsiteX15" fmla="*/ 110695 w 320285"/>
                  <a:gd name="connsiteY15" fmla="*/ 14610 h 375015"/>
                  <a:gd name="connsiteX16" fmla="*/ 52089 w 320285"/>
                  <a:gd name="connsiteY16" fmla="*/ 54730 h 375015"/>
                  <a:gd name="connsiteX17" fmla="*/ 13542 w 320285"/>
                  <a:gd name="connsiteY17" fmla="*/ 114348 h 375015"/>
                  <a:gd name="connsiteX18" fmla="*/ 0 w 320285"/>
                  <a:gd name="connsiteY18" fmla="*/ 187508 h 375015"/>
                  <a:gd name="connsiteX19" fmla="*/ 13542 w 320285"/>
                  <a:gd name="connsiteY19" fmla="*/ 260668 h 375015"/>
                  <a:gd name="connsiteX20" fmla="*/ 52089 w 320285"/>
                  <a:gd name="connsiteY20" fmla="*/ 320567 h 375015"/>
                  <a:gd name="connsiteX21" fmla="*/ 110695 w 320285"/>
                  <a:gd name="connsiteY21" fmla="*/ 360687 h 375015"/>
                  <a:gd name="connsiteX22" fmla="*/ 183855 w 320285"/>
                  <a:gd name="connsiteY22" fmla="*/ 375015 h 375015"/>
                  <a:gd name="connsiteX23" fmla="*/ 261454 w 320285"/>
                  <a:gd name="connsiteY23" fmla="*/ 360406 h 375015"/>
                  <a:gd name="connsiteX24" fmla="*/ 320286 w 320285"/>
                  <a:gd name="connsiteY24" fmla="*/ 320286 h 375015"/>
                  <a:gd name="connsiteX25" fmla="*/ 279660 w 320285"/>
                  <a:gd name="connsiteY25" fmla="*/ 279660 h 375015"/>
                  <a:gd name="connsiteX26" fmla="*/ 240439 w 320285"/>
                  <a:gd name="connsiteY26" fmla="*/ 307531 h 3750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20285" h="375015">
                    <a:moveTo>
                      <a:pt x="240439" y="307531"/>
                    </a:moveTo>
                    <a:cubicBezTo>
                      <a:pt x="224987" y="314330"/>
                      <a:pt x="206163" y="317701"/>
                      <a:pt x="183912" y="317701"/>
                    </a:cubicBezTo>
                    <a:cubicBezTo>
                      <a:pt x="165874" y="317701"/>
                      <a:pt x="149354" y="314554"/>
                      <a:pt x="134408" y="308317"/>
                    </a:cubicBezTo>
                    <a:cubicBezTo>
                      <a:pt x="119461" y="302080"/>
                      <a:pt x="106537" y="293146"/>
                      <a:pt x="95580" y="281514"/>
                    </a:cubicBezTo>
                    <a:cubicBezTo>
                      <a:pt x="84623" y="269883"/>
                      <a:pt x="76194" y="256060"/>
                      <a:pt x="70294" y="240102"/>
                    </a:cubicBezTo>
                    <a:cubicBezTo>
                      <a:pt x="64394" y="224144"/>
                      <a:pt x="61416" y="206612"/>
                      <a:pt x="61416" y="187508"/>
                    </a:cubicBezTo>
                    <a:cubicBezTo>
                      <a:pt x="61416" y="168403"/>
                      <a:pt x="64338" y="150871"/>
                      <a:pt x="70294" y="134913"/>
                    </a:cubicBezTo>
                    <a:cubicBezTo>
                      <a:pt x="76194" y="118955"/>
                      <a:pt x="84623" y="105132"/>
                      <a:pt x="95580" y="93501"/>
                    </a:cubicBezTo>
                    <a:cubicBezTo>
                      <a:pt x="106537" y="81870"/>
                      <a:pt x="119461" y="72935"/>
                      <a:pt x="134408" y="66698"/>
                    </a:cubicBezTo>
                    <a:cubicBezTo>
                      <a:pt x="149354" y="60461"/>
                      <a:pt x="165818" y="57314"/>
                      <a:pt x="183912" y="57314"/>
                    </a:cubicBezTo>
                    <a:cubicBezTo>
                      <a:pt x="204421" y="57314"/>
                      <a:pt x="222346" y="60630"/>
                      <a:pt x="237798" y="67204"/>
                    </a:cubicBezTo>
                    <a:cubicBezTo>
                      <a:pt x="253250" y="73778"/>
                      <a:pt x="266343" y="82993"/>
                      <a:pt x="277131" y="94793"/>
                    </a:cubicBezTo>
                    <a:lnTo>
                      <a:pt x="317757" y="54168"/>
                    </a:lnTo>
                    <a:cubicBezTo>
                      <a:pt x="301069" y="37479"/>
                      <a:pt x="281964" y="24330"/>
                      <a:pt x="260443" y="14610"/>
                    </a:cubicBezTo>
                    <a:cubicBezTo>
                      <a:pt x="238922" y="4889"/>
                      <a:pt x="213412" y="0"/>
                      <a:pt x="183855" y="0"/>
                    </a:cubicBezTo>
                    <a:cubicBezTo>
                      <a:pt x="157446" y="0"/>
                      <a:pt x="133059" y="4889"/>
                      <a:pt x="110695" y="14610"/>
                    </a:cubicBezTo>
                    <a:cubicBezTo>
                      <a:pt x="88275" y="24330"/>
                      <a:pt x="68777" y="37704"/>
                      <a:pt x="52089" y="54730"/>
                    </a:cubicBezTo>
                    <a:cubicBezTo>
                      <a:pt x="35400" y="71755"/>
                      <a:pt x="22589" y="91647"/>
                      <a:pt x="13542" y="114348"/>
                    </a:cubicBezTo>
                    <a:cubicBezTo>
                      <a:pt x="4495" y="137105"/>
                      <a:pt x="0" y="161491"/>
                      <a:pt x="0" y="187508"/>
                    </a:cubicBezTo>
                    <a:cubicBezTo>
                      <a:pt x="0" y="213524"/>
                      <a:pt x="4495" y="237967"/>
                      <a:pt x="13542" y="260668"/>
                    </a:cubicBezTo>
                    <a:cubicBezTo>
                      <a:pt x="22589" y="283425"/>
                      <a:pt x="35400" y="303373"/>
                      <a:pt x="52089" y="320567"/>
                    </a:cubicBezTo>
                    <a:cubicBezTo>
                      <a:pt x="68777" y="337761"/>
                      <a:pt x="88275" y="351134"/>
                      <a:pt x="110695" y="360687"/>
                    </a:cubicBezTo>
                    <a:cubicBezTo>
                      <a:pt x="133115" y="370239"/>
                      <a:pt x="157502" y="375015"/>
                      <a:pt x="183855" y="375015"/>
                    </a:cubicBezTo>
                    <a:cubicBezTo>
                      <a:pt x="213018" y="375015"/>
                      <a:pt x="238866" y="370127"/>
                      <a:pt x="261454" y="360406"/>
                    </a:cubicBezTo>
                    <a:cubicBezTo>
                      <a:pt x="284043" y="350685"/>
                      <a:pt x="303653" y="337312"/>
                      <a:pt x="320286" y="320286"/>
                    </a:cubicBezTo>
                    <a:lnTo>
                      <a:pt x="279660" y="279660"/>
                    </a:lnTo>
                    <a:cubicBezTo>
                      <a:pt x="268984" y="291460"/>
                      <a:pt x="255892" y="300732"/>
                      <a:pt x="240439" y="307531"/>
                    </a:cubicBezTo>
                    <a:close/>
                  </a:path>
                </a:pathLst>
              </a:custGeom>
              <a:solidFill>
                <a:srgbClr val="2A4371"/>
              </a:solidFill>
              <a:ln w="5614" cap="flat">
                <a:noFill/>
                <a:prstDash val="solid"/>
                <a:miter/>
              </a:ln>
            </p:spPr>
            <p:txBody>
              <a:bodyPr rtlCol="0" anchor="ctr"/>
              <a:lstStyle/>
              <a:p>
                <a:endParaRPr lang="nl-NL"/>
              </a:p>
            </p:txBody>
          </p:sp>
          <p:sp>
            <p:nvSpPr>
              <p:cNvPr id="83" name="Vrije vorm: vorm 82">
                <a:extLst>
                  <a:ext uri="{FF2B5EF4-FFF2-40B4-BE49-F238E27FC236}">
                    <a16:creationId xmlns:a16="http://schemas.microsoft.com/office/drawing/2014/main" id="{5E96C90F-CEE1-39F2-C950-893D10827177}"/>
                  </a:ext>
                </a:extLst>
              </p:cNvPr>
              <p:cNvSpPr/>
              <p:nvPr/>
            </p:nvSpPr>
            <p:spPr>
              <a:xfrm>
                <a:off x="5810233" y="793055"/>
                <a:ext cx="261960" cy="260499"/>
              </a:xfrm>
              <a:custGeom>
                <a:avLst/>
                <a:gdLst>
                  <a:gd name="connsiteX0" fmla="*/ 197397 w 261960"/>
                  <a:gd name="connsiteY0" fmla="*/ 17194 h 260499"/>
                  <a:gd name="connsiteX1" fmla="*/ 130699 w 261960"/>
                  <a:gd name="connsiteY1" fmla="*/ 0 h 260499"/>
                  <a:gd name="connsiteX2" fmla="*/ 64563 w 261960"/>
                  <a:gd name="connsiteY2" fmla="*/ 17475 h 260499"/>
                  <a:gd name="connsiteX3" fmla="*/ 17419 w 261960"/>
                  <a:gd name="connsiteY3" fmla="*/ 64113 h 260499"/>
                  <a:gd name="connsiteX4" fmla="*/ 0 w 261960"/>
                  <a:gd name="connsiteY4" fmla="*/ 129744 h 260499"/>
                  <a:gd name="connsiteX5" fmla="*/ 17419 w 261960"/>
                  <a:gd name="connsiteY5" fmla="*/ 195880 h 260499"/>
                  <a:gd name="connsiteX6" fmla="*/ 64563 w 261960"/>
                  <a:gd name="connsiteY6" fmla="*/ 243024 h 260499"/>
                  <a:gd name="connsiteX7" fmla="*/ 130699 w 261960"/>
                  <a:gd name="connsiteY7" fmla="*/ 260499 h 260499"/>
                  <a:gd name="connsiteX8" fmla="*/ 197397 w 261960"/>
                  <a:gd name="connsiteY8" fmla="*/ 243024 h 260499"/>
                  <a:gd name="connsiteX9" fmla="*/ 244541 w 261960"/>
                  <a:gd name="connsiteY9" fmla="*/ 195880 h 260499"/>
                  <a:gd name="connsiteX10" fmla="*/ 261960 w 261960"/>
                  <a:gd name="connsiteY10" fmla="*/ 129744 h 260499"/>
                  <a:gd name="connsiteX11" fmla="*/ 244541 w 261960"/>
                  <a:gd name="connsiteY11" fmla="*/ 63832 h 260499"/>
                  <a:gd name="connsiteX12" fmla="*/ 197397 w 261960"/>
                  <a:gd name="connsiteY12" fmla="*/ 17194 h 260499"/>
                  <a:gd name="connsiteX13" fmla="*/ 193970 w 261960"/>
                  <a:gd name="connsiteY13" fmla="*/ 168740 h 260499"/>
                  <a:gd name="connsiteX14" fmla="*/ 168459 w 261960"/>
                  <a:gd name="connsiteY14" fmla="*/ 195543 h 260499"/>
                  <a:gd name="connsiteX15" fmla="*/ 130699 w 261960"/>
                  <a:gd name="connsiteY15" fmla="*/ 205151 h 260499"/>
                  <a:gd name="connsiteX16" fmla="*/ 93445 w 261960"/>
                  <a:gd name="connsiteY16" fmla="*/ 195543 h 260499"/>
                  <a:gd name="connsiteX17" fmla="*/ 67934 w 261960"/>
                  <a:gd name="connsiteY17" fmla="*/ 168740 h 260499"/>
                  <a:gd name="connsiteX18" fmla="*/ 58832 w 261960"/>
                  <a:gd name="connsiteY18" fmla="*/ 129688 h 260499"/>
                  <a:gd name="connsiteX19" fmla="*/ 67934 w 261960"/>
                  <a:gd name="connsiteY19" fmla="*/ 91141 h 260499"/>
                  <a:gd name="connsiteX20" fmla="*/ 93445 w 261960"/>
                  <a:gd name="connsiteY20" fmla="*/ 64844 h 260499"/>
                  <a:gd name="connsiteX21" fmla="*/ 130699 w 261960"/>
                  <a:gd name="connsiteY21" fmla="*/ 55235 h 260499"/>
                  <a:gd name="connsiteX22" fmla="*/ 168178 w 261960"/>
                  <a:gd name="connsiteY22" fmla="*/ 64844 h 260499"/>
                  <a:gd name="connsiteX23" fmla="*/ 193689 w 261960"/>
                  <a:gd name="connsiteY23" fmla="*/ 91141 h 260499"/>
                  <a:gd name="connsiteX24" fmla="*/ 203073 w 261960"/>
                  <a:gd name="connsiteY24" fmla="*/ 129688 h 260499"/>
                  <a:gd name="connsiteX25" fmla="*/ 193970 w 261960"/>
                  <a:gd name="connsiteY25" fmla="*/ 168740 h 26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1960" h="260499">
                    <a:moveTo>
                      <a:pt x="197397" y="17194"/>
                    </a:moveTo>
                    <a:cubicBezTo>
                      <a:pt x="177618" y="5731"/>
                      <a:pt x="155367" y="0"/>
                      <a:pt x="130699" y="0"/>
                    </a:cubicBezTo>
                    <a:cubicBezTo>
                      <a:pt x="106369" y="0"/>
                      <a:pt x="84342" y="5844"/>
                      <a:pt x="64563" y="17475"/>
                    </a:cubicBezTo>
                    <a:cubicBezTo>
                      <a:pt x="44784" y="29107"/>
                      <a:pt x="29051" y="44671"/>
                      <a:pt x="17419" y="64113"/>
                    </a:cubicBezTo>
                    <a:cubicBezTo>
                      <a:pt x="5788" y="83555"/>
                      <a:pt x="0" y="105413"/>
                      <a:pt x="0" y="129744"/>
                    </a:cubicBezTo>
                    <a:cubicBezTo>
                      <a:pt x="0" y="154074"/>
                      <a:pt x="5788" y="176101"/>
                      <a:pt x="17419" y="195880"/>
                    </a:cubicBezTo>
                    <a:cubicBezTo>
                      <a:pt x="29051" y="215659"/>
                      <a:pt x="44784" y="231392"/>
                      <a:pt x="64563" y="243024"/>
                    </a:cubicBezTo>
                    <a:cubicBezTo>
                      <a:pt x="84342" y="254655"/>
                      <a:pt x="106425" y="260499"/>
                      <a:pt x="130699" y="260499"/>
                    </a:cubicBezTo>
                    <a:cubicBezTo>
                      <a:pt x="155367" y="260499"/>
                      <a:pt x="177562" y="254712"/>
                      <a:pt x="197397" y="243024"/>
                    </a:cubicBezTo>
                    <a:cubicBezTo>
                      <a:pt x="217176" y="231392"/>
                      <a:pt x="232910" y="215659"/>
                      <a:pt x="244541" y="195880"/>
                    </a:cubicBezTo>
                    <a:cubicBezTo>
                      <a:pt x="256173" y="176101"/>
                      <a:pt x="261960" y="154018"/>
                      <a:pt x="261960" y="129744"/>
                    </a:cubicBezTo>
                    <a:cubicBezTo>
                      <a:pt x="261960" y="105413"/>
                      <a:pt x="256116" y="83499"/>
                      <a:pt x="244541" y="63832"/>
                    </a:cubicBezTo>
                    <a:cubicBezTo>
                      <a:pt x="232853" y="44166"/>
                      <a:pt x="217176" y="28657"/>
                      <a:pt x="197397" y="17194"/>
                    </a:cubicBezTo>
                    <a:close/>
                    <a:moveTo>
                      <a:pt x="193970" y="168740"/>
                    </a:moveTo>
                    <a:cubicBezTo>
                      <a:pt x="187901" y="180203"/>
                      <a:pt x="179360" y="189137"/>
                      <a:pt x="168459" y="195543"/>
                    </a:cubicBezTo>
                    <a:cubicBezTo>
                      <a:pt x="157502" y="201949"/>
                      <a:pt x="144916" y="205151"/>
                      <a:pt x="130699" y="205151"/>
                    </a:cubicBezTo>
                    <a:cubicBezTo>
                      <a:pt x="116820" y="205151"/>
                      <a:pt x="104402" y="201949"/>
                      <a:pt x="93445" y="195543"/>
                    </a:cubicBezTo>
                    <a:cubicBezTo>
                      <a:pt x="82488" y="189137"/>
                      <a:pt x="74003" y="180203"/>
                      <a:pt x="67934" y="168740"/>
                    </a:cubicBezTo>
                    <a:cubicBezTo>
                      <a:pt x="61866" y="157277"/>
                      <a:pt x="58832" y="144241"/>
                      <a:pt x="58832" y="129688"/>
                    </a:cubicBezTo>
                    <a:cubicBezTo>
                      <a:pt x="58832" y="115078"/>
                      <a:pt x="61866" y="102267"/>
                      <a:pt x="67934" y="91141"/>
                    </a:cubicBezTo>
                    <a:cubicBezTo>
                      <a:pt x="74003" y="80015"/>
                      <a:pt x="82544" y="71250"/>
                      <a:pt x="93445" y="64844"/>
                    </a:cubicBezTo>
                    <a:cubicBezTo>
                      <a:pt x="104402" y="58438"/>
                      <a:pt x="116820" y="55235"/>
                      <a:pt x="130699" y="55235"/>
                    </a:cubicBezTo>
                    <a:cubicBezTo>
                      <a:pt x="144916" y="55235"/>
                      <a:pt x="157446" y="58438"/>
                      <a:pt x="168178" y="64844"/>
                    </a:cubicBezTo>
                    <a:cubicBezTo>
                      <a:pt x="178967" y="71250"/>
                      <a:pt x="187452" y="80015"/>
                      <a:pt x="193689" y="91141"/>
                    </a:cubicBezTo>
                    <a:cubicBezTo>
                      <a:pt x="199926" y="102267"/>
                      <a:pt x="203073" y="115078"/>
                      <a:pt x="203073" y="129688"/>
                    </a:cubicBezTo>
                    <a:cubicBezTo>
                      <a:pt x="203129" y="144241"/>
                      <a:pt x="200038" y="157277"/>
                      <a:pt x="193970" y="168740"/>
                    </a:cubicBezTo>
                    <a:close/>
                  </a:path>
                </a:pathLst>
              </a:custGeom>
              <a:solidFill>
                <a:srgbClr val="2A4371"/>
              </a:solidFill>
              <a:ln w="5614" cap="flat">
                <a:noFill/>
                <a:prstDash val="solid"/>
                <a:miter/>
              </a:ln>
            </p:spPr>
            <p:txBody>
              <a:bodyPr rtlCol="0" anchor="ctr"/>
              <a:lstStyle/>
              <a:p>
                <a:endParaRPr lang="nl-NL"/>
              </a:p>
            </p:txBody>
          </p:sp>
          <p:sp>
            <p:nvSpPr>
              <p:cNvPr id="84" name="Vrije vorm: vorm 83">
                <a:extLst>
                  <a:ext uri="{FF2B5EF4-FFF2-40B4-BE49-F238E27FC236}">
                    <a16:creationId xmlns:a16="http://schemas.microsoft.com/office/drawing/2014/main" id="{D8AE4A83-8807-8090-0C40-0C490B6A6F8B}"/>
                  </a:ext>
                </a:extLst>
              </p:cNvPr>
              <p:cNvSpPr/>
              <p:nvPr/>
            </p:nvSpPr>
            <p:spPr>
              <a:xfrm>
                <a:off x="6103941" y="793055"/>
                <a:ext cx="254149" cy="260499"/>
              </a:xfrm>
              <a:custGeom>
                <a:avLst/>
                <a:gdLst>
                  <a:gd name="connsiteX0" fmla="*/ 196891 w 254149"/>
                  <a:gd name="connsiteY0" fmla="*/ 33209 h 260499"/>
                  <a:gd name="connsiteX1" fmla="*/ 171100 w 254149"/>
                  <a:gd name="connsiteY1" fmla="*/ 12250 h 260499"/>
                  <a:gd name="connsiteX2" fmla="*/ 120304 w 254149"/>
                  <a:gd name="connsiteY2" fmla="*/ 0 h 260499"/>
                  <a:gd name="connsiteX3" fmla="*/ 59113 w 254149"/>
                  <a:gd name="connsiteY3" fmla="*/ 17475 h 260499"/>
                  <a:gd name="connsiteX4" fmla="*/ 15902 w 254149"/>
                  <a:gd name="connsiteY4" fmla="*/ 64338 h 260499"/>
                  <a:gd name="connsiteX5" fmla="*/ 0 w 254149"/>
                  <a:gd name="connsiteY5" fmla="*/ 130755 h 260499"/>
                  <a:gd name="connsiteX6" fmla="*/ 15902 w 254149"/>
                  <a:gd name="connsiteY6" fmla="*/ 196667 h 260499"/>
                  <a:gd name="connsiteX7" fmla="*/ 59113 w 254149"/>
                  <a:gd name="connsiteY7" fmla="*/ 243305 h 260499"/>
                  <a:gd name="connsiteX8" fmla="*/ 120304 w 254149"/>
                  <a:gd name="connsiteY8" fmla="*/ 260499 h 260499"/>
                  <a:gd name="connsiteX9" fmla="*/ 171325 w 254149"/>
                  <a:gd name="connsiteY9" fmla="*/ 248250 h 260499"/>
                  <a:gd name="connsiteX10" fmla="*/ 196835 w 254149"/>
                  <a:gd name="connsiteY10" fmla="*/ 227684 h 260499"/>
                  <a:gd name="connsiteX11" fmla="*/ 196835 w 254149"/>
                  <a:gd name="connsiteY11" fmla="*/ 255273 h 260499"/>
                  <a:gd name="connsiteX12" fmla="*/ 254149 w 254149"/>
                  <a:gd name="connsiteY12" fmla="*/ 255273 h 260499"/>
                  <a:gd name="connsiteX13" fmla="*/ 254149 w 254149"/>
                  <a:gd name="connsiteY13" fmla="*/ 5282 h 260499"/>
                  <a:gd name="connsiteX14" fmla="*/ 196835 w 254149"/>
                  <a:gd name="connsiteY14" fmla="*/ 5282 h 260499"/>
                  <a:gd name="connsiteX15" fmla="*/ 196835 w 254149"/>
                  <a:gd name="connsiteY15" fmla="*/ 33209 h 260499"/>
                  <a:gd name="connsiteX16" fmla="*/ 180990 w 254149"/>
                  <a:gd name="connsiteY16" fmla="*/ 184867 h 260499"/>
                  <a:gd name="connsiteX17" fmla="*/ 129688 w 254149"/>
                  <a:gd name="connsiteY17" fmla="*/ 206219 h 260499"/>
                  <a:gd name="connsiteX18" fmla="*/ 92939 w 254149"/>
                  <a:gd name="connsiteY18" fmla="*/ 196611 h 260499"/>
                  <a:gd name="connsiteX19" fmla="*/ 67934 w 254149"/>
                  <a:gd name="connsiteY19" fmla="*/ 169808 h 260499"/>
                  <a:gd name="connsiteX20" fmla="*/ 58832 w 254149"/>
                  <a:gd name="connsiteY20" fmla="*/ 130250 h 260499"/>
                  <a:gd name="connsiteX21" fmla="*/ 67934 w 254149"/>
                  <a:gd name="connsiteY21" fmla="*/ 90691 h 260499"/>
                  <a:gd name="connsiteX22" fmla="*/ 92939 w 254149"/>
                  <a:gd name="connsiteY22" fmla="*/ 63889 h 260499"/>
                  <a:gd name="connsiteX23" fmla="*/ 129688 w 254149"/>
                  <a:gd name="connsiteY23" fmla="*/ 54280 h 260499"/>
                  <a:gd name="connsiteX24" fmla="*/ 166942 w 254149"/>
                  <a:gd name="connsiteY24" fmla="*/ 63889 h 260499"/>
                  <a:gd name="connsiteX25" fmla="*/ 191666 w 254149"/>
                  <a:gd name="connsiteY25" fmla="*/ 90691 h 260499"/>
                  <a:gd name="connsiteX26" fmla="*/ 200544 w 254149"/>
                  <a:gd name="connsiteY26" fmla="*/ 130250 h 260499"/>
                  <a:gd name="connsiteX27" fmla="*/ 180990 w 254149"/>
                  <a:gd name="connsiteY27" fmla="*/ 184867 h 260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54149" h="260499">
                    <a:moveTo>
                      <a:pt x="196891" y="33209"/>
                    </a:moveTo>
                    <a:cubicBezTo>
                      <a:pt x="189643" y="24836"/>
                      <a:pt x="181158" y="17756"/>
                      <a:pt x="171100" y="12250"/>
                    </a:cubicBezTo>
                    <a:cubicBezTo>
                      <a:pt x="156322" y="4102"/>
                      <a:pt x="139409" y="0"/>
                      <a:pt x="120304" y="0"/>
                    </a:cubicBezTo>
                    <a:cubicBezTo>
                      <a:pt x="97715" y="0"/>
                      <a:pt x="77318" y="5844"/>
                      <a:pt x="59113" y="17475"/>
                    </a:cubicBezTo>
                    <a:cubicBezTo>
                      <a:pt x="40907" y="29107"/>
                      <a:pt x="26466" y="44728"/>
                      <a:pt x="15902" y="64338"/>
                    </a:cubicBezTo>
                    <a:cubicBezTo>
                      <a:pt x="5282" y="83949"/>
                      <a:pt x="0" y="106088"/>
                      <a:pt x="0" y="130755"/>
                    </a:cubicBezTo>
                    <a:cubicBezTo>
                      <a:pt x="0" y="155086"/>
                      <a:pt x="5282" y="177000"/>
                      <a:pt x="15902" y="196667"/>
                    </a:cubicBezTo>
                    <a:cubicBezTo>
                      <a:pt x="26466" y="216277"/>
                      <a:pt x="40907" y="231842"/>
                      <a:pt x="59113" y="243305"/>
                    </a:cubicBezTo>
                    <a:cubicBezTo>
                      <a:pt x="77318" y="254768"/>
                      <a:pt x="97715" y="260499"/>
                      <a:pt x="120304" y="260499"/>
                    </a:cubicBezTo>
                    <a:cubicBezTo>
                      <a:pt x="139409" y="260499"/>
                      <a:pt x="156434" y="256397"/>
                      <a:pt x="171325" y="248250"/>
                    </a:cubicBezTo>
                    <a:cubicBezTo>
                      <a:pt x="181327" y="242799"/>
                      <a:pt x="189755" y="235832"/>
                      <a:pt x="196835" y="227684"/>
                    </a:cubicBezTo>
                    <a:lnTo>
                      <a:pt x="196835" y="255273"/>
                    </a:lnTo>
                    <a:lnTo>
                      <a:pt x="254149" y="255273"/>
                    </a:lnTo>
                    <a:lnTo>
                      <a:pt x="254149" y="5282"/>
                    </a:lnTo>
                    <a:lnTo>
                      <a:pt x="196835" y="5282"/>
                    </a:lnTo>
                    <a:lnTo>
                      <a:pt x="196835" y="33209"/>
                    </a:lnTo>
                    <a:close/>
                    <a:moveTo>
                      <a:pt x="180990" y="184867"/>
                    </a:moveTo>
                    <a:cubicBezTo>
                      <a:pt x="167953" y="199083"/>
                      <a:pt x="150871" y="206219"/>
                      <a:pt x="129688" y="206219"/>
                    </a:cubicBezTo>
                    <a:cubicBezTo>
                      <a:pt x="115809" y="206219"/>
                      <a:pt x="103559" y="203016"/>
                      <a:pt x="92939" y="196611"/>
                    </a:cubicBezTo>
                    <a:cubicBezTo>
                      <a:pt x="82319" y="190205"/>
                      <a:pt x="74003" y="181271"/>
                      <a:pt x="67934" y="169808"/>
                    </a:cubicBezTo>
                    <a:cubicBezTo>
                      <a:pt x="61866" y="158345"/>
                      <a:pt x="58832" y="145140"/>
                      <a:pt x="58832" y="130250"/>
                    </a:cubicBezTo>
                    <a:cubicBezTo>
                      <a:pt x="58832" y="115303"/>
                      <a:pt x="61866" y="102098"/>
                      <a:pt x="67934" y="90691"/>
                    </a:cubicBezTo>
                    <a:cubicBezTo>
                      <a:pt x="74003" y="79229"/>
                      <a:pt x="82319" y="70294"/>
                      <a:pt x="92939" y="63889"/>
                    </a:cubicBezTo>
                    <a:cubicBezTo>
                      <a:pt x="103503" y="57483"/>
                      <a:pt x="115752" y="54280"/>
                      <a:pt x="129688" y="54280"/>
                    </a:cubicBezTo>
                    <a:cubicBezTo>
                      <a:pt x="143904" y="54280"/>
                      <a:pt x="156322" y="57483"/>
                      <a:pt x="166942" y="63889"/>
                    </a:cubicBezTo>
                    <a:cubicBezTo>
                      <a:pt x="177506" y="70294"/>
                      <a:pt x="185766" y="79229"/>
                      <a:pt x="191666" y="90691"/>
                    </a:cubicBezTo>
                    <a:cubicBezTo>
                      <a:pt x="197566" y="102154"/>
                      <a:pt x="200544" y="115359"/>
                      <a:pt x="200544" y="130250"/>
                    </a:cubicBezTo>
                    <a:cubicBezTo>
                      <a:pt x="200544" y="152445"/>
                      <a:pt x="194026" y="170651"/>
                      <a:pt x="180990" y="184867"/>
                    </a:cubicBezTo>
                    <a:close/>
                  </a:path>
                </a:pathLst>
              </a:custGeom>
              <a:solidFill>
                <a:srgbClr val="2A4371"/>
              </a:solidFill>
              <a:ln w="5614" cap="flat">
                <a:noFill/>
                <a:prstDash val="solid"/>
                <a:miter/>
              </a:ln>
            </p:spPr>
            <p:txBody>
              <a:bodyPr rtlCol="0" anchor="ctr"/>
              <a:lstStyle/>
              <a:p>
                <a:endParaRPr lang="nl-NL"/>
              </a:p>
            </p:txBody>
          </p:sp>
          <p:sp>
            <p:nvSpPr>
              <p:cNvPr id="85" name="Vrije vorm: vorm 84">
                <a:extLst>
                  <a:ext uri="{FF2B5EF4-FFF2-40B4-BE49-F238E27FC236}">
                    <a16:creationId xmlns:a16="http://schemas.microsoft.com/office/drawing/2014/main" id="{F2FFBD6D-8947-7DC4-98AB-C3CDEA662D8F}"/>
                  </a:ext>
                </a:extLst>
              </p:cNvPr>
              <p:cNvSpPr/>
              <p:nvPr/>
            </p:nvSpPr>
            <p:spPr>
              <a:xfrm>
                <a:off x="6421699" y="683653"/>
                <a:ext cx="57314" cy="364620"/>
              </a:xfrm>
              <a:custGeom>
                <a:avLst/>
                <a:gdLst>
                  <a:gd name="connsiteX0" fmla="*/ 0 w 57314"/>
                  <a:gd name="connsiteY0" fmla="*/ 0 h 364620"/>
                  <a:gd name="connsiteX1" fmla="*/ 57314 w 57314"/>
                  <a:gd name="connsiteY1" fmla="*/ 0 h 364620"/>
                  <a:gd name="connsiteX2" fmla="*/ 57314 w 57314"/>
                  <a:gd name="connsiteY2" fmla="*/ 364620 h 364620"/>
                  <a:gd name="connsiteX3" fmla="*/ 0 w 57314"/>
                  <a:gd name="connsiteY3" fmla="*/ 364620 h 364620"/>
                </a:gdLst>
                <a:ahLst/>
                <a:cxnLst>
                  <a:cxn ang="0">
                    <a:pos x="connsiteX0" y="connsiteY0"/>
                  </a:cxn>
                  <a:cxn ang="0">
                    <a:pos x="connsiteX1" y="connsiteY1"/>
                  </a:cxn>
                  <a:cxn ang="0">
                    <a:pos x="connsiteX2" y="connsiteY2"/>
                  </a:cxn>
                  <a:cxn ang="0">
                    <a:pos x="connsiteX3" y="connsiteY3"/>
                  </a:cxn>
                </a:cxnLst>
                <a:rect l="l" t="t" r="r" b="b"/>
                <a:pathLst>
                  <a:path w="57314" h="364620">
                    <a:moveTo>
                      <a:pt x="0" y="0"/>
                    </a:moveTo>
                    <a:lnTo>
                      <a:pt x="57314" y="0"/>
                    </a:lnTo>
                    <a:lnTo>
                      <a:pt x="57314" y="364620"/>
                    </a:lnTo>
                    <a:lnTo>
                      <a:pt x="0" y="364620"/>
                    </a:lnTo>
                    <a:close/>
                  </a:path>
                </a:pathLst>
              </a:custGeom>
              <a:solidFill>
                <a:srgbClr val="2A4371"/>
              </a:solidFill>
              <a:ln w="5614" cap="flat">
                <a:noFill/>
                <a:prstDash val="solid"/>
                <a:miter/>
              </a:ln>
            </p:spPr>
            <p:txBody>
              <a:bodyPr rtlCol="0" anchor="ctr"/>
              <a:lstStyle/>
              <a:p>
                <a:endParaRPr lang="nl-NL"/>
              </a:p>
            </p:txBody>
          </p:sp>
          <p:sp>
            <p:nvSpPr>
              <p:cNvPr id="86" name="Vrije vorm: vorm 85">
                <a:extLst>
                  <a:ext uri="{FF2B5EF4-FFF2-40B4-BE49-F238E27FC236}">
                    <a16:creationId xmlns:a16="http://schemas.microsoft.com/office/drawing/2014/main" id="{A6901541-142E-5865-2EBB-419237F59DFE}"/>
                  </a:ext>
                </a:extLst>
              </p:cNvPr>
              <p:cNvSpPr/>
              <p:nvPr/>
            </p:nvSpPr>
            <p:spPr>
              <a:xfrm>
                <a:off x="6543014" y="798225"/>
                <a:ext cx="57314" cy="249991"/>
              </a:xfrm>
              <a:custGeom>
                <a:avLst/>
                <a:gdLst>
                  <a:gd name="connsiteX0" fmla="*/ 0 w 57314"/>
                  <a:gd name="connsiteY0" fmla="*/ 0 h 249991"/>
                  <a:gd name="connsiteX1" fmla="*/ 57314 w 57314"/>
                  <a:gd name="connsiteY1" fmla="*/ 0 h 249991"/>
                  <a:gd name="connsiteX2" fmla="*/ 57314 w 57314"/>
                  <a:gd name="connsiteY2" fmla="*/ 249992 h 249991"/>
                  <a:gd name="connsiteX3" fmla="*/ 0 w 57314"/>
                  <a:gd name="connsiteY3" fmla="*/ 249992 h 249991"/>
                </a:gdLst>
                <a:ahLst/>
                <a:cxnLst>
                  <a:cxn ang="0">
                    <a:pos x="connsiteX0" y="connsiteY0"/>
                  </a:cxn>
                  <a:cxn ang="0">
                    <a:pos x="connsiteX1" y="connsiteY1"/>
                  </a:cxn>
                  <a:cxn ang="0">
                    <a:pos x="connsiteX2" y="connsiteY2"/>
                  </a:cxn>
                  <a:cxn ang="0">
                    <a:pos x="connsiteX3" y="connsiteY3"/>
                  </a:cxn>
                </a:cxnLst>
                <a:rect l="l" t="t" r="r" b="b"/>
                <a:pathLst>
                  <a:path w="57314" h="249991">
                    <a:moveTo>
                      <a:pt x="0" y="0"/>
                    </a:moveTo>
                    <a:lnTo>
                      <a:pt x="57314" y="0"/>
                    </a:lnTo>
                    <a:lnTo>
                      <a:pt x="57314" y="249992"/>
                    </a:lnTo>
                    <a:lnTo>
                      <a:pt x="0" y="249992"/>
                    </a:lnTo>
                    <a:close/>
                  </a:path>
                </a:pathLst>
              </a:custGeom>
              <a:solidFill>
                <a:srgbClr val="2A4371"/>
              </a:solidFill>
              <a:ln w="5614" cap="flat">
                <a:noFill/>
                <a:prstDash val="solid"/>
                <a:miter/>
              </a:ln>
            </p:spPr>
            <p:txBody>
              <a:bodyPr rtlCol="0" anchor="ctr"/>
              <a:lstStyle/>
              <a:p>
                <a:endParaRPr lang="nl-NL"/>
              </a:p>
            </p:txBody>
          </p:sp>
          <p:sp>
            <p:nvSpPr>
              <p:cNvPr id="87" name="Vrije vorm: vorm 86">
                <a:extLst>
                  <a:ext uri="{FF2B5EF4-FFF2-40B4-BE49-F238E27FC236}">
                    <a16:creationId xmlns:a16="http://schemas.microsoft.com/office/drawing/2014/main" id="{008BEFAA-CA44-1B56-15F5-0D405E2DE428}"/>
                  </a:ext>
                </a:extLst>
              </p:cNvPr>
              <p:cNvSpPr/>
              <p:nvPr/>
            </p:nvSpPr>
            <p:spPr>
              <a:xfrm>
                <a:off x="6537844" y="683653"/>
                <a:ext cx="67709" cy="68777"/>
              </a:xfrm>
              <a:custGeom>
                <a:avLst/>
                <a:gdLst>
                  <a:gd name="connsiteX0" fmla="*/ 33826 w 67709"/>
                  <a:gd name="connsiteY0" fmla="*/ 0 h 68777"/>
                  <a:gd name="connsiteX1" fmla="*/ 9608 w 67709"/>
                  <a:gd name="connsiteY1" fmla="*/ 9890 h 68777"/>
                  <a:gd name="connsiteX2" fmla="*/ 0 w 67709"/>
                  <a:gd name="connsiteY2" fmla="*/ 34389 h 68777"/>
                  <a:gd name="connsiteX3" fmla="*/ 9608 w 67709"/>
                  <a:gd name="connsiteY3" fmla="*/ 58888 h 68777"/>
                  <a:gd name="connsiteX4" fmla="*/ 33826 w 67709"/>
                  <a:gd name="connsiteY4" fmla="*/ 68777 h 68777"/>
                  <a:gd name="connsiteX5" fmla="*/ 58325 w 67709"/>
                  <a:gd name="connsiteY5" fmla="*/ 58888 h 68777"/>
                  <a:gd name="connsiteX6" fmla="*/ 67709 w 67709"/>
                  <a:gd name="connsiteY6" fmla="*/ 34389 h 68777"/>
                  <a:gd name="connsiteX7" fmla="*/ 58325 w 67709"/>
                  <a:gd name="connsiteY7" fmla="*/ 9890 h 68777"/>
                  <a:gd name="connsiteX8" fmla="*/ 33826 w 67709"/>
                  <a:gd name="connsiteY8" fmla="*/ 0 h 6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09" h="68777">
                    <a:moveTo>
                      <a:pt x="33826" y="0"/>
                    </a:moveTo>
                    <a:cubicBezTo>
                      <a:pt x="24106" y="0"/>
                      <a:pt x="16014" y="3315"/>
                      <a:pt x="9608" y="9890"/>
                    </a:cubicBezTo>
                    <a:cubicBezTo>
                      <a:pt x="3203" y="16464"/>
                      <a:pt x="0" y="24668"/>
                      <a:pt x="0" y="34389"/>
                    </a:cubicBezTo>
                    <a:cubicBezTo>
                      <a:pt x="0" y="44110"/>
                      <a:pt x="3203" y="52257"/>
                      <a:pt x="9608" y="58888"/>
                    </a:cubicBezTo>
                    <a:cubicBezTo>
                      <a:pt x="16014" y="65462"/>
                      <a:pt x="24106" y="68777"/>
                      <a:pt x="33826" y="68777"/>
                    </a:cubicBezTo>
                    <a:cubicBezTo>
                      <a:pt x="43885" y="68777"/>
                      <a:pt x="52088" y="65462"/>
                      <a:pt x="58325" y="58888"/>
                    </a:cubicBezTo>
                    <a:cubicBezTo>
                      <a:pt x="64563" y="52313"/>
                      <a:pt x="67709" y="44110"/>
                      <a:pt x="67709" y="34389"/>
                    </a:cubicBezTo>
                    <a:cubicBezTo>
                      <a:pt x="67709" y="24668"/>
                      <a:pt x="64563" y="16520"/>
                      <a:pt x="58325" y="9890"/>
                    </a:cubicBezTo>
                    <a:cubicBezTo>
                      <a:pt x="52088" y="3259"/>
                      <a:pt x="43885" y="0"/>
                      <a:pt x="33826" y="0"/>
                    </a:cubicBezTo>
                    <a:close/>
                  </a:path>
                </a:pathLst>
              </a:custGeom>
              <a:solidFill>
                <a:srgbClr val="2A4371"/>
              </a:solidFill>
              <a:ln w="5614" cap="flat">
                <a:noFill/>
                <a:prstDash val="solid"/>
                <a:miter/>
              </a:ln>
            </p:spPr>
            <p:txBody>
              <a:bodyPr rtlCol="0" anchor="ctr"/>
              <a:lstStyle/>
              <a:p>
                <a:endParaRPr lang="nl-NL"/>
              </a:p>
            </p:txBody>
          </p:sp>
          <p:sp>
            <p:nvSpPr>
              <p:cNvPr id="88" name="Vrije vorm: vorm 87">
                <a:extLst>
                  <a:ext uri="{FF2B5EF4-FFF2-40B4-BE49-F238E27FC236}">
                    <a16:creationId xmlns:a16="http://schemas.microsoft.com/office/drawing/2014/main" id="{1A32740E-9216-D658-3F75-FE7E67D4FC05}"/>
                  </a:ext>
                </a:extLst>
              </p:cNvPr>
              <p:cNvSpPr/>
              <p:nvPr/>
            </p:nvSpPr>
            <p:spPr>
              <a:xfrm>
                <a:off x="6642527" y="683653"/>
                <a:ext cx="177056" cy="364620"/>
              </a:xfrm>
              <a:custGeom>
                <a:avLst/>
                <a:gdLst>
                  <a:gd name="connsiteX0" fmla="*/ 117157 w 177056"/>
                  <a:gd name="connsiteY0" fmla="*/ 0 h 364620"/>
                  <a:gd name="connsiteX1" fmla="*/ 59899 w 177056"/>
                  <a:gd name="connsiteY1" fmla="*/ 0 h 364620"/>
                  <a:gd name="connsiteX2" fmla="*/ 59899 w 177056"/>
                  <a:gd name="connsiteY2" fmla="*/ 114572 h 364620"/>
                  <a:gd name="connsiteX3" fmla="*/ 0 w 177056"/>
                  <a:gd name="connsiteY3" fmla="*/ 114572 h 364620"/>
                  <a:gd name="connsiteX4" fmla="*/ 0 w 177056"/>
                  <a:gd name="connsiteY4" fmla="*/ 166661 h 364620"/>
                  <a:gd name="connsiteX5" fmla="*/ 59899 w 177056"/>
                  <a:gd name="connsiteY5" fmla="*/ 166661 h 364620"/>
                  <a:gd name="connsiteX6" fmla="*/ 59899 w 177056"/>
                  <a:gd name="connsiteY6" fmla="*/ 364620 h 364620"/>
                  <a:gd name="connsiteX7" fmla="*/ 117157 w 177056"/>
                  <a:gd name="connsiteY7" fmla="*/ 364620 h 364620"/>
                  <a:gd name="connsiteX8" fmla="*/ 117157 w 177056"/>
                  <a:gd name="connsiteY8" fmla="*/ 166661 h 364620"/>
                  <a:gd name="connsiteX9" fmla="*/ 177056 w 177056"/>
                  <a:gd name="connsiteY9" fmla="*/ 166661 h 364620"/>
                  <a:gd name="connsiteX10" fmla="*/ 177056 w 177056"/>
                  <a:gd name="connsiteY10" fmla="*/ 114572 h 364620"/>
                  <a:gd name="connsiteX11" fmla="*/ 117157 w 177056"/>
                  <a:gd name="connsiteY11" fmla="*/ 114572 h 364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7056" h="364620">
                    <a:moveTo>
                      <a:pt x="117157" y="0"/>
                    </a:moveTo>
                    <a:lnTo>
                      <a:pt x="59899" y="0"/>
                    </a:lnTo>
                    <a:lnTo>
                      <a:pt x="59899" y="114572"/>
                    </a:lnTo>
                    <a:lnTo>
                      <a:pt x="0" y="114572"/>
                    </a:lnTo>
                    <a:lnTo>
                      <a:pt x="0" y="166661"/>
                    </a:lnTo>
                    <a:lnTo>
                      <a:pt x="59899" y="166661"/>
                    </a:lnTo>
                    <a:lnTo>
                      <a:pt x="59899" y="364620"/>
                    </a:lnTo>
                    <a:lnTo>
                      <a:pt x="117157" y="364620"/>
                    </a:lnTo>
                    <a:lnTo>
                      <a:pt x="117157" y="166661"/>
                    </a:lnTo>
                    <a:lnTo>
                      <a:pt x="177056" y="166661"/>
                    </a:lnTo>
                    <a:lnTo>
                      <a:pt x="177056" y="114572"/>
                    </a:lnTo>
                    <a:lnTo>
                      <a:pt x="117157" y="114572"/>
                    </a:lnTo>
                    <a:close/>
                  </a:path>
                </a:pathLst>
              </a:custGeom>
              <a:solidFill>
                <a:srgbClr val="2A4371"/>
              </a:solidFill>
              <a:ln w="5614" cap="flat">
                <a:noFill/>
                <a:prstDash val="solid"/>
                <a:miter/>
              </a:ln>
            </p:spPr>
            <p:txBody>
              <a:bodyPr rtlCol="0" anchor="ctr"/>
              <a:lstStyle/>
              <a:p>
                <a:endParaRPr lang="nl-NL"/>
              </a:p>
            </p:txBody>
          </p:sp>
          <p:sp>
            <p:nvSpPr>
              <p:cNvPr id="89" name="Vrije vorm: vorm 88">
                <a:extLst>
                  <a:ext uri="{FF2B5EF4-FFF2-40B4-BE49-F238E27FC236}">
                    <a16:creationId xmlns:a16="http://schemas.microsoft.com/office/drawing/2014/main" id="{BA84C9A6-46AE-7510-7DDA-2C53CEB55292}"/>
                  </a:ext>
                </a:extLst>
              </p:cNvPr>
              <p:cNvSpPr/>
              <p:nvPr/>
            </p:nvSpPr>
            <p:spPr>
              <a:xfrm>
                <a:off x="6856613" y="683653"/>
                <a:ext cx="67709" cy="68777"/>
              </a:xfrm>
              <a:custGeom>
                <a:avLst/>
                <a:gdLst>
                  <a:gd name="connsiteX0" fmla="*/ 33827 w 67709"/>
                  <a:gd name="connsiteY0" fmla="*/ 0 h 68777"/>
                  <a:gd name="connsiteX1" fmla="*/ 9609 w 67709"/>
                  <a:gd name="connsiteY1" fmla="*/ 9890 h 68777"/>
                  <a:gd name="connsiteX2" fmla="*/ 0 w 67709"/>
                  <a:gd name="connsiteY2" fmla="*/ 34389 h 68777"/>
                  <a:gd name="connsiteX3" fmla="*/ 9609 w 67709"/>
                  <a:gd name="connsiteY3" fmla="*/ 58888 h 68777"/>
                  <a:gd name="connsiteX4" fmla="*/ 33827 w 67709"/>
                  <a:gd name="connsiteY4" fmla="*/ 68777 h 68777"/>
                  <a:gd name="connsiteX5" fmla="*/ 58326 w 67709"/>
                  <a:gd name="connsiteY5" fmla="*/ 58888 h 68777"/>
                  <a:gd name="connsiteX6" fmla="*/ 67709 w 67709"/>
                  <a:gd name="connsiteY6" fmla="*/ 34389 h 68777"/>
                  <a:gd name="connsiteX7" fmla="*/ 58326 w 67709"/>
                  <a:gd name="connsiteY7" fmla="*/ 9890 h 68777"/>
                  <a:gd name="connsiteX8" fmla="*/ 33827 w 67709"/>
                  <a:gd name="connsiteY8" fmla="*/ 0 h 68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709" h="68777">
                    <a:moveTo>
                      <a:pt x="33827" y="0"/>
                    </a:moveTo>
                    <a:cubicBezTo>
                      <a:pt x="24106" y="0"/>
                      <a:pt x="16014" y="3315"/>
                      <a:pt x="9609" y="9890"/>
                    </a:cubicBezTo>
                    <a:cubicBezTo>
                      <a:pt x="3203" y="16464"/>
                      <a:pt x="0" y="24668"/>
                      <a:pt x="0" y="34389"/>
                    </a:cubicBezTo>
                    <a:cubicBezTo>
                      <a:pt x="0" y="44110"/>
                      <a:pt x="3203" y="52257"/>
                      <a:pt x="9609" y="58888"/>
                    </a:cubicBezTo>
                    <a:cubicBezTo>
                      <a:pt x="16014" y="65462"/>
                      <a:pt x="24106" y="68777"/>
                      <a:pt x="33827" y="68777"/>
                    </a:cubicBezTo>
                    <a:cubicBezTo>
                      <a:pt x="43885" y="68777"/>
                      <a:pt x="52089" y="65462"/>
                      <a:pt x="58326" y="58888"/>
                    </a:cubicBezTo>
                    <a:cubicBezTo>
                      <a:pt x="64563" y="52313"/>
                      <a:pt x="67709" y="44110"/>
                      <a:pt x="67709" y="34389"/>
                    </a:cubicBezTo>
                    <a:cubicBezTo>
                      <a:pt x="67709" y="24668"/>
                      <a:pt x="64563" y="16520"/>
                      <a:pt x="58326" y="9890"/>
                    </a:cubicBezTo>
                    <a:cubicBezTo>
                      <a:pt x="52089" y="3259"/>
                      <a:pt x="43885" y="0"/>
                      <a:pt x="33827" y="0"/>
                    </a:cubicBezTo>
                    <a:close/>
                  </a:path>
                </a:pathLst>
              </a:custGeom>
              <a:solidFill>
                <a:srgbClr val="2A4371"/>
              </a:solidFill>
              <a:ln w="5614" cap="flat">
                <a:noFill/>
                <a:prstDash val="solid"/>
                <a:miter/>
              </a:ln>
            </p:spPr>
            <p:txBody>
              <a:bodyPr rtlCol="0" anchor="ctr"/>
              <a:lstStyle/>
              <a:p>
                <a:endParaRPr lang="nl-NL"/>
              </a:p>
            </p:txBody>
          </p:sp>
          <p:sp>
            <p:nvSpPr>
              <p:cNvPr id="90" name="Vrije vorm: vorm 89">
                <a:extLst>
                  <a:ext uri="{FF2B5EF4-FFF2-40B4-BE49-F238E27FC236}">
                    <a16:creationId xmlns:a16="http://schemas.microsoft.com/office/drawing/2014/main" id="{9E6BF8C5-61A9-BE05-44B6-4FAB294AD1C8}"/>
                  </a:ext>
                </a:extLst>
              </p:cNvPr>
              <p:cNvSpPr/>
              <p:nvPr/>
            </p:nvSpPr>
            <p:spPr>
              <a:xfrm>
                <a:off x="6861782" y="798225"/>
                <a:ext cx="57314" cy="249991"/>
              </a:xfrm>
              <a:custGeom>
                <a:avLst/>
                <a:gdLst>
                  <a:gd name="connsiteX0" fmla="*/ 0 w 57314"/>
                  <a:gd name="connsiteY0" fmla="*/ 0 h 249991"/>
                  <a:gd name="connsiteX1" fmla="*/ 57314 w 57314"/>
                  <a:gd name="connsiteY1" fmla="*/ 0 h 249991"/>
                  <a:gd name="connsiteX2" fmla="*/ 57314 w 57314"/>
                  <a:gd name="connsiteY2" fmla="*/ 249992 h 249991"/>
                  <a:gd name="connsiteX3" fmla="*/ 0 w 57314"/>
                  <a:gd name="connsiteY3" fmla="*/ 249992 h 249991"/>
                </a:gdLst>
                <a:ahLst/>
                <a:cxnLst>
                  <a:cxn ang="0">
                    <a:pos x="connsiteX0" y="connsiteY0"/>
                  </a:cxn>
                  <a:cxn ang="0">
                    <a:pos x="connsiteX1" y="connsiteY1"/>
                  </a:cxn>
                  <a:cxn ang="0">
                    <a:pos x="connsiteX2" y="connsiteY2"/>
                  </a:cxn>
                  <a:cxn ang="0">
                    <a:pos x="connsiteX3" y="connsiteY3"/>
                  </a:cxn>
                </a:cxnLst>
                <a:rect l="l" t="t" r="r" b="b"/>
                <a:pathLst>
                  <a:path w="57314" h="249991">
                    <a:moveTo>
                      <a:pt x="0" y="0"/>
                    </a:moveTo>
                    <a:lnTo>
                      <a:pt x="57314" y="0"/>
                    </a:lnTo>
                    <a:lnTo>
                      <a:pt x="57314" y="249992"/>
                    </a:lnTo>
                    <a:lnTo>
                      <a:pt x="0" y="249992"/>
                    </a:lnTo>
                    <a:close/>
                  </a:path>
                </a:pathLst>
              </a:custGeom>
              <a:solidFill>
                <a:srgbClr val="2A4371"/>
              </a:solidFill>
              <a:ln w="5614" cap="flat">
                <a:noFill/>
                <a:prstDash val="solid"/>
                <a:miter/>
              </a:ln>
            </p:spPr>
            <p:txBody>
              <a:bodyPr rtlCol="0" anchor="ctr"/>
              <a:lstStyle/>
              <a:p>
                <a:endParaRPr lang="nl-NL"/>
              </a:p>
            </p:txBody>
          </p:sp>
          <p:sp>
            <p:nvSpPr>
              <p:cNvPr id="91" name="Vrije vorm: vorm 90">
                <a:extLst>
                  <a:ext uri="{FF2B5EF4-FFF2-40B4-BE49-F238E27FC236}">
                    <a16:creationId xmlns:a16="http://schemas.microsoft.com/office/drawing/2014/main" id="{069D54D0-886C-F234-AB59-D98B12889001}"/>
                  </a:ext>
                </a:extLst>
              </p:cNvPr>
              <p:cNvSpPr/>
              <p:nvPr/>
            </p:nvSpPr>
            <p:spPr>
              <a:xfrm>
                <a:off x="6966971" y="793055"/>
                <a:ext cx="248474" cy="260442"/>
              </a:xfrm>
              <a:custGeom>
                <a:avLst/>
                <a:gdLst>
                  <a:gd name="connsiteX0" fmla="*/ 233078 w 248474"/>
                  <a:gd name="connsiteY0" fmla="*/ 60405 h 260442"/>
                  <a:gd name="connsiteX1" fmla="*/ 190879 w 248474"/>
                  <a:gd name="connsiteY1" fmla="*/ 16127 h 260442"/>
                  <a:gd name="connsiteX2" fmla="*/ 129182 w 248474"/>
                  <a:gd name="connsiteY2" fmla="*/ 0 h 260442"/>
                  <a:gd name="connsiteX3" fmla="*/ 63832 w 248474"/>
                  <a:gd name="connsiteY3" fmla="*/ 17194 h 260442"/>
                  <a:gd name="connsiteX4" fmla="*/ 17194 w 248474"/>
                  <a:gd name="connsiteY4" fmla="*/ 63832 h 260442"/>
                  <a:gd name="connsiteX5" fmla="*/ 0 w 248474"/>
                  <a:gd name="connsiteY5" fmla="*/ 130250 h 260442"/>
                  <a:gd name="connsiteX6" fmla="*/ 17419 w 248474"/>
                  <a:gd name="connsiteY6" fmla="*/ 196891 h 260442"/>
                  <a:gd name="connsiteX7" fmla="*/ 64844 w 248474"/>
                  <a:gd name="connsiteY7" fmla="*/ 243530 h 260442"/>
                  <a:gd name="connsiteX8" fmla="*/ 132272 w 248474"/>
                  <a:gd name="connsiteY8" fmla="*/ 260443 h 260442"/>
                  <a:gd name="connsiteX9" fmla="*/ 187508 w 248474"/>
                  <a:gd name="connsiteY9" fmla="*/ 249486 h 260442"/>
                  <a:gd name="connsiteX10" fmla="*/ 231786 w 248474"/>
                  <a:gd name="connsiteY10" fmla="*/ 217176 h 260442"/>
                  <a:gd name="connsiteX11" fmla="*/ 195318 w 248474"/>
                  <a:gd name="connsiteY11" fmla="*/ 180203 h 260442"/>
                  <a:gd name="connsiteX12" fmla="*/ 167448 w 248474"/>
                  <a:gd name="connsiteY12" fmla="*/ 199982 h 260442"/>
                  <a:gd name="connsiteX13" fmla="*/ 131766 w 248474"/>
                  <a:gd name="connsiteY13" fmla="*/ 206781 h 260442"/>
                  <a:gd name="connsiteX14" fmla="*/ 92208 w 248474"/>
                  <a:gd name="connsiteY14" fmla="*/ 197172 h 260442"/>
                  <a:gd name="connsiteX15" fmla="*/ 65630 w 248474"/>
                  <a:gd name="connsiteY15" fmla="*/ 169808 h 260442"/>
                  <a:gd name="connsiteX16" fmla="*/ 58888 w 248474"/>
                  <a:gd name="connsiteY16" fmla="*/ 151602 h 260442"/>
                  <a:gd name="connsiteX17" fmla="*/ 245328 w 248474"/>
                  <a:gd name="connsiteY17" fmla="*/ 151602 h 260442"/>
                  <a:gd name="connsiteX18" fmla="*/ 247687 w 248474"/>
                  <a:gd name="connsiteY18" fmla="*/ 137273 h 260442"/>
                  <a:gd name="connsiteX19" fmla="*/ 248474 w 248474"/>
                  <a:gd name="connsiteY19" fmla="*/ 124518 h 260442"/>
                  <a:gd name="connsiteX20" fmla="*/ 233078 w 248474"/>
                  <a:gd name="connsiteY20" fmla="*/ 60405 h 260442"/>
                  <a:gd name="connsiteX21" fmla="*/ 65125 w 248474"/>
                  <a:gd name="connsiteY21" fmla="*/ 88275 h 260442"/>
                  <a:gd name="connsiteX22" fmla="*/ 90129 w 248474"/>
                  <a:gd name="connsiteY22" fmla="*/ 61978 h 260442"/>
                  <a:gd name="connsiteX23" fmla="*/ 128171 w 248474"/>
                  <a:gd name="connsiteY23" fmla="*/ 52594 h 260442"/>
                  <a:gd name="connsiteX24" fmla="*/ 163346 w 248474"/>
                  <a:gd name="connsiteY24" fmla="*/ 60910 h 260442"/>
                  <a:gd name="connsiteX25" fmla="*/ 185485 w 248474"/>
                  <a:gd name="connsiteY25" fmla="*/ 84848 h 260442"/>
                  <a:gd name="connsiteX26" fmla="*/ 192003 w 248474"/>
                  <a:gd name="connsiteY26" fmla="*/ 104627 h 260442"/>
                  <a:gd name="connsiteX27" fmla="*/ 59112 w 248474"/>
                  <a:gd name="connsiteY27" fmla="*/ 104627 h 260442"/>
                  <a:gd name="connsiteX28" fmla="*/ 65125 w 248474"/>
                  <a:gd name="connsiteY28" fmla="*/ 88275 h 2604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48474" h="260442">
                    <a:moveTo>
                      <a:pt x="233078" y="60405"/>
                    </a:moveTo>
                    <a:cubicBezTo>
                      <a:pt x="222851" y="41637"/>
                      <a:pt x="208747" y="26915"/>
                      <a:pt x="190879" y="16127"/>
                    </a:cubicBezTo>
                    <a:cubicBezTo>
                      <a:pt x="173010" y="5338"/>
                      <a:pt x="152445" y="0"/>
                      <a:pt x="129182" y="0"/>
                    </a:cubicBezTo>
                    <a:cubicBezTo>
                      <a:pt x="105245" y="0"/>
                      <a:pt x="83443" y="5731"/>
                      <a:pt x="63832" y="17194"/>
                    </a:cubicBezTo>
                    <a:cubicBezTo>
                      <a:pt x="44222" y="28657"/>
                      <a:pt x="28657" y="44222"/>
                      <a:pt x="17194" y="63832"/>
                    </a:cubicBezTo>
                    <a:cubicBezTo>
                      <a:pt x="5731" y="83443"/>
                      <a:pt x="0" y="105582"/>
                      <a:pt x="0" y="130250"/>
                    </a:cubicBezTo>
                    <a:cubicBezTo>
                      <a:pt x="0" y="154917"/>
                      <a:pt x="5787" y="177112"/>
                      <a:pt x="17419" y="196891"/>
                    </a:cubicBezTo>
                    <a:cubicBezTo>
                      <a:pt x="29050" y="216671"/>
                      <a:pt x="44840" y="232235"/>
                      <a:pt x="64844" y="243530"/>
                    </a:cubicBezTo>
                    <a:cubicBezTo>
                      <a:pt x="84791" y="254824"/>
                      <a:pt x="107267" y="260443"/>
                      <a:pt x="132272" y="260443"/>
                    </a:cubicBezTo>
                    <a:cubicBezTo>
                      <a:pt x="151714" y="260443"/>
                      <a:pt x="170088" y="256791"/>
                      <a:pt x="187508" y="249486"/>
                    </a:cubicBezTo>
                    <a:cubicBezTo>
                      <a:pt x="204870" y="242181"/>
                      <a:pt x="219592" y="231449"/>
                      <a:pt x="231786" y="217176"/>
                    </a:cubicBezTo>
                    <a:lnTo>
                      <a:pt x="195318" y="180203"/>
                    </a:lnTo>
                    <a:cubicBezTo>
                      <a:pt x="187676" y="188856"/>
                      <a:pt x="178405" y="195487"/>
                      <a:pt x="167448" y="199982"/>
                    </a:cubicBezTo>
                    <a:cubicBezTo>
                      <a:pt x="156490" y="204477"/>
                      <a:pt x="144634" y="206781"/>
                      <a:pt x="131766" y="206781"/>
                    </a:cubicBezTo>
                    <a:cubicBezTo>
                      <a:pt x="116820" y="206781"/>
                      <a:pt x="103615" y="203578"/>
                      <a:pt x="92208" y="197172"/>
                    </a:cubicBezTo>
                    <a:cubicBezTo>
                      <a:pt x="80802" y="190767"/>
                      <a:pt x="71868" y="181608"/>
                      <a:pt x="65630" y="169808"/>
                    </a:cubicBezTo>
                    <a:cubicBezTo>
                      <a:pt x="62652" y="164189"/>
                      <a:pt x="60405" y="158064"/>
                      <a:pt x="58888" y="151602"/>
                    </a:cubicBezTo>
                    <a:lnTo>
                      <a:pt x="245328" y="151602"/>
                    </a:lnTo>
                    <a:cubicBezTo>
                      <a:pt x="246395" y="146376"/>
                      <a:pt x="247126" y="141600"/>
                      <a:pt x="247687" y="137273"/>
                    </a:cubicBezTo>
                    <a:cubicBezTo>
                      <a:pt x="248193" y="132947"/>
                      <a:pt x="248474" y="128676"/>
                      <a:pt x="248474" y="124518"/>
                    </a:cubicBezTo>
                    <a:cubicBezTo>
                      <a:pt x="248474" y="100525"/>
                      <a:pt x="243361" y="79172"/>
                      <a:pt x="233078" y="60405"/>
                    </a:cubicBezTo>
                    <a:close/>
                    <a:moveTo>
                      <a:pt x="65125" y="88275"/>
                    </a:moveTo>
                    <a:cubicBezTo>
                      <a:pt x="71025" y="76981"/>
                      <a:pt x="79341" y="68215"/>
                      <a:pt x="90129" y="61978"/>
                    </a:cubicBezTo>
                    <a:cubicBezTo>
                      <a:pt x="100918" y="55741"/>
                      <a:pt x="113561" y="52594"/>
                      <a:pt x="128171" y="52594"/>
                    </a:cubicBezTo>
                    <a:cubicBezTo>
                      <a:pt x="142049" y="52594"/>
                      <a:pt x="153793" y="55404"/>
                      <a:pt x="163346" y="60910"/>
                    </a:cubicBezTo>
                    <a:cubicBezTo>
                      <a:pt x="172898" y="66473"/>
                      <a:pt x="180259" y="74452"/>
                      <a:pt x="185485" y="84848"/>
                    </a:cubicBezTo>
                    <a:cubicBezTo>
                      <a:pt x="188407" y="90635"/>
                      <a:pt x="190542" y="97322"/>
                      <a:pt x="192003" y="104627"/>
                    </a:cubicBezTo>
                    <a:lnTo>
                      <a:pt x="59112" y="104627"/>
                    </a:lnTo>
                    <a:cubicBezTo>
                      <a:pt x="60573" y="98783"/>
                      <a:pt x="62484" y="93276"/>
                      <a:pt x="65125" y="88275"/>
                    </a:cubicBezTo>
                    <a:close/>
                  </a:path>
                </a:pathLst>
              </a:custGeom>
              <a:solidFill>
                <a:srgbClr val="2A4371"/>
              </a:solidFill>
              <a:ln w="5614" cap="flat">
                <a:noFill/>
                <a:prstDash val="solid"/>
                <a:miter/>
              </a:ln>
            </p:spPr>
            <p:txBody>
              <a:bodyPr rtlCol="0" anchor="ctr"/>
              <a:lstStyle/>
              <a:p>
                <a:endParaRPr lang="nl-NL"/>
              </a:p>
            </p:txBody>
          </p:sp>
        </p:grpSp>
      </p:grpSp>
      <p:grpSp>
        <p:nvGrpSpPr>
          <p:cNvPr id="98" name="INSTRUCTIE">
            <a:extLst>
              <a:ext uri="{FF2B5EF4-FFF2-40B4-BE49-F238E27FC236}">
                <a16:creationId xmlns:a16="http://schemas.microsoft.com/office/drawing/2014/main" id="{1CE9FFBE-52C9-19E5-337D-4002975B5F42}"/>
              </a:ext>
            </a:extLst>
          </p:cNvPr>
          <p:cNvGrpSpPr/>
          <p:nvPr userDrawn="1"/>
        </p:nvGrpSpPr>
        <p:grpSpPr>
          <a:xfrm>
            <a:off x="-3786437" y="0"/>
            <a:ext cx="3693386" cy="5359349"/>
            <a:chOff x="-3786437" y="0"/>
            <a:chExt cx="3693386" cy="5359349"/>
          </a:xfrm>
        </p:grpSpPr>
        <p:sp>
          <p:nvSpPr>
            <p:cNvPr id="99" name="Rechthoek 98">
              <a:extLst>
                <a:ext uri="{FF2B5EF4-FFF2-40B4-BE49-F238E27FC236}">
                  <a16:creationId xmlns:a16="http://schemas.microsoft.com/office/drawing/2014/main" id="{06330ABF-5B77-9047-9DF6-01411D7DC3AB}"/>
                </a:ext>
              </a:extLst>
            </p:cNvPr>
            <p:cNvSpPr/>
            <p:nvPr userDrawn="1"/>
          </p:nvSpPr>
          <p:spPr>
            <a:xfrm>
              <a:off x="-3786165" y="0"/>
              <a:ext cx="3593091" cy="4641338"/>
            </a:xfrm>
            <a:prstGeom prst="rect">
              <a:avLst/>
            </a:prstGeom>
            <a:solidFill>
              <a:srgbClr val="FFFFFF"/>
            </a:solidFill>
            <a:ln w="6350">
              <a:solidFill>
                <a:srgbClr val="ECECEC"/>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t" anchorCtr="0" forceAA="0" compatLnSpc="1">
              <a:prstTxWarp prst="textNoShape">
                <a:avLst/>
              </a:prstTxWarp>
              <a:noAutofit/>
            </a:bodyPr>
            <a:lstStyle/>
            <a:p>
              <a:pPr algn="l">
                <a:lnSpc>
                  <a:spcPct val="90000"/>
                </a:lnSpc>
                <a:spcBef>
                  <a:spcPts val="600"/>
                </a:spcBef>
                <a:spcAft>
                  <a:spcPts val="600"/>
                </a:spcAft>
              </a:pPr>
              <a:r>
                <a:rPr lang="nl-NL" sz="1400" b="1" cap="all" baseline="0" noProof="0" dirty="0">
                  <a:solidFill>
                    <a:schemeClr val="accent1"/>
                  </a:solidFill>
                  <a:latin typeface="Calibri" panose="020F0502020204030204" pitchFamily="34" charset="0"/>
                  <a:cs typeface="Calibri" panose="020F0502020204030204" pitchFamily="34" charset="0"/>
                </a:rPr>
                <a:t>LIJSTNIVEAU kiezen</a:t>
              </a:r>
            </a:p>
          </p:txBody>
        </p:sp>
        <p:sp>
          <p:nvSpPr>
            <p:cNvPr id="100" name="Ovaal 99">
              <a:extLst>
                <a:ext uri="{FF2B5EF4-FFF2-40B4-BE49-F238E27FC236}">
                  <a16:creationId xmlns:a16="http://schemas.microsoft.com/office/drawing/2014/main" id="{A2A7A7D2-D4C5-7B28-6D4C-CB043E076C93}"/>
                </a:ext>
              </a:extLst>
            </p:cNvPr>
            <p:cNvSpPr/>
            <p:nvPr userDrawn="1"/>
          </p:nvSpPr>
          <p:spPr>
            <a:xfrm>
              <a:off x="-3604183" y="183748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1</a:t>
              </a:r>
            </a:p>
          </p:txBody>
        </p:sp>
        <p:sp>
          <p:nvSpPr>
            <p:cNvPr id="101" name="Rechthoek 100">
              <a:extLst>
                <a:ext uri="{FF2B5EF4-FFF2-40B4-BE49-F238E27FC236}">
                  <a16:creationId xmlns:a16="http://schemas.microsoft.com/office/drawing/2014/main" id="{6F31D276-D2C9-CC0D-022D-C99D3F5289DE}"/>
                </a:ext>
              </a:extLst>
            </p:cNvPr>
            <p:cNvSpPr/>
            <p:nvPr userDrawn="1"/>
          </p:nvSpPr>
          <p:spPr>
            <a:xfrm>
              <a:off x="-3300365" y="1836214"/>
              <a:ext cx="2949220" cy="180000"/>
            </a:xfrm>
            <a:prstGeom prst="rect">
              <a:avLst/>
            </a:prstGeom>
            <a:noFill/>
            <a:ln w="25400" cap="flat" cmpd="sng" algn="ctr">
              <a:noFill/>
              <a:prstDash val="solid"/>
            </a:ln>
            <a:effectLst/>
          </p:spPr>
          <p:txBody>
            <a:bodyPr lIns="0" tIns="0" rIns="0" bIns="0" rtlCol="0" anchor="t"/>
            <a:lstStyle/>
            <a:p>
              <a:pPr marL="174625" marR="0" lvl="0" indent="-174625" algn="l" defTabSz="914400" rtl="0" eaLnBrk="1" fontAlgn="auto" latinLnBrk="0" hangingPunct="1">
                <a:lnSpc>
                  <a:spcPct val="111000"/>
                </a:lnSpc>
                <a:spcBef>
                  <a:spcPts val="400"/>
                </a:spcBef>
                <a:spcAft>
                  <a:spcPts val="400"/>
                </a:spcAft>
                <a:buClr>
                  <a:srgbClr val="2B4371"/>
                </a:buClr>
                <a:buSzPct val="75000"/>
                <a:buFontTx/>
                <a:buBlip>
                  <a:blip r:embed="rId2"/>
                </a:buBlip>
                <a:tabLst/>
                <a:defRPr/>
              </a:pPr>
              <a:r>
                <a:rPr kumimoji="0" lang="nl-NL" sz="1000" b="0" i="0" u="none" strike="noStrike" kern="1200" cap="none" spc="0" normalizeH="0" baseline="0" noProof="0" dirty="0" err="1">
                  <a:ln>
                    <a:noFill/>
                  </a:ln>
                  <a:solidFill>
                    <a:srgbClr val="1E1E1E">
                      <a:lumMod val="90000"/>
                      <a:lumOff val="10000"/>
                    </a:srgbClr>
                  </a:solidFill>
                  <a:effectLst/>
                  <a:uLnTx/>
                  <a:uFillTx/>
                  <a:latin typeface="+mj-lt"/>
                  <a:ea typeface="+mn-ea"/>
                  <a:cs typeface="+mn-cs"/>
                </a:rPr>
                <a:t>Bullet</a:t>
              </a:r>
              <a:endPar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endParaRPr>
            </a:p>
            <a:p>
              <a:pPr marL="355600" marR="0" lvl="1" indent="-177800" algn="l" defTabSz="914400" rtl="0" eaLnBrk="1" fontAlgn="auto" latinLnBrk="0" hangingPunct="1">
                <a:lnSpc>
                  <a:spcPct val="111000"/>
                </a:lnSpc>
                <a:spcBef>
                  <a:spcPts val="400"/>
                </a:spcBef>
                <a:spcAft>
                  <a:spcPts val="400"/>
                </a:spcAft>
                <a:buClr>
                  <a:srgbClr val="D4E0EC">
                    <a:lumMod val="90000"/>
                  </a:srgbClr>
                </a:buClr>
                <a:buSzPct val="110000"/>
                <a:buFont typeface="Arial" panose="020B0604020202020204" pitchFamily="34" charset="0"/>
                <a:buChar char="•"/>
                <a:tabLst/>
                <a:defRPr/>
              </a:pPr>
              <a:r>
                <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rPr>
                <a:t>Sub-</a:t>
              </a:r>
              <a:r>
                <a:rPr kumimoji="0" lang="nl-NL" sz="1000" b="0" i="0" u="none" strike="noStrike" kern="1200" cap="none" spc="0" normalizeH="0" baseline="0" noProof="0" dirty="0" err="1">
                  <a:ln>
                    <a:noFill/>
                  </a:ln>
                  <a:solidFill>
                    <a:srgbClr val="1E1E1E">
                      <a:lumMod val="90000"/>
                      <a:lumOff val="10000"/>
                    </a:srgbClr>
                  </a:solidFill>
                  <a:effectLst/>
                  <a:uLnTx/>
                  <a:uFillTx/>
                  <a:latin typeface="+mj-lt"/>
                  <a:ea typeface="+mn-ea"/>
                  <a:cs typeface="+mn-cs"/>
                </a:rPr>
                <a:t>bullet</a:t>
              </a:r>
              <a:r>
                <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rPr>
                <a:t> #1</a:t>
              </a:r>
            </a:p>
            <a:p>
              <a:pPr marL="531813" marR="0" lvl="2" indent="-171450" algn="l" defTabSz="914400" rtl="0" eaLnBrk="1" fontAlgn="auto" latinLnBrk="0" hangingPunct="1">
                <a:lnSpc>
                  <a:spcPct val="111000"/>
                </a:lnSpc>
                <a:spcBef>
                  <a:spcPts val="400"/>
                </a:spcBef>
                <a:spcAft>
                  <a:spcPts val="400"/>
                </a:spcAft>
                <a:buClr>
                  <a:srgbClr val="A4C130"/>
                </a:buClr>
                <a:buSzTx/>
                <a:buFont typeface="Segoe UI Light" panose="020B0502040204020203" pitchFamily="34" charset="0"/>
                <a:buChar char="–"/>
                <a:tabLst/>
                <a:defRPr/>
              </a:pPr>
              <a:r>
                <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rPr>
                <a:t>Sub-</a:t>
              </a:r>
              <a:r>
                <a:rPr kumimoji="0" lang="nl-NL" sz="1000" b="0" i="0" u="none" strike="noStrike" kern="1200" cap="none" spc="0" normalizeH="0" baseline="0" noProof="0" dirty="0" err="1">
                  <a:ln>
                    <a:noFill/>
                  </a:ln>
                  <a:solidFill>
                    <a:srgbClr val="1E1E1E">
                      <a:lumMod val="90000"/>
                      <a:lumOff val="10000"/>
                    </a:srgbClr>
                  </a:solidFill>
                  <a:effectLst/>
                  <a:uLnTx/>
                  <a:uFillTx/>
                  <a:latin typeface="+mj-lt"/>
                  <a:ea typeface="+mn-ea"/>
                  <a:cs typeface="+mn-cs"/>
                </a:rPr>
                <a:t>bullet</a:t>
              </a:r>
              <a:r>
                <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rPr>
                <a:t> #2</a:t>
              </a:r>
            </a:p>
            <a:p>
              <a:pPr marL="0" marR="0" lvl="3" indent="0" algn="l" defTabSz="914400" rtl="0" eaLnBrk="1" fontAlgn="auto" latinLnBrk="0" hangingPunct="1">
                <a:lnSpc>
                  <a:spcPct val="111000"/>
                </a:lnSpc>
                <a:spcBef>
                  <a:spcPts val="400"/>
                </a:spcBef>
                <a:spcAft>
                  <a:spcPts val="400"/>
                </a:spcAft>
                <a:buClrTx/>
                <a:buSzTx/>
                <a:buFont typeface="Arial" panose="020B0604020202020204" pitchFamily="34" charset="0"/>
                <a:buNone/>
                <a:tabLst/>
                <a:defRPr/>
              </a:pPr>
              <a:r>
                <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rPr>
                <a:t>Leestekst</a:t>
              </a:r>
            </a:p>
            <a:p>
              <a:pPr marL="0" marR="0" lvl="4" indent="0" algn="l" defTabSz="914400" rtl="0" eaLnBrk="1" fontAlgn="auto" latinLnBrk="0" hangingPunct="1">
                <a:lnSpc>
                  <a:spcPct val="111000"/>
                </a:lnSpc>
                <a:spcBef>
                  <a:spcPts val="400"/>
                </a:spcBef>
                <a:spcAft>
                  <a:spcPts val="400"/>
                </a:spcAft>
                <a:buClrTx/>
                <a:buSzTx/>
                <a:buFont typeface="Arial" panose="020B0604020202020204" pitchFamily="34" charset="0"/>
                <a:buNone/>
                <a:tabLst/>
                <a:defRPr/>
              </a:pPr>
              <a:r>
                <a:rPr kumimoji="0" lang="nl-NL" sz="1600" b="0" i="0" u="none" strike="noStrike" kern="1200" cap="none" spc="-30" normalizeH="0" baseline="0" noProof="0" dirty="0">
                  <a:ln w="6350">
                    <a:noFill/>
                  </a:ln>
                  <a:solidFill>
                    <a:srgbClr val="2B4371"/>
                  </a:solidFill>
                  <a:effectLst/>
                  <a:uLnTx/>
                  <a:uFillTx/>
                  <a:latin typeface="+mj-lt"/>
                  <a:ea typeface="+mn-ea"/>
                  <a:cs typeface="+mn-cs"/>
                </a:rPr>
                <a:t>Subtitel #1</a:t>
              </a:r>
            </a:p>
            <a:p>
              <a:pPr marL="0" marR="0" lvl="5" indent="0" algn="l" defTabSz="914400" rtl="0" eaLnBrk="1" fontAlgn="auto" latinLnBrk="0" hangingPunct="1">
                <a:lnSpc>
                  <a:spcPct val="111000"/>
                </a:lnSpc>
                <a:spcBef>
                  <a:spcPts val="400"/>
                </a:spcBef>
                <a:spcAft>
                  <a:spcPts val="400"/>
                </a:spcAft>
                <a:buClr>
                  <a:srgbClr val="2B4371"/>
                </a:buClr>
                <a:buSzTx/>
                <a:buFont typeface="Arial" panose="020B0604020202020204" pitchFamily="34" charset="0"/>
                <a:buNone/>
                <a:tabLst/>
                <a:defRPr/>
              </a:pPr>
              <a:r>
                <a:rPr kumimoji="0" lang="nl-NL" sz="1400" b="0" i="0" u="none" strike="noStrike" kern="1200" cap="none" spc="-50" normalizeH="0" baseline="0" noProof="0" dirty="0">
                  <a:ln w="6350">
                    <a:noFill/>
                  </a:ln>
                  <a:solidFill>
                    <a:srgbClr val="A4C130"/>
                  </a:solidFill>
                  <a:effectLst/>
                  <a:uLnTx/>
                  <a:uFillTx/>
                  <a:latin typeface="+mj-lt"/>
                  <a:ea typeface="+mn-ea"/>
                  <a:cs typeface="+mn-cs"/>
                </a:rPr>
                <a:t>Alt. subtitel #2</a:t>
              </a:r>
            </a:p>
            <a:p>
              <a:pPr marL="268288" marR="0" lvl="6" indent="-268288" algn="l" defTabSz="914400" rtl="0" eaLnBrk="1" fontAlgn="auto" latinLnBrk="0" hangingPunct="1">
                <a:lnSpc>
                  <a:spcPct val="111000"/>
                </a:lnSpc>
                <a:spcBef>
                  <a:spcPts val="400"/>
                </a:spcBef>
                <a:spcAft>
                  <a:spcPts val="400"/>
                </a:spcAft>
                <a:buClr>
                  <a:srgbClr val="2B4371"/>
                </a:buClr>
                <a:buSzTx/>
                <a:buFont typeface="+mj-lt"/>
                <a:buAutoNum type="arabicPeriod"/>
                <a:tabLst/>
                <a:defRPr/>
              </a:pPr>
              <a:r>
                <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rPr>
                <a:t>Numerieke </a:t>
              </a:r>
              <a:r>
                <a:rPr kumimoji="0" lang="nl-NL" sz="1000" b="0" i="0" u="none" strike="noStrike" kern="1200" cap="none" spc="0" normalizeH="0" baseline="0" noProof="0" dirty="0" err="1">
                  <a:ln>
                    <a:noFill/>
                  </a:ln>
                  <a:solidFill>
                    <a:srgbClr val="1E1E1E">
                      <a:lumMod val="90000"/>
                      <a:lumOff val="10000"/>
                    </a:srgbClr>
                  </a:solidFill>
                  <a:effectLst/>
                  <a:uLnTx/>
                  <a:uFillTx/>
                  <a:latin typeface="+mj-lt"/>
                  <a:ea typeface="+mn-ea"/>
                  <a:cs typeface="+mn-cs"/>
                </a:rPr>
                <a:t>bullet</a:t>
              </a:r>
              <a:endPar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endParaRPr>
            </a:p>
            <a:p>
              <a:pPr marL="536575" marR="0" lvl="7" indent="-268288" algn="l" defTabSz="914400" rtl="0" eaLnBrk="1" fontAlgn="auto" latinLnBrk="0" hangingPunct="1">
                <a:lnSpc>
                  <a:spcPct val="111000"/>
                </a:lnSpc>
                <a:spcBef>
                  <a:spcPts val="400"/>
                </a:spcBef>
                <a:spcAft>
                  <a:spcPts val="400"/>
                </a:spcAft>
                <a:buClr>
                  <a:srgbClr val="D4E0EC">
                    <a:lumMod val="90000"/>
                  </a:srgbClr>
                </a:buClr>
                <a:buSzTx/>
                <a:buFont typeface="+mj-lt"/>
                <a:buAutoNum type="alphaLcPeriod"/>
                <a:tabLst/>
                <a:defRPr/>
              </a:pPr>
              <a:r>
                <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rPr>
                <a:t>Alfabetische </a:t>
              </a:r>
              <a:r>
                <a:rPr kumimoji="0" lang="nl-NL" sz="1000" b="0" i="0" u="none" strike="noStrike" kern="1200" cap="none" spc="0" normalizeH="0" baseline="0" noProof="0" dirty="0" err="1">
                  <a:ln>
                    <a:noFill/>
                  </a:ln>
                  <a:solidFill>
                    <a:srgbClr val="1E1E1E">
                      <a:lumMod val="90000"/>
                      <a:lumOff val="10000"/>
                    </a:srgbClr>
                  </a:solidFill>
                  <a:effectLst/>
                  <a:uLnTx/>
                  <a:uFillTx/>
                  <a:latin typeface="+mj-lt"/>
                  <a:ea typeface="+mn-ea"/>
                  <a:cs typeface="+mn-cs"/>
                </a:rPr>
                <a:t>bullet</a:t>
              </a:r>
              <a:endParaRPr kumimoji="0" lang="nl-NL" sz="1000" b="0" i="0" u="none" strike="noStrike" kern="1200" cap="none" spc="0" normalizeH="0" baseline="0" noProof="0" dirty="0">
                <a:ln>
                  <a:noFill/>
                </a:ln>
                <a:solidFill>
                  <a:srgbClr val="1E1E1E">
                    <a:lumMod val="90000"/>
                    <a:lumOff val="10000"/>
                  </a:srgbClr>
                </a:solidFill>
                <a:effectLst/>
                <a:uLnTx/>
                <a:uFillTx/>
                <a:latin typeface="+mj-lt"/>
                <a:ea typeface="+mn-ea"/>
                <a:cs typeface="+mn-cs"/>
              </a:endParaRPr>
            </a:p>
            <a:p>
              <a:pPr marL="0" marR="0" lvl="8" indent="0" algn="l" defTabSz="914400" rtl="0" eaLnBrk="1" fontAlgn="auto" latinLnBrk="0" hangingPunct="1">
                <a:lnSpc>
                  <a:spcPct val="111000"/>
                </a:lnSpc>
                <a:spcBef>
                  <a:spcPts val="400"/>
                </a:spcBef>
                <a:spcAft>
                  <a:spcPts val="400"/>
                </a:spcAft>
                <a:buClr>
                  <a:srgbClr val="2B4371"/>
                </a:buClr>
                <a:buSzTx/>
                <a:buFont typeface="Arial" panose="020B0604020202020204" pitchFamily="34" charset="0"/>
                <a:buNone/>
                <a:tabLst/>
                <a:defRPr/>
              </a:pPr>
              <a:r>
                <a:rPr kumimoji="0" lang="nl-NL" sz="1100" b="1" i="0" u="none" strike="noStrike" kern="1200" cap="none" spc="0" normalizeH="0" baseline="0" noProof="0" dirty="0">
                  <a:ln w="6350" cap="rnd">
                    <a:noFill/>
                  </a:ln>
                  <a:solidFill>
                    <a:schemeClr val="bg2">
                      <a:lumMod val="75000"/>
                    </a:schemeClr>
                  </a:solidFill>
                  <a:effectLst/>
                  <a:uLnTx/>
                  <a:uFillTx/>
                  <a:latin typeface="+mj-lt"/>
                  <a:ea typeface="+mn-ea"/>
                  <a:cs typeface="+mn-cs"/>
                </a:rPr>
                <a:t>Bron</a:t>
              </a:r>
            </a:p>
          </p:txBody>
        </p:sp>
        <p:sp>
          <p:nvSpPr>
            <p:cNvPr id="102" name="Ovaal 101">
              <a:extLst>
                <a:ext uri="{FF2B5EF4-FFF2-40B4-BE49-F238E27FC236}">
                  <a16:creationId xmlns:a16="http://schemas.microsoft.com/office/drawing/2014/main" id="{AA42B085-A845-6F5F-F33E-7993554B35AE}"/>
                </a:ext>
              </a:extLst>
            </p:cNvPr>
            <p:cNvSpPr/>
            <p:nvPr userDrawn="1"/>
          </p:nvSpPr>
          <p:spPr>
            <a:xfrm>
              <a:off x="-3604183" y="212876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2</a:t>
              </a:r>
            </a:p>
          </p:txBody>
        </p:sp>
        <p:sp>
          <p:nvSpPr>
            <p:cNvPr id="103" name="Rechthoek 102">
              <a:extLst>
                <a:ext uri="{FF2B5EF4-FFF2-40B4-BE49-F238E27FC236}">
                  <a16:creationId xmlns:a16="http://schemas.microsoft.com/office/drawing/2014/main" id="{4A82A11C-CD9B-3DE6-CC55-0620B3BFFD0D}"/>
                </a:ext>
              </a:extLst>
            </p:cNvPr>
            <p:cNvSpPr/>
            <p:nvPr userDrawn="1"/>
          </p:nvSpPr>
          <p:spPr>
            <a:xfrm>
              <a:off x="-3604183" y="1196113"/>
              <a:ext cx="3229047" cy="459227"/>
            </a:xfrm>
            <a:prstGeom prst="rect">
              <a:avLst/>
            </a:prstGeom>
            <a:noFill/>
            <a:ln w="25400" cap="flat" cmpd="sng" algn="ctr">
              <a:noFill/>
              <a:prstDash val="solid"/>
            </a:ln>
            <a:effectLst/>
          </p:spPr>
          <p:txBody>
            <a:bodyPr lIns="0" tIns="0" rIns="0" bIns="0" rtlCol="0" anchor="t"/>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Gebruik onder de tab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Start’</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de </a:t>
              </a:r>
              <a:r>
                <a:rPr kumimoji="0" lang="nl-NL" sz="1200" b="1"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lijstniveau-knoppen</a:t>
              </a: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 om een tekst niveau te kiezen. </a:t>
              </a:r>
              <a:b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br>
              <a:r>
                <a:rPr kumimoji="0" lang="nl-NL" sz="12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rPr>
                <a:t>Kies uit:</a:t>
              </a:r>
            </a:p>
          </p:txBody>
        </p:sp>
        <p:sp>
          <p:nvSpPr>
            <p:cNvPr id="104" name="Ovaal 103">
              <a:extLst>
                <a:ext uri="{FF2B5EF4-FFF2-40B4-BE49-F238E27FC236}">
                  <a16:creationId xmlns:a16="http://schemas.microsoft.com/office/drawing/2014/main" id="{C44772D6-FB3C-0C4E-42DF-016454CCDC58}"/>
                </a:ext>
              </a:extLst>
            </p:cNvPr>
            <p:cNvSpPr/>
            <p:nvPr userDrawn="1"/>
          </p:nvSpPr>
          <p:spPr>
            <a:xfrm>
              <a:off x="-3604183" y="242005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3</a:t>
              </a:r>
            </a:p>
          </p:txBody>
        </p:sp>
        <p:sp>
          <p:nvSpPr>
            <p:cNvPr id="105" name="Ovaal 104">
              <a:extLst>
                <a:ext uri="{FF2B5EF4-FFF2-40B4-BE49-F238E27FC236}">
                  <a16:creationId xmlns:a16="http://schemas.microsoft.com/office/drawing/2014/main" id="{651A893D-A6EE-9741-A6DD-A2223675A7EB}"/>
                </a:ext>
              </a:extLst>
            </p:cNvPr>
            <p:cNvSpPr/>
            <p:nvPr userDrawn="1"/>
          </p:nvSpPr>
          <p:spPr>
            <a:xfrm>
              <a:off x="-3604183" y="2711336"/>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4</a:t>
              </a:r>
            </a:p>
          </p:txBody>
        </p:sp>
        <p:sp>
          <p:nvSpPr>
            <p:cNvPr id="106" name="Ovaal 105">
              <a:extLst>
                <a:ext uri="{FF2B5EF4-FFF2-40B4-BE49-F238E27FC236}">
                  <a16:creationId xmlns:a16="http://schemas.microsoft.com/office/drawing/2014/main" id="{E55597D8-31D5-3D00-63EC-2D966528C815}"/>
                </a:ext>
              </a:extLst>
            </p:cNvPr>
            <p:cNvSpPr/>
            <p:nvPr userDrawn="1"/>
          </p:nvSpPr>
          <p:spPr>
            <a:xfrm>
              <a:off x="-3604183" y="3002620"/>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5</a:t>
              </a:r>
            </a:p>
          </p:txBody>
        </p:sp>
        <p:sp>
          <p:nvSpPr>
            <p:cNvPr id="107" name="Ovaal 106">
              <a:extLst>
                <a:ext uri="{FF2B5EF4-FFF2-40B4-BE49-F238E27FC236}">
                  <a16:creationId xmlns:a16="http://schemas.microsoft.com/office/drawing/2014/main" id="{3B26A67C-2A4F-7058-F6D9-65E389BB9A19}"/>
                </a:ext>
              </a:extLst>
            </p:cNvPr>
            <p:cNvSpPr/>
            <p:nvPr userDrawn="1"/>
          </p:nvSpPr>
          <p:spPr>
            <a:xfrm>
              <a:off x="-3604183" y="329390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6</a:t>
              </a:r>
            </a:p>
          </p:txBody>
        </p:sp>
        <p:sp>
          <p:nvSpPr>
            <p:cNvPr id="108" name="Ovaal 107">
              <a:extLst>
                <a:ext uri="{FF2B5EF4-FFF2-40B4-BE49-F238E27FC236}">
                  <a16:creationId xmlns:a16="http://schemas.microsoft.com/office/drawing/2014/main" id="{E4D59086-1402-7766-0AB5-16CC361ABBB7}"/>
                </a:ext>
              </a:extLst>
            </p:cNvPr>
            <p:cNvSpPr/>
            <p:nvPr userDrawn="1"/>
          </p:nvSpPr>
          <p:spPr>
            <a:xfrm>
              <a:off x="-3604183" y="3585188"/>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7</a:t>
              </a:r>
            </a:p>
          </p:txBody>
        </p:sp>
        <p:sp>
          <p:nvSpPr>
            <p:cNvPr id="109" name="Ovaal 108">
              <a:extLst>
                <a:ext uri="{FF2B5EF4-FFF2-40B4-BE49-F238E27FC236}">
                  <a16:creationId xmlns:a16="http://schemas.microsoft.com/office/drawing/2014/main" id="{10E95D22-CC2A-410D-2AA7-7F1B2DCB0C7C}"/>
                </a:ext>
              </a:extLst>
            </p:cNvPr>
            <p:cNvSpPr/>
            <p:nvPr userDrawn="1"/>
          </p:nvSpPr>
          <p:spPr>
            <a:xfrm>
              <a:off x="-3604183" y="3876472"/>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8</a:t>
              </a:r>
            </a:p>
          </p:txBody>
        </p:sp>
        <p:sp>
          <p:nvSpPr>
            <p:cNvPr id="110" name="Ovaal 109">
              <a:extLst>
                <a:ext uri="{FF2B5EF4-FFF2-40B4-BE49-F238E27FC236}">
                  <a16:creationId xmlns:a16="http://schemas.microsoft.com/office/drawing/2014/main" id="{B97DF748-FBEC-882A-3914-639DF7FC4808}"/>
                </a:ext>
              </a:extLst>
            </p:cNvPr>
            <p:cNvSpPr/>
            <p:nvPr userDrawn="1"/>
          </p:nvSpPr>
          <p:spPr>
            <a:xfrm>
              <a:off x="-3604183" y="4168594"/>
              <a:ext cx="180000" cy="180000"/>
            </a:xfrm>
            <a:prstGeom prst="ellipse">
              <a:avLst/>
            </a:prstGeom>
            <a:solidFill>
              <a:schemeClr val="accent1"/>
            </a:solidFill>
            <a:ln w="25400" cap="flat" cmpd="sng" algn="ctr">
              <a:noFill/>
              <a:prstDash val="solid"/>
            </a:ln>
            <a:effectLst/>
          </p:spPr>
          <p:txBody>
            <a:bodyPr wrap="none"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nl-NL" sz="10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rPr>
                <a:t>9</a:t>
              </a:r>
            </a:p>
          </p:txBody>
        </p:sp>
        <p:sp>
          <p:nvSpPr>
            <p:cNvPr id="111" name="Rechthoek 110">
              <a:extLst>
                <a:ext uri="{FF2B5EF4-FFF2-40B4-BE49-F238E27FC236}">
                  <a16:creationId xmlns:a16="http://schemas.microsoft.com/office/drawing/2014/main" id="{B831A718-0C37-3B56-97EB-22B16AD8B21E}"/>
                </a:ext>
              </a:extLst>
            </p:cNvPr>
            <p:cNvSpPr/>
            <p:nvPr userDrawn="1"/>
          </p:nvSpPr>
          <p:spPr>
            <a:xfrm>
              <a:off x="-3786437" y="4531349"/>
              <a:ext cx="3593637" cy="828000"/>
            </a:xfrm>
            <a:prstGeom prst="rect">
              <a:avLst/>
            </a:prstGeom>
            <a:solidFill>
              <a:srgbClr val="ECECEC"/>
            </a:solidFill>
            <a:ln w="6350">
              <a:solidFill>
                <a:srgbClr val="ECECE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44000" rIns="180000" bIns="144000" numCol="1" spcCol="0" rtlCol="0" fromWordArt="0" anchor="ctr" anchorCtr="0" forceAA="0" compatLnSpc="1">
              <a:prstTxWarp prst="textNoShape">
                <a:avLst/>
              </a:prstTxWarp>
              <a:noAutofit/>
            </a:bodyPr>
            <a:lstStyle/>
            <a:p>
              <a:pPr algn="l">
                <a:lnSpc>
                  <a:spcPct val="90000"/>
                </a:lnSpc>
                <a:spcBef>
                  <a:spcPts val="600"/>
                </a:spcBef>
                <a:spcAft>
                  <a:spcPts val="600"/>
                </a:spcAft>
              </a:pPr>
              <a:r>
                <a:rPr lang="nl-NL" sz="1200" b="1" cap="all" baseline="0" noProof="0" dirty="0">
                  <a:solidFill>
                    <a:srgbClr val="211F26"/>
                  </a:solidFill>
                  <a:latin typeface="Calibri" panose="020F0502020204030204" pitchFamily="34" charset="0"/>
                  <a:cs typeface="Calibri" panose="020F0502020204030204" pitchFamily="34" charset="0"/>
                </a:rPr>
                <a:t>Meer weten?</a:t>
              </a:r>
              <a:br>
                <a:rPr lang="nl-NL" sz="1200" cap="all"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Ga naar de instructie dia </a:t>
              </a:r>
              <a:r>
                <a:rPr lang="nl-NL" sz="1200" b="1" cap="none" baseline="0" noProof="0" dirty="0">
                  <a:solidFill>
                    <a:srgbClr val="211F26"/>
                  </a:solidFill>
                  <a:latin typeface="Calibri" panose="020F0502020204030204" pitchFamily="34" charset="0"/>
                  <a:cs typeface="Calibri" panose="020F0502020204030204" pitchFamily="34" charset="0"/>
                </a:rPr>
                <a:t>‘VIDEO INSTRUCTIES’</a:t>
              </a:r>
              <a:r>
                <a:rPr lang="nl-NL" sz="1200" cap="none" baseline="0" noProof="0" dirty="0">
                  <a:solidFill>
                    <a:srgbClr val="211F26"/>
                  </a:solidFill>
                  <a:latin typeface="Calibri" panose="020F0502020204030204" pitchFamily="34" charset="0"/>
                  <a:cs typeface="Calibri" panose="020F0502020204030204" pitchFamily="34" charset="0"/>
                </a:rPr>
                <a:t>.</a:t>
              </a:r>
              <a:br>
                <a:rPr lang="nl-NL" sz="1200" cap="none" baseline="0" noProof="0" dirty="0">
                  <a:solidFill>
                    <a:srgbClr val="211F26"/>
                  </a:solidFill>
                  <a:latin typeface="Calibri" panose="020F0502020204030204" pitchFamily="34" charset="0"/>
                  <a:cs typeface="Calibri" panose="020F0502020204030204" pitchFamily="34" charset="0"/>
                </a:rPr>
              </a:br>
              <a:r>
                <a:rPr lang="nl-NL" sz="1200" cap="none" baseline="0" noProof="0" dirty="0">
                  <a:solidFill>
                    <a:srgbClr val="211F26"/>
                  </a:solidFill>
                  <a:latin typeface="Calibri" panose="020F0502020204030204" pitchFamily="34" charset="0"/>
                  <a:cs typeface="Calibri" panose="020F0502020204030204" pitchFamily="34" charset="0"/>
                </a:rPr>
                <a:t>Deze vind je vooraan de presentatie of voeg je in via </a:t>
              </a:r>
              <a:r>
                <a:rPr lang="nl-NL" sz="1200" i="1" cap="none" baseline="0" noProof="0" dirty="0">
                  <a:solidFill>
                    <a:srgbClr val="211F26"/>
                  </a:solidFill>
                  <a:latin typeface="Calibri" panose="020F0502020204030204" pitchFamily="34" charset="0"/>
                  <a:cs typeface="Calibri" panose="020F0502020204030204" pitchFamily="34" charset="0"/>
                </a:rPr>
                <a:t>‘Start’</a:t>
              </a:r>
              <a:r>
                <a:rPr lang="nl-NL" sz="1200" cap="none" baseline="0" noProof="0" dirty="0">
                  <a:solidFill>
                    <a:srgbClr val="211F26"/>
                  </a:solidFill>
                  <a:latin typeface="Calibri" panose="020F0502020204030204" pitchFamily="34" charset="0"/>
                  <a:cs typeface="Calibri" panose="020F0502020204030204" pitchFamily="34" charset="0"/>
                </a:rPr>
                <a:t> &gt; </a:t>
              </a:r>
              <a:r>
                <a:rPr lang="nl-NL" sz="1200" i="1" cap="none" baseline="0" noProof="0" dirty="0">
                  <a:solidFill>
                    <a:srgbClr val="211F26"/>
                  </a:solidFill>
                  <a:latin typeface="Calibri" panose="020F0502020204030204" pitchFamily="34" charset="0"/>
                  <a:cs typeface="Calibri" panose="020F0502020204030204" pitchFamily="34" charset="0"/>
                </a:rPr>
                <a:t>‘Nieuwe dia’</a:t>
              </a:r>
            </a:p>
          </p:txBody>
        </p:sp>
        <p:grpSp>
          <p:nvGrpSpPr>
            <p:cNvPr id="112" name="ICOON_info">
              <a:extLst>
                <a:ext uri="{FF2B5EF4-FFF2-40B4-BE49-F238E27FC236}">
                  <a16:creationId xmlns:a16="http://schemas.microsoft.com/office/drawing/2014/main" id="{70E48403-B641-B1B9-F3FC-E94BD80266AB}"/>
                </a:ext>
              </a:extLst>
            </p:cNvPr>
            <p:cNvGrpSpPr/>
            <p:nvPr userDrawn="1"/>
          </p:nvGrpSpPr>
          <p:grpSpPr>
            <a:xfrm>
              <a:off x="-376736" y="4400186"/>
              <a:ext cx="283685" cy="283685"/>
              <a:chOff x="-510741" y="5913713"/>
              <a:chExt cx="267555" cy="267555"/>
            </a:xfrm>
          </p:grpSpPr>
          <p:sp>
            <p:nvSpPr>
              <p:cNvPr id="217" name="Ovaal 216">
                <a:extLst>
                  <a:ext uri="{FF2B5EF4-FFF2-40B4-BE49-F238E27FC236}">
                    <a16:creationId xmlns:a16="http://schemas.microsoft.com/office/drawing/2014/main" id="{05224D83-B6D9-A8E1-A7EB-E4E091B2A5E6}"/>
                  </a:ext>
                </a:extLst>
              </p:cNvPr>
              <p:cNvSpPr/>
              <p:nvPr userDrawn="1"/>
            </p:nvSpPr>
            <p:spPr>
              <a:xfrm>
                <a:off x="-491853" y="5932072"/>
                <a:ext cx="230835" cy="230835"/>
              </a:xfrm>
              <a:prstGeom prst="ellipse">
                <a:avLst/>
              </a:prstGeom>
              <a:solidFill>
                <a:srgbClr val="211F2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a:lnSpc>
                    <a:spcPct val="90000"/>
                  </a:lnSpc>
                  <a:spcBef>
                    <a:spcPts val="600"/>
                  </a:spcBef>
                  <a:spcAft>
                    <a:spcPts val="600"/>
                  </a:spcAft>
                </a:pPr>
                <a:endParaRPr lang="nl-NL" sz="1600" cap="all" baseline="0" noProof="0" dirty="0">
                  <a:latin typeface="Calibri" panose="020F0502020204030204" pitchFamily="34" charset="0"/>
                  <a:cs typeface="Calibri" panose="020F0502020204030204" pitchFamily="34" charset="0"/>
                </a:endParaRPr>
              </a:p>
            </p:txBody>
          </p:sp>
          <p:sp>
            <p:nvSpPr>
              <p:cNvPr id="218" name="Graphic 163" descr="Informatie">
                <a:extLst>
                  <a:ext uri="{FF2B5EF4-FFF2-40B4-BE49-F238E27FC236}">
                    <a16:creationId xmlns:a16="http://schemas.microsoft.com/office/drawing/2014/main" id="{450CC05D-3356-A1F4-6ABD-27D54C40E7F4}"/>
                  </a:ext>
                </a:extLst>
              </p:cNvPr>
              <p:cNvSpPr/>
              <p:nvPr/>
            </p:nvSpPr>
            <p:spPr>
              <a:xfrm>
                <a:off x="-510741" y="5913713"/>
                <a:ext cx="267555" cy="267555"/>
              </a:xfrm>
              <a:custGeom>
                <a:avLst/>
                <a:gdLst>
                  <a:gd name="connsiteX0" fmla="*/ 145860 w 291719"/>
                  <a:gd name="connsiteY0" fmla="*/ 0 h 291719"/>
                  <a:gd name="connsiteX1" fmla="*/ 0 w 291719"/>
                  <a:gd name="connsiteY1" fmla="*/ 145860 h 291719"/>
                  <a:gd name="connsiteX2" fmla="*/ 145860 w 291719"/>
                  <a:gd name="connsiteY2" fmla="*/ 291720 h 291719"/>
                  <a:gd name="connsiteX3" fmla="*/ 291720 w 291719"/>
                  <a:gd name="connsiteY3" fmla="*/ 145860 h 291719"/>
                  <a:gd name="connsiteX4" fmla="*/ 145860 w 291719"/>
                  <a:gd name="connsiteY4" fmla="*/ 0 h 291719"/>
                  <a:gd name="connsiteX5" fmla="*/ 138183 w 291719"/>
                  <a:gd name="connsiteY5" fmla="*/ 38384 h 291719"/>
                  <a:gd name="connsiteX6" fmla="*/ 157375 w 291719"/>
                  <a:gd name="connsiteY6" fmla="*/ 57576 h 291719"/>
                  <a:gd name="connsiteX7" fmla="*/ 138183 w 291719"/>
                  <a:gd name="connsiteY7" fmla="*/ 76768 h 291719"/>
                  <a:gd name="connsiteX8" fmla="*/ 118991 w 291719"/>
                  <a:gd name="connsiteY8" fmla="*/ 57576 h 291719"/>
                  <a:gd name="connsiteX9" fmla="*/ 138183 w 291719"/>
                  <a:gd name="connsiteY9" fmla="*/ 38384 h 291719"/>
                  <a:gd name="connsiteX10" fmla="*/ 184244 w 291719"/>
                  <a:gd name="connsiteY10" fmla="*/ 253336 h 291719"/>
                  <a:gd name="connsiteX11" fmla="*/ 107476 w 291719"/>
                  <a:gd name="connsiteY11" fmla="*/ 253336 h 291719"/>
                  <a:gd name="connsiteX12" fmla="*/ 107476 w 291719"/>
                  <a:gd name="connsiteY12" fmla="*/ 230305 h 291719"/>
                  <a:gd name="connsiteX13" fmla="*/ 134345 w 291719"/>
                  <a:gd name="connsiteY13" fmla="*/ 230305 h 291719"/>
                  <a:gd name="connsiteX14" fmla="*/ 134345 w 291719"/>
                  <a:gd name="connsiteY14" fmla="*/ 115153 h 291719"/>
                  <a:gd name="connsiteX15" fmla="*/ 111314 w 291719"/>
                  <a:gd name="connsiteY15" fmla="*/ 115153 h 291719"/>
                  <a:gd name="connsiteX16" fmla="*/ 111314 w 291719"/>
                  <a:gd name="connsiteY16" fmla="*/ 92122 h 291719"/>
                  <a:gd name="connsiteX17" fmla="*/ 157375 w 291719"/>
                  <a:gd name="connsiteY17" fmla="*/ 92122 h 291719"/>
                  <a:gd name="connsiteX18" fmla="*/ 157375 w 291719"/>
                  <a:gd name="connsiteY18" fmla="*/ 115153 h 291719"/>
                  <a:gd name="connsiteX19" fmla="*/ 157375 w 291719"/>
                  <a:gd name="connsiteY19" fmla="*/ 230305 h 291719"/>
                  <a:gd name="connsiteX20" fmla="*/ 184244 w 291719"/>
                  <a:gd name="connsiteY20" fmla="*/ 230305 h 291719"/>
                  <a:gd name="connsiteX21" fmla="*/ 184244 w 291719"/>
                  <a:gd name="connsiteY21" fmla="*/ 253336 h 2917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91719" h="291719">
                    <a:moveTo>
                      <a:pt x="145860" y="0"/>
                    </a:moveTo>
                    <a:cubicBezTo>
                      <a:pt x="65253" y="0"/>
                      <a:pt x="0" y="65253"/>
                      <a:pt x="0" y="145860"/>
                    </a:cubicBezTo>
                    <a:cubicBezTo>
                      <a:pt x="0" y="226467"/>
                      <a:pt x="65253" y="291720"/>
                      <a:pt x="145860" y="291720"/>
                    </a:cubicBezTo>
                    <a:cubicBezTo>
                      <a:pt x="226467" y="291720"/>
                      <a:pt x="291720" y="226467"/>
                      <a:pt x="291720" y="145860"/>
                    </a:cubicBezTo>
                    <a:cubicBezTo>
                      <a:pt x="291720" y="65253"/>
                      <a:pt x="226467" y="0"/>
                      <a:pt x="145860" y="0"/>
                    </a:cubicBezTo>
                    <a:close/>
                    <a:moveTo>
                      <a:pt x="138183" y="38384"/>
                    </a:moveTo>
                    <a:cubicBezTo>
                      <a:pt x="148931" y="38384"/>
                      <a:pt x="157375" y="46829"/>
                      <a:pt x="157375" y="57576"/>
                    </a:cubicBezTo>
                    <a:cubicBezTo>
                      <a:pt x="157375" y="68324"/>
                      <a:pt x="148931" y="76768"/>
                      <a:pt x="138183" y="76768"/>
                    </a:cubicBezTo>
                    <a:cubicBezTo>
                      <a:pt x="127435" y="76768"/>
                      <a:pt x="118991" y="68324"/>
                      <a:pt x="118991" y="57576"/>
                    </a:cubicBezTo>
                    <a:cubicBezTo>
                      <a:pt x="118991" y="46829"/>
                      <a:pt x="127435" y="38384"/>
                      <a:pt x="138183" y="38384"/>
                    </a:cubicBezTo>
                    <a:close/>
                    <a:moveTo>
                      <a:pt x="184244" y="253336"/>
                    </a:moveTo>
                    <a:lnTo>
                      <a:pt x="107476" y="253336"/>
                    </a:lnTo>
                    <a:lnTo>
                      <a:pt x="107476" y="230305"/>
                    </a:lnTo>
                    <a:lnTo>
                      <a:pt x="134345" y="230305"/>
                    </a:lnTo>
                    <a:lnTo>
                      <a:pt x="134345" y="115153"/>
                    </a:lnTo>
                    <a:lnTo>
                      <a:pt x="111314" y="115153"/>
                    </a:lnTo>
                    <a:lnTo>
                      <a:pt x="111314" y="92122"/>
                    </a:lnTo>
                    <a:lnTo>
                      <a:pt x="157375" y="92122"/>
                    </a:lnTo>
                    <a:lnTo>
                      <a:pt x="157375" y="115153"/>
                    </a:lnTo>
                    <a:lnTo>
                      <a:pt x="157375" y="230305"/>
                    </a:lnTo>
                    <a:lnTo>
                      <a:pt x="184244" y="230305"/>
                    </a:lnTo>
                    <a:lnTo>
                      <a:pt x="184244" y="253336"/>
                    </a:lnTo>
                    <a:close/>
                  </a:path>
                </a:pathLst>
              </a:custGeom>
              <a:solidFill>
                <a:srgbClr val="1FF524"/>
              </a:solidFill>
              <a:ln w="3770" cap="flat">
                <a:noFill/>
                <a:prstDash val="solid"/>
                <a:miter/>
              </a:ln>
            </p:spPr>
            <p:txBody>
              <a:bodyPr rtlCol="0" anchor="ctr"/>
              <a:lstStyle/>
              <a:p>
                <a:endParaRPr lang="nl-NL" sz="2000" noProof="0" dirty="0">
                  <a:solidFill>
                    <a:srgbClr val="211F26"/>
                  </a:solidFill>
                  <a:latin typeface="Calibri" panose="020F0502020204030204" pitchFamily="34" charset="0"/>
                  <a:cs typeface="Calibri" panose="020F0502020204030204" pitchFamily="34" charset="0"/>
                </a:endParaRPr>
              </a:p>
            </p:txBody>
          </p:sp>
        </p:grpSp>
        <p:grpSp>
          <p:nvGrpSpPr>
            <p:cNvPr id="113" name="VOORBEELD">
              <a:extLst>
                <a:ext uri="{FF2B5EF4-FFF2-40B4-BE49-F238E27FC236}">
                  <a16:creationId xmlns:a16="http://schemas.microsoft.com/office/drawing/2014/main" id="{9FCB7802-DE92-EC72-DB81-DBD72302435C}"/>
                </a:ext>
              </a:extLst>
            </p:cNvPr>
            <p:cNvGrpSpPr/>
            <p:nvPr userDrawn="1"/>
          </p:nvGrpSpPr>
          <p:grpSpPr>
            <a:xfrm>
              <a:off x="-3605171" y="458674"/>
              <a:ext cx="3234311" cy="558875"/>
              <a:chOff x="-3605171" y="458674"/>
              <a:chExt cx="3234311" cy="558875"/>
            </a:xfrm>
          </p:grpSpPr>
          <p:sp>
            <p:nvSpPr>
              <p:cNvPr id="114" name="Rechthoek 113">
                <a:extLst>
                  <a:ext uri="{FF2B5EF4-FFF2-40B4-BE49-F238E27FC236}">
                    <a16:creationId xmlns:a16="http://schemas.microsoft.com/office/drawing/2014/main" id="{E53991E9-7292-782F-FE75-876F6BECED8B}"/>
                  </a:ext>
                </a:extLst>
              </p:cNvPr>
              <p:cNvSpPr/>
              <p:nvPr userDrawn="1"/>
            </p:nvSpPr>
            <p:spPr>
              <a:xfrm>
                <a:off x="-3604183" y="458674"/>
                <a:ext cx="393459" cy="184058"/>
              </a:xfrm>
              <a:prstGeom prst="rect">
                <a:avLst/>
              </a:prstGeom>
              <a:solidFill>
                <a:srgbClr val="F8F8F8"/>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18000" rIns="0" bIns="0" numCol="1" spcCol="0" rtlCol="0" fromWordArt="0" anchor="t" anchorCtr="0" forceAA="0" compatLnSpc="1">
                <a:prstTxWarp prst="textNoShape">
                  <a:avLst/>
                </a:prstTxWarp>
                <a:noAutofit/>
              </a:bodyPr>
              <a:lstStyle/>
              <a:p>
                <a:pPr algn="ctr"/>
                <a:r>
                  <a:rPr lang="nl-NL" sz="900" b="1" noProof="0" dirty="0">
                    <a:solidFill>
                      <a:srgbClr val="211F26"/>
                    </a:solidFill>
                    <a:latin typeface="Calibri" panose="020F0502020204030204" pitchFamily="34" charset="0"/>
                    <a:cs typeface="Calibri" panose="020F0502020204030204" pitchFamily="34" charset="0"/>
                  </a:rPr>
                  <a:t>Start</a:t>
                </a:r>
              </a:p>
            </p:txBody>
          </p:sp>
          <p:sp>
            <p:nvSpPr>
              <p:cNvPr id="115" name="Rechthoek 114">
                <a:extLst>
                  <a:ext uri="{FF2B5EF4-FFF2-40B4-BE49-F238E27FC236}">
                    <a16:creationId xmlns:a16="http://schemas.microsoft.com/office/drawing/2014/main" id="{012ECF96-0A6A-61DF-2E0D-2C512CFF5BE4}"/>
                  </a:ext>
                </a:extLst>
              </p:cNvPr>
              <p:cNvSpPr/>
              <p:nvPr userDrawn="1"/>
            </p:nvSpPr>
            <p:spPr>
              <a:xfrm>
                <a:off x="-3599184" y="621345"/>
                <a:ext cx="383782" cy="27171"/>
              </a:xfrm>
              <a:prstGeom prst="rect">
                <a:avLst/>
              </a:prstGeom>
              <a:solidFill>
                <a:srgbClr val="B7462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nvGrpSpPr>
              <p:cNvPr id="116" name="Groep 115">
                <a:extLst>
                  <a:ext uri="{FF2B5EF4-FFF2-40B4-BE49-F238E27FC236}">
                    <a16:creationId xmlns:a16="http://schemas.microsoft.com/office/drawing/2014/main" id="{466899E6-2D96-55FE-3B21-DAD73FAAFE59}"/>
                  </a:ext>
                </a:extLst>
              </p:cNvPr>
              <p:cNvGrpSpPr/>
              <p:nvPr userDrawn="1"/>
            </p:nvGrpSpPr>
            <p:grpSpPr>
              <a:xfrm>
                <a:off x="-3386247" y="830871"/>
                <a:ext cx="139423" cy="109566"/>
                <a:chOff x="-2866744" y="827071"/>
                <a:chExt cx="168701" cy="132575"/>
              </a:xfrm>
            </p:grpSpPr>
            <p:grpSp>
              <p:nvGrpSpPr>
                <p:cNvPr id="210" name="Groep 209">
                  <a:extLst>
                    <a:ext uri="{FF2B5EF4-FFF2-40B4-BE49-F238E27FC236}">
                      <a16:creationId xmlns:a16="http://schemas.microsoft.com/office/drawing/2014/main" id="{C94946A2-C1EB-4B8C-2D9F-787C118EB997}"/>
                    </a:ext>
                  </a:extLst>
                </p:cNvPr>
                <p:cNvGrpSpPr/>
                <p:nvPr userDrawn="1"/>
              </p:nvGrpSpPr>
              <p:grpSpPr>
                <a:xfrm>
                  <a:off x="-2866744" y="827071"/>
                  <a:ext cx="168701" cy="132575"/>
                  <a:chOff x="-2866744" y="827071"/>
                  <a:chExt cx="168701" cy="132575"/>
                </a:xfrm>
              </p:grpSpPr>
              <p:cxnSp>
                <p:nvCxnSpPr>
                  <p:cNvPr id="212" name="Rechte verbindingslijn 211">
                    <a:extLst>
                      <a:ext uri="{FF2B5EF4-FFF2-40B4-BE49-F238E27FC236}">
                        <a16:creationId xmlns:a16="http://schemas.microsoft.com/office/drawing/2014/main" id="{17FFB0C4-C867-0994-C4F9-1B2A67BE74BC}"/>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213" name="Rechte verbindingslijn 212">
                    <a:extLst>
                      <a:ext uri="{FF2B5EF4-FFF2-40B4-BE49-F238E27FC236}">
                        <a16:creationId xmlns:a16="http://schemas.microsoft.com/office/drawing/2014/main" id="{F6E1E0BB-6FF0-7038-D797-C1BF68029A7F}"/>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214" name="Rechte verbindingslijn 213">
                    <a:extLst>
                      <a:ext uri="{FF2B5EF4-FFF2-40B4-BE49-F238E27FC236}">
                        <a16:creationId xmlns:a16="http://schemas.microsoft.com/office/drawing/2014/main" id="{9090B607-4788-6E14-E973-6D1C822B88C2}"/>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215" name="Rechte verbindingslijn 214">
                    <a:extLst>
                      <a:ext uri="{FF2B5EF4-FFF2-40B4-BE49-F238E27FC236}">
                        <a16:creationId xmlns:a16="http://schemas.microsoft.com/office/drawing/2014/main" id="{181625A7-5AC5-A14E-6577-B4E6F4CE0B7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216" name="Rechte verbindingslijn 215">
                    <a:extLst>
                      <a:ext uri="{FF2B5EF4-FFF2-40B4-BE49-F238E27FC236}">
                        <a16:creationId xmlns:a16="http://schemas.microsoft.com/office/drawing/2014/main" id="{3EC6BD0D-1397-2E60-9279-7330BFC0564D}"/>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211" name="Pijl: rechts 210">
                  <a:extLst>
                    <a:ext uri="{FF2B5EF4-FFF2-40B4-BE49-F238E27FC236}">
                      <a16:creationId xmlns:a16="http://schemas.microsoft.com/office/drawing/2014/main" id="{471E93F5-3D76-8081-6A39-CF5B25107896}"/>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17" name="Groep 116">
                <a:extLst>
                  <a:ext uri="{FF2B5EF4-FFF2-40B4-BE49-F238E27FC236}">
                    <a16:creationId xmlns:a16="http://schemas.microsoft.com/office/drawing/2014/main" id="{7F3DBC4E-C750-C36A-3E59-A1D427789DBB}"/>
                  </a:ext>
                </a:extLst>
              </p:cNvPr>
              <p:cNvGrpSpPr/>
              <p:nvPr userDrawn="1"/>
            </p:nvGrpSpPr>
            <p:grpSpPr>
              <a:xfrm>
                <a:off x="-3605171" y="830871"/>
                <a:ext cx="139423" cy="109566"/>
                <a:chOff x="-2866744" y="518074"/>
                <a:chExt cx="168701" cy="132575"/>
              </a:xfrm>
            </p:grpSpPr>
            <p:grpSp>
              <p:nvGrpSpPr>
                <p:cNvPr id="143" name="Groep 142">
                  <a:extLst>
                    <a:ext uri="{FF2B5EF4-FFF2-40B4-BE49-F238E27FC236}">
                      <a16:creationId xmlns:a16="http://schemas.microsoft.com/office/drawing/2014/main" id="{D9853F37-A83F-C106-CDED-91C3DF4871BB}"/>
                    </a:ext>
                  </a:extLst>
                </p:cNvPr>
                <p:cNvGrpSpPr/>
                <p:nvPr userDrawn="1"/>
              </p:nvGrpSpPr>
              <p:grpSpPr>
                <a:xfrm>
                  <a:off x="-2866744" y="518074"/>
                  <a:ext cx="168701" cy="132575"/>
                  <a:chOff x="-2866744" y="518074"/>
                  <a:chExt cx="168701" cy="132575"/>
                </a:xfrm>
              </p:grpSpPr>
              <p:cxnSp>
                <p:nvCxnSpPr>
                  <p:cNvPr id="145" name="Rechte verbindingslijn 144">
                    <a:extLst>
                      <a:ext uri="{FF2B5EF4-FFF2-40B4-BE49-F238E27FC236}">
                        <a16:creationId xmlns:a16="http://schemas.microsoft.com/office/drawing/2014/main" id="{16F2DF76-92D1-4CE0-BE1E-13A410ED8AD5}"/>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206" name="Rechte verbindingslijn 205">
                    <a:extLst>
                      <a:ext uri="{FF2B5EF4-FFF2-40B4-BE49-F238E27FC236}">
                        <a16:creationId xmlns:a16="http://schemas.microsoft.com/office/drawing/2014/main" id="{B9A64874-EE08-0A25-E45C-BA8C9DBB0756}"/>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207" name="Rechte verbindingslijn 206">
                    <a:extLst>
                      <a:ext uri="{FF2B5EF4-FFF2-40B4-BE49-F238E27FC236}">
                        <a16:creationId xmlns:a16="http://schemas.microsoft.com/office/drawing/2014/main" id="{3A6D442E-3650-5450-058A-731C1175C85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208" name="Rechte verbindingslijn 207">
                    <a:extLst>
                      <a:ext uri="{FF2B5EF4-FFF2-40B4-BE49-F238E27FC236}">
                        <a16:creationId xmlns:a16="http://schemas.microsoft.com/office/drawing/2014/main" id="{554F96BE-184B-32A0-614A-4477A6239FD1}"/>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209" name="Rechte verbindingslijn 208">
                    <a:extLst>
                      <a:ext uri="{FF2B5EF4-FFF2-40B4-BE49-F238E27FC236}">
                        <a16:creationId xmlns:a16="http://schemas.microsoft.com/office/drawing/2014/main" id="{6FC29745-EAB9-0E86-4A6A-5DDBCB56A797}"/>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44" name="Pijl: rechts 143">
                  <a:extLst>
                    <a:ext uri="{FF2B5EF4-FFF2-40B4-BE49-F238E27FC236}">
                      <a16:creationId xmlns:a16="http://schemas.microsoft.com/office/drawing/2014/main" id="{12C9F563-E2E1-390A-04FE-2591A0E7070C}"/>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cxnSp>
            <p:nvCxnSpPr>
              <p:cNvPr id="118" name="Rechte verbindingslijn 117">
                <a:extLst>
                  <a:ext uri="{FF2B5EF4-FFF2-40B4-BE49-F238E27FC236}">
                    <a16:creationId xmlns:a16="http://schemas.microsoft.com/office/drawing/2014/main" id="{2367F087-DC52-028D-2C02-3BFD5F55DF56}"/>
                  </a:ext>
                </a:extLst>
              </p:cNvPr>
              <p:cNvCxnSpPr>
                <a:cxnSpLocks/>
              </p:cNvCxnSpPr>
              <p:nvPr userDrawn="1"/>
            </p:nvCxnSpPr>
            <p:spPr>
              <a:xfrm flipV="1">
                <a:off x="-3459956" y="588169"/>
                <a:ext cx="547687" cy="219076"/>
              </a:xfrm>
              <a:prstGeom prst="line">
                <a:avLst/>
              </a:prstGeom>
              <a:noFill/>
              <a:ln w="19050" cap="rnd" cmpd="sng" algn="ctr">
                <a:solidFill>
                  <a:schemeClr val="accent1"/>
                </a:solidFill>
                <a:prstDash val="solid"/>
                <a:headEnd type="oval"/>
              </a:ln>
              <a:effectLst/>
            </p:spPr>
          </p:cxnSp>
          <p:cxnSp>
            <p:nvCxnSpPr>
              <p:cNvPr id="119" name="Rechte verbindingslijn 118">
                <a:extLst>
                  <a:ext uri="{FF2B5EF4-FFF2-40B4-BE49-F238E27FC236}">
                    <a16:creationId xmlns:a16="http://schemas.microsoft.com/office/drawing/2014/main" id="{43E72E18-F2C2-5FB9-C66B-AA8377796861}"/>
                  </a:ext>
                </a:extLst>
              </p:cNvPr>
              <p:cNvCxnSpPr>
                <a:cxnSpLocks/>
              </p:cNvCxnSpPr>
              <p:nvPr userDrawn="1"/>
            </p:nvCxnSpPr>
            <p:spPr>
              <a:xfrm>
                <a:off x="-3224213" y="828675"/>
                <a:ext cx="319088" cy="0"/>
              </a:xfrm>
              <a:prstGeom prst="line">
                <a:avLst/>
              </a:prstGeom>
              <a:noFill/>
              <a:ln w="19050" cap="rnd" cmpd="sng" algn="ctr">
                <a:solidFill>
                  <a:schemeClr val="accent1"/>
                </a:solidFill>
                <a:prstDash val="solid"/>
                <a:headEnd type="oval"/>
              </a:ln>
              <a:effectLst/>
            </p:spPr>
          </p:cxnSp>
          <p:sp>
            <p:nvSpPr>
              <p:cNvPr id="120" name="Rechthoek 119">
                <a:extLst>
                  <a:ext uri="{FF2B5EF4-FFF2-40B4-BE49-F238E27FC236}">
                    <a16:creationId xmlns:a16="http://schemas.microsoft.com/office/drawing/2014/main" id="{0915C202-3921-4350-AF53-6F426AAC0AAB}"/>
                  </a:ext>
                </a:extLst>
              </p:cNvPr>
              <p:cNvSpPr/>
              <p:nvPr userDrawn="1"/>
            </p:nvSpPr>
            <p:spPr>
              <a:xfrm>
                <a:off x="-2559903" y="512179"/>
                <a:ext cx="2189042" cy="151083"/>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ijstniveau verlagen</a:t>
                </a:r>
              </a:p>
            </p:txBody>
          </p:sp>
          <p:sp>
            <p:nvSpPr>
              <p:cNvPr id="121" name="Rechthoek 120">
                <a:extLst>
                  <a:ext uri="{FF2B5EF4-FFF2-40B4-BE49-F238E27FC236}">
                    <a16:creationId xmlns:a16="http://schemas.microsoft.com/office/drawing/2014/main" id="{F2AEF8B9-5573-020F-AD4D-70DC351FD575}"/>
                  </a:ext>
                </a:extLst>
              </p:cNvPr>
              <p:cNvSpPr/>
              <p:nvPr userDrawn="1"/>
            </p:nvSpPr>
            <p:spPr>
              <a:xfrm>
                <a:off x="-2559903" y="819562"/>
                <a:ext cx="2189043" cy="142202"/>
              </a:xfrm>
              <a:prstGeom prst="rect">
                <a:avLst/>
              </a:prstGeom>
              <a:noFill/>
              <a:ln w="25400" cap="flat" cmpd="sng" algn="ctr">
                <a:noFill/>
                <a:prstDash val="solid"/>
              </a:ln>
              <a:effectLst/>
            </p:spPr>
            <p:txBody>
              <a:bodyPr lIns="0" tIns="0" rIns="0" bIns="0" rtlCol="0" anchor="ctr"/>
              <a:lstStyle/>
              <a:p>
                <a:pPr marL="0" marR="0" lvl="0" indent="0" defTabSz="914400" eaLnBrk="1" fontAlgn="auto" latinLnBrk="0" hangingPunct="1">
                  <a:lnSpc>
                    <a:spcPct val="90000"/>
                  </a:lnSpc>
                  <a:spcBef>
                    <a:spcPts val="600"/>
                  </a:spcBef>
                  <a:spcAft>
                    <a:spcPts val="600"/>
                  </a:spcAft>
                  <a:buClrTx/>
                  <a:buSzTx/>
                  <a:buFontTx/>
                  <a:buNone/>
                  <a:tabLst/>
                  <a:defRPr/>
                </a:pPr>
                <a:r>
                  <a:rPr kumimoji="0" lang="nl-NL" sz="1100" b="0" i="0" u="none" strike="noStrike" kern="0" cap="none" spc="0" normalizeH="0" baseline="0" noProof="0" dirty="0">
                    <a:ln>
                      <a:noFill/>
                    </a:ln>
                    <a:solidFill>
                      <a:schemeClr val="tx1"/>
                    </a:solidFill>
                    <a:effectLst/>
                    <a:uLnTx/>
                    <a:uFillTx/>
                    <a:latin typeface="Calibri" panose="020F0502020204030204" pitchFamily="34" charset="0"/>
                    <a:cs typeface="Calibri" panose="020F0502020204030204" pitchFamily="34" charset="0"/>
                  </a:rPr>
                  <a:t>Lijstniveau verhogen</a:t>
                </a:r>
              </a:p>
            </p:txBody>
          </p:sp>
          <p:grpSp>
            <p:nvGrpSpPr>
              <p:cNvPr id="122" name="Groep 121">
                <a:extLst>
                  <a:ext uri="{FF2B5EF4-FFF2-40B4-BE49-F238E27FC236}">
                    <a16:creationId xmlns:a16="http://schemas.microsoft.com/office/drawing/2014/main" id="{41CBCF40-45E3-F21C-CFB6-894AA696B95F}"/>
                  </a:ext>
                </a:extLst>
              </p:cNvPr>
              <p:cNvGrpSpPr/>
              <p:nvPr userDrawn="1"/>
            </p:nvGrpSpPr>
            <p:grpSpPr>
              <a:xfrm>
                <a:off x="-2916763" y="769168"/>
                <a:ext cx="268738" cy="248381"/>
                <a:chOff x="-2916763" y="769168"/>
                <a:chExt cx="268738" cy="248381"/>
              </a:xfrm>
            </p:grpSpPr>
            <p:sp>
              <p:nvSpPr>
                <p:cNvPr id="132" name="Rechthoek 131">
                  <a:extLst>
                    <a:ext uri="{FF2B5EF4-FFF2-40B4-BE49-F238E27FC236}">
                      <a16:creationId xmlns:a16="http://schemas.microsoft.com/office/drawing/2014/main" id="{A7BB7776-CCE4-4222-7668-A75530A30F4A}"/>
                    </a:ext>
                  </a:extLst>
                </p:cNvPr>
                <p:cNvSpPr/>
                <p:nvPr userDrawn="1"/>
              </p:nvSpPr>
              <p:spPr>
                <a:xfrm>
                  <a:off x="-2916763" y="769168"/>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135" name="Groep 134">
                  <a:extLst>
                    <a:ext uri="{FF2B5EF4-FFF2-40B4-BE49-F238E27FC236}">
                      <a16:creationId xmlns:a16="http://schemas.microsoft.com/office/drawing/2014/main" id="{F078E84A-66F0-C288-AF1D-CFFB99A551CC}"/>
                    </a:ext>
                  </a:extLst>
                </p:cNvPr>
                <p:cNvGrpSpPr/>
                <p:nvPr userDrawn="1"/>
              </p:nvGrpSpPr>
              <p:grpSpPr>
                <a:xfrm>
                  <a:off x="-2866744" y="827071"/>
                  <a:ext cx="168701" cy="132575"/>
                  <a:chOff x="-2866744" y="827071"/>
                  <a:chExt cx="168701" cy="132575"/>
                </a:xfrm>
              </p:grpSpPr>
              <p:cxnSp>
                <p:nvCxnSpPr>
                  <p:cNvPr id="138" name="Rechte verbindingslijn 137">
                    <a:extLst>
                      <a:ext uri="{FF2B5EF4-FFF2-40B4-BE49-F238E27FC236}">
                        <a16:creationId xmlns:a16="http://schemas.microsoft.com/office/drawing/2014/main" id="{E6468FAB-0F10-96A0-BFD9-24FFDECAFFCA}"/>
                      </a:ext>
                    </a:extLst>
                  </p:cNvPr>
                  <p:cNvCxnSpPr/>
                  <p:nvPr userDrawn="1"/>
                </p:nvCxnSpPr>
                <p:spPr>
                  <a:xfrm>
                    <a:off x="-2866744" y="827071"/>
                    <a:ext cx="168701" cy="0"/>
                  </a:xfrm>
                  <a:prstGeom prst="line">
                    <a:avLst/>
                  </a:prstGeom>
                  <a:solidFill>
                    <a:schemeClr val="bg1"/>
                  </a:solidFill>
                  <a:ln w="12700" cap="flat" cmpd="sng" algn="ctr">
                    <a:solidFill>
                      <a:srgbClr val="9D9FA1"/>
                    </a:solidFill>
                    <a:prstDash val="solid"/>
                  </a:ln>
                  <a:effectLst/>
                </p:spPr>
              </p:cxnSp>
              <p:cxnSp>
                <p:nvCxnSpPr>
                  <p:cNvPr id="139" name="Rechte verbindingslijn 138">
                    <a:extLst>
                      <a:ext uri="{FF2B5EF4-FFF2-40B4-BE49-F238E27FC236}">
                        <a16:creationId xmlns:a16="http://schemas.microsoft.com/office/drawing/2014/main" id="{6DCAA187-5B29-B3C8-61FE-77D69B6CF2F8}"/>
                      </a:ext>
                    </a:extLst>
                  </p:cNvPr>
                  <p:cNvCxnSpPr/>
                  <p:nvPr userDrawn="1"/>
                </p:nvCxnSpPr>
                <p:spPr>
                  <a:xfrm>
                    <a:off x="-2866744" y="959646"/>
                    <a:ext cx="168701" cy="0"/>
                  </a:xfrm>
                  <a:prstGeom prst="line">
                    <a:avLst/>
                  </a:prstGeom>
                  <a:solidFill>
                    <a:schemeClr val="bg1"/>
                  </a:solidFill>
                  <a:ln w="12700" cap="flat" cmpd="sng" algn="ctr">
                    <a:solidFill>
                      <a:srgbClr val="9D9FA1"/>
                    </a:solidFill>
                    <a:prstDash val="solid"/>
                  </a:ln>
                  <a:effectLst/>
                </p:spPr>
              </p:cxnSp>
              <p:cxnSp>
                <p:nvCxnSpPr>
                  <p:cNvPr id="140" name="Rechte verbindingslijn 139">
                    <a:extLst>
                      <a:ext uri="{FF2B5EF4-FFF2-40B4-BE49-F238E27FC236}">
                        <a16:creationId xmlns:a16="http://schemas.microsoft.com/office/drawing/2014/main" id="{D374F49D-13C3-762C-EFE9-FAFE89C99F38}"/>
                      </a:ext>
                    </a:extLst>
                  </p:cNvPr>
                  <p:cNvCxnSpPr/>
                  <p:nvPr userDrawn="1"/>
                </p:nvCxnSpPr>
                <p:spPr>
                  <a:xfrm>
                    <a:off x="-2773990" y="926503"/>
                    <a:ext cx="75947" cy="0"/>
                  </a:xfrm>
                  <a:prstGeom prst="line">
                    <a:avLst/>
                  </a:prstGeom>
                  <a:solidFill>
                    <a:schemeClr val="bg1"/>
                  </a:solidFill>
                  <a:ln w="12700" cap="flat" cmpd="sng" algn="ctr">
                    <a:solidFill>
                      <a:srgbClr val="9D9FA1"/>
                    </a:solidFill>
                    <a:prstDash val="solid"/>
                  </a:ln>
                  <a:effectLst/>
                </p:spPr>
              </p:cxnSp>
              <p:cxnSp>
                <p:nvCxnSpPr>
                  <p:cNvPr id="141" name="Rechte verbindingslijn 140">
                    <a:extLst>
                      <a:ext uri="{FF2B5EF4-FFF2-40B4-BE49-F238E27FC236}">
                        <a16:creationId xmlns:a16="http://schemas.microsoft.com/office/drawing/2014/main" id="{970C79B4-E1B3-3347-B238-42FA40E39533}"/>
                      </a:ext>
                    </a:extLst>
                  </p:cNvPr>
                  <p:cNvCxnSpPr/>
                  <p:nvPr userDrawn="1"/>
                </p:nvCxnSpPr>
                <p:spPr>
                  <a:xfrm>
                    <a:off x="-2773990" y="893359"/>
                    <a:ext cx="75947" cy="0"/>
                  </a:xfrm>
                  <a:prstGeom prst="line">
                    <a:avLst/>
                  </a:prstGeom>
                  <a:solidFill>
                    <a:schemeClr val="bg1"/>
                  </a:solidFill>
                  <a:ln w="12700" cap="flat" cmpd="sng" algn="ctr">
                    <a:solidFill>
                      <a:srgbClr val="9D9FA1"/>
                    </a:solidFill>
                    <a:prstDash val="solid"/>
                  </a:ln>
                  <a:effectLst/>
                </p:spPr>
              </p:cxnSp>
              <p:cxnSp>
                <p:nvCxnSpPr>
                  <p:cNvPr id="142" name="Rechte verbindingslijn 141">
                    <a:extLst>
                      <a:ext uri="{FF2B5EF4-FFF2-40B4-BE49-F238E27FC236}">
                        <a16:creationId xmlns:a16="http://schemas.microsoft.com/office/drawing/2014/main" id="{4E9F14E5-F370-6663-595E-D3C03143B4B6}"/>
                      </a:ext>
                    </a:extLst>
                  </p:cNvPr>
                  <p:cNvCxnSpPr/>
                  <p:nvPr userDrawn="1"/>
                </p:nvCxnSpPr>
                <p:spPr>
                  <a:xfrm>
                    <a:off x="-2773990" y="860215"/>
                    <a:ext cx="75947" cy="0"/>
                  </a:xfrm>
                  <a:prstGeom prst="line">
                    <a:avLst/>
                  </a:prstGeom>
                  <a:solidFill>
                    <a:schemeClr val="bg1"/>
                  </a:solidFill>
                  <a:ln w="12700" cap="flat" cmpd="sng" algn="ctr">
                    <a:solidFill>
                      <a:srgbClr val="9D9FA1"/>
                    </a:solidFill>
                    <a:prstDash val="solid"/>
                  </a:ln>
                  <a:effectLst/>
                </p:spPr>
              </p:cxnSp>
            </p:grpSp>
            <p:sp>
              <p:nvSpPr>
                <p:cNvPr id="137" name="Pijl: rechts 136">
                  <a:extLst>
                    <a:ext uri="{FF2B5EF4-FFF2-40B4-BE49-F238E27FC236}">
                      <a16:creationId xmlns:a16="http://schemas.microsoft.com/office/drawing/2014/main" id="{18BB4250-038C-44F5-363A-72B5857810AC}"/>
                    </a:ext>
                  </a:extLst>
                </p:cNvPr>
                <p:cNvSpPr/>
                <p:nvPr userDrawn="1"/>
              </p:nvSpPr>
              <p:spPr>
                <a:xfrm>
                  <a:off x="-2866744" y="858737"/>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nvGrpSpPr>
              <p:cNvPr id="123" name="Groep 122">
                <a:extLst>
                  <a:ext uri="{FF2B5EF4-FFF2-40B4-BE49-F238E27FC236}">
                    <a16:creationId xmlns:a16="http://schemas.microsoft.com/office/drawing/2014/main" id="{C1D9CDFF-F06F-C43A-BCFC-E00F5D1FCCAB}"/>
                  </a:ext>
                </a:extLst>
              </p:cNvPr>
              <p:cNvGrpSpPr/>
              <p:nvPr userDrawn="1"/>
            </p:nvGrpSpPr>
            <p:grpSpPr>
              <a:xfrm>
                <a:off x="-2916763" y="460171"/>
                <a:ext cx="268738" cy="248381"/>
                <a:chOff x="-2916763" y="460171"/>
                <a:chExt cx="268738" cy="248381"/>
              </a:xfrm>
            </p:grpSpPr>
            <p:sp>
              <p:nvSpPr>
                <p:cNvPr id="124" name="Rechthoek 123">
                  <a:extLst>
                    <a:ext uri="{FF2B5EF4-FFF2-40B4-BE49-F238E27FC236}">
                      <a16:creationId xmlns:a16="http://schemas.microsoft.com/office/drawing/2014/main" id="{D10247B9-2905-E1F6-D910-880A128F88C8}"/>
                    </a:ext>
                  </a:extLst>
                </p:cNvPr>
                <p:cNvSpPr/>
                <p:nvPr userDrawn="1"/>
              </p:nvSpPr>
              <p:spPr>
                <a:xfrm>
                  <a:off x="-2916763" y="460171"/>
                  <a:ext cx="268738" cy="248381"/>
                </a:xfrm>
                <a:prstGeom prst="rect">
                  <a:avLst/>
                </a:prstGeom>
                <a:solidFill>
                  <a:srgbClr val="FFFFFF"/>
                </a:solidFill>
                <a:ln w="3175">
                  <a:solidFill>
                    <a:srgbClr val="DADAD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ctr"/>
                  <a:endParaRPr lang="nl-NL" sz="1050" b="0" noProof="0" dirty="0">
                    <a:solidFill>
                      <a:srgbClr val="211F26"/>
                    </a:solidFill>
                    <a:latin typeface="Calibri" panose="020F0502020204030204" pitchFamily="34" charset="0"/>
                    <a:cs typeface="Calibri" panose="020F0502020204030204" pitchFamily="34" charset="0"/>
                  </a:endParaRPr>
                </a:p>
              </p:txBody>
            </p:sp>
            <p:grpSp>
              <p:nvGrpSpPr>
                <p:cNvPr id="125" name="Groep 124">
                  <a:extLst>
                    <a:ext uri="{FF2B5EF4-FFF2-40B4-BE49-F238E27FC236}">
                      <a16:creationId xmlns:a16="http://schemas.microsoft.com/office/drawing/2014/main" id="{76931B2F-FEBB-22D5-218B-A017061C0B9D}"/>
                    </a:ext>
                  </a:extLst>
                </p:cNvPr>
                <p:cNvGrpSpPr/>
                <p:nvPr userDrawn="1"/>
              </p:nvGrpSpPr>
              <p:grpSpPr>
                <a:xfrm>
                  <a:off x="-2866744" y="518074"/>
                  <a:ext cx="168701" cy="132575"/>
                  <a:chOff x="-2866744" y="518074"/>
                  <a:chExt cx="168701" cy="132575"/>
                </a:xfrm>
              </p:grpSpPr>
              <p:cxnSp>
                <p:nvCxnSpPr>
                  <p:cNvPr id="127" name="Rechte verbindingslijn 126">
                    <a:extLst>
                      <a:ext uri="{FF2B5EF4-FFF2-40B4-BE49-F238E27FC236}">
                        <a16:creationId xmlns:a16="http://schemas.microsoft.com/office/drawing/2014/main" id="{772A4E19-7DE7-E9A8-15ED-7B46A79302F8}"/>
                      </a:ext>
                    </a:extLst>
                  </p:cNvPr>
                  <p:cNvCxnSpPr/>
                  <p:nvPr userDrawn="1"/>
                </p:nvCxnSpPr>
                <p:spPr>
                  <a:xfrm>
                    <a:off x="-2866744" y="518074"/>
                    <a:ext cx="168701" cy="0"/>
                  </a:xfrm>
                  <a:prstGeom prst="line">
                    <a:avLst/>
                  </a:prstGeom>
                  <a:solidFill>
                    <a:schemeClr val="bg1"/>
                  </a:solidFill>
                  <a:ln w="12700" cap="flat" cmpd="sng" algn="ctr">
                    <a:solidFill>
                      <a:srgbClr val="9D9FA1"/>
                    </a:solidFill>
                    <a:prstDash val="solid"/>
                  </a:ln>
                  <a:effectLst/>
                </p:spPr>
              </p:cxnSp>
              <p:cxnSp>
                <p:nvCxnSpPr>
                  <p:cNvPr id="128" name="Rechte verbindingslijn 127">
                    <a:extLst>
                      <a:ext uri="{FF2B5EF4-FFF2-40B4-BE49-F238E27FC236}">
                        <a16:creationId xmlns:a16="http://schemas.microsoft.com/office/drawing/2014/main" id="{AD104586-CA2C-0B66-8AFB-E652D92202A8}"/>
                      </a:ext>
                    </a:extLst>
                  </p:cNvPr>
                  <p:cNvCxnSpPr/>
                  <p:nvPr userDrawn="1"/>
                </p:nvCxnSpPr>
                <p:spPr>
                  <a:xfrm>
                    <a:off x="-2866744" y="650649"/>
                    <a:ext cx="168701" cy="0"/>
                  </a:xfrm>
                  <a:prstGeom prst="line">
                    <a:avLst/>
                  </a:prstGeom>
                  <a:solidFill>
                    <a:schemeClr val="bg1"/>
                  </a:solidFill>
                  <a:ln w="12700" cap="flat" cmpd="sng" algn="ctr">
                    <a:solidFill>
                      <a:srgbClr val="9D9FA1"/>
                    </a:solidFill>
                    <a:prstDash val="solid"/>
                  </a:ln>
                  <a:effectLst/>
                </p:spPr>
              </p:cxnSp>
              <p:cxnSp>
                <p:nvCxnSpPr>
                  <p:cNvPr id="129" name="Rechte verbindingslijn 128">
                    <a:extLst>
                      <a:ext uri="{FF2B5EF4-FFF2-40B4-BE49-F238E27FC236}">
                        <a16:creationId xmlns:a16="http://schemas.microsoft.com/office/drawing/2014/main" id="{50B672C0-8324-C225-2D7C-770FFAC3C5E8}"/>
                      </a:ext>
                    </a:extLst>
                  </p:cNvPr>
                  <p:cNvCxnSpPr/>
                  <p:nvPr userDrawn="1"/>
                </p:nvCxnSpPr>
                <p:spPr>
                  <a:xfrm>
                    <a:off x="-2773990" y="617506"/>
                    <a:ext cx="75947" cy="0"/>
                  </a:xfrm>
                  <a:prstGeom prst="line">
                    <a:avLst/>
                  </a:prstGeom>
                  <a:solidFill>
                    <a:schemeClr val="bg1"/>
                  </a:solidFill>
                  <a:ln w="12700" cap="flat" cmpd="sng" algn="ctr">
                    <a:solidFill>
                      <a:srgbClr val="9D9FA1"/>
                    </a:solidFill>
                    <a:prstDash val="solid"/>
                  </a:ln>
                  <a:effectLst/>
                </p:spPr>
              </p:cxnSp>
              <p:cxnSp>
                <p:nvCxnSpPr>
                  <p:cNvPr id="130" name="Rechte verbindingslijn 129">
                    <a:extLst>
                      <a:ext uri="{FF2B5EF4-FFF2-40B4-BE49-F238E27FC236}">
                        <a16:creationId xmlns:a16="http://schemas.microsoft.com/office/drawing/2014/main" id="{FC7AEB3B-3AC1-5B73-83D2-B87BDA178A4D}"/>
                      </a:ext>
                    </a:extLst>
                  </p:cNvPr>
                  <p:cNvCxnSpPr/>
                  <p:nvPr userDrawn="1"/>
                </p:nvCxnSpPr>
                <p:spPr>
                  <a:xfrm>
                    <a:off x="-2773990" y="584362"/>
                    <a:ext cx="75947" cy="0"/>
                  </a:xfrm>
                  <a:prstGeom prst="line">
                    <a:avLst/>
                  </a:prstGeom>
                  <a:solidFill>
                    <a:schemeClr val="bg1"/>
                  </a:solidFill>
                  <a:ln w="12700" cap="flat" cmpd="sng" algn="ctr">
                    <a:solidFill>
                      <a:srgbClr val="9D9FA1"/>
                    </a:solidFill>
                    <a:prstDash val="solid"/>
                  </a:ln>
                  <a:effectLst/>
                </p:spPr>
              </p:cxnSp>
              <p:cxnSp>
                <p:nvCxnSpPr>
                  <p:cNvPr id="131" name="Rechte verbindingslijn 130">
                    <a:extLst>
                      <a:ext uri="{FF2B5EF4-FFF2-40B4-BE49-F238E27FC236}">
                        <a16:creationId xmlns:a16="http://schemas.microsoft.com/office/drawing/2014/main" id="{977008DF-22A7-6F70-F37A-A158E54A48DA}"/>
                      </a:ext>
                    </a:extLst>
                  </p:cNvPr>
                  <p:cNvCxnSpPr/>
                  <p:nvPr userDrawn="1"/>
                </p:nvCxnSpPr>
                <p:spPr>
                  <a:xfrm>
                    <a:off x="-2773990" y="551218"/>
                    <a:ext cx="75947" cy="0"/>
                  </a:xfrm>
                  <a:prstGeom prst="line">
                    <a:avLst/>
                  </a:prstGeom>
                  <a:solidFill>
                    <a:schemeClr val="bg1"/>
                  </a:solidFill>
                  <a:ln w="12700" cap="flat" cmpd="sng" algn="ctr">
                    <a:solidFill>
                      <a:srgbClr val="9D9FA1"/>
                    </a:solidFill>
                    <a:prstDash val="solid"/>
                  </a:ln>
                  <a:effectLst/>
                </p:spPr>
              </p:cxnSp>
            </p:grpSp>
            <p:sp>
              <p:nvSpPr>
                <p:cNvPr id="126" name="Pijl: rechts 125">
                  <a:extLst>
                    <a:ext uri="{FF2B5EF4-FFF2-40B4-BE49-F238E27FC236}">
                      <a16:creationId xmlns:a16="http://schemas.microsoft.com/office/drawing/2014/main" id="{86DF224E-6C3A-F915-C8B4-AB8CC00773E7}"/>
                    </a:ext>
                  </a:extLst>
                </p:cNvPr>
                <p:cNvSpPr/>
                <p:nvPr userDrawn="1"/>
              </p:nvSpPr>
              <p:spPr>
                <a:xfrm flipH="1">
                  <a:off x="-2866744" y="549740"/>
                  <a:ext cx="70676" cy="67902"/>
                </a:xfrm>
                <a:prstGeom prst="rightArrow">
                  <a:avLst>
                    <a:gd name="adj1" fmla="val 25329"/>
                    <a:gd name="adj2" fmla="val 63628"/>
                  </a:avLst>
                </a:prstGeom>
                <a:solidFill>
                  <a:srgbClr val="4A7DB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0" tIns="0" rIns="0" bIns="0" numCol="1" spcCol="0" rtlCol="0" fromWordArt="0" anchor="ctr" anchorCtr="0" forceAA="0" compatLnSpc="1">
                  <a:prstTxWarp prst="textNoShape">
                    <a:avLst/>
                  </a:prstTxWarp>
                  <a:noAutofit/>
                </a:bodyPr>
                <a:lstStyle/>
                <a:p>
                  <a:pPr algn="l"/>
                  <a:endParaRPr lang="nl-NL" sz="1000" b="1" noProof="0" dirty="0">
                    <a:solidFill>
                      <a:srgbClr val="211F26"/>
                    </a:solidFill>
                    <a:latin typeface="Calibri" panose="020F0502020204030204" pitchFamily="34" charset="0"/>
                    <a:cs typeface="Calibri" panose="020F0502020204030204" pitchFamily="34" charset="0"/>
                  </a:endParaRPr>
                </a:p>
              </p:txBody>
            </p:sp>
          </p:grpSp>
        </p:grpSp>
      </p:grpSp>
    </p:spTree>
    <p:extLst>
      <p:ext uri="{BB962C8B-B14F-4D97-AF65-F5344CB8AC3E}">
        <p14:creationId xmlns:p14="http://schemas.microsoft.com/office/powerpoint/2010/main" val="123465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ustom (lee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091338-B78F-4C9D-8081-A0FCD7101C99}"/>
              </a:ext>
            </a:extLst>
          </p:cNvPr>
          <p:cNvSpPr>
            <a:spLocks noGrp="1"/>
          </p:cNvSpPr>
          <p:nvPr>
            <p:ph type="title" hasCustomPrompt="1"/>
          </p:nvPr>
        </p:nvSpPr>
        <p:spPr>
          <a:xfrm>
            <a:off x="5272632" y="-426091"/>
            <a:ext cx="1646010" cy="276999"/>
          </a:xfrm>
        </p:spPr>
        <p:txBody>
          <a:bodyPr wrap="none" lIns="72000" rIns="72000" anchor="ctr">
            <a:spAutoFit/>
          </a:bodyPr>
          <a:lstStyle>
            <a:lvl1pPr algn="ctr">
              <a:lnSpc>
                <a:spcPct val="100000"/>
              </a:lnSpc>
              <a:defRPr sz="1800" b="0">
                <a:ln w="12700">
                  <a:noFill/>
                </a:ln>
                <a:solidFill>
                  <a:schemeClr val="accent3"/>
                </a:solidFill>
                <a:latin typeface="+mj-lt"/>
              </a:defRPr>
            </a:lvl1pPr>
          </a:lstStyle>
          <a:p>
            <a:r>
              <a:rPr lang="nl-NL" noProof="0" dirty="0"/>
              <a:t>Plaats hier je titel</a:t>
            </a:r>
          </a:p>
        </p:txBody>
      </p:sp>
    </p:spTree>
    <p:extLst>
      <p:ext uri="{BB962C8B-B14F-4D97-AF65-F5344CB8AC3E}">
        <p14:creationId xmlns:p14="http://schemas.microsoft.com/office/powerpoint/2010/main" val="197103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6="http://schemas.microsoft.com/office/drawing/2014/main"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Tekst shee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7B4507E-24AA-48C4-8376-25A2733DF80F}"/>
              </a:ext>
            </a:extLst>
          </p:cNvPr>
          <p:cNvGraphicFramePr>
            <a:graphicFrameLocks noChangeAspect="1"/>
          </p:cNvGraphicFramePr>
          <p:nvPr userDrawn="1">
            <p:custDataLst>
              <p:tags r:id="rId1"/>
            </p:custDataLst>
            <p:extLst>
              <p:ext uri="{D42A27DB-BD31-4B8C-83A1-F6EECF244321}">
                <p14:modId xmlns:p14="http://schemas.microsoft.com/office/powerpoint/2010/main" val="3460018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06" imgH="608" progId="TCLayout.ActiveDocument.1">
                  <p:embed/>
                </p:oleObj>
              </mc:Choice>
              <mc:Fallback>
                <p:oleObj name="think-cell Slide" r:id="rId3" imgW="606" imgH="608" progId="TCLayout.ActiveDocument.1">
                  <p:embed/>
                  <p:pic>
                    <p:nvPicPr>
                      <p:cNvPr id="4" name="Object 3" hidden="1">
                        <a:extLst>
                          <a:ext uri="{FF2B5EF4-FFF2-40B4-BE49-F238E27FC236}">
                            <a16:creationId xmlns:a16="http://schemas.microsoft.com/office/drawing/2014/main" id="{67B4507E-24AA-48C4-8376-25A2733DF8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p:cNvSpPr txBox="1">
            <a:spLocks noGrp="1"/>
          </p:cNvSpPr>
          <p:nvPr>
            <p:ph type="title" hasCustomPrompt="1"/>
          </p:nvPr>
        </p:nvSpPr>
        <p:spPr>
          <a:xfrm>
            <a:off x="342898" y="160172"/>
            <a:ext cx="11433174" cy="1046459"/>
          </a:xfrm>
        </p:spPr>
        <p:txBody>
          <a:bodyPr/>
          <a:lstStyle>
            <a:lvl1pPr rtl="0">
              <a:defRPr b="1">
                <a:latin typeface="Calibri" pitchFamily="34"/>
                <a:cs typeface="Calibri" pitchFamily="34"/>
              </a:defRPr>
            </a:lvl1pPr>
          </a:lstStyle>
          <a:p>
            <a:pPr lvl="0"/>
            <a:r>
              <a:rPr lang="nl-NL"/>
              <a:t>Titel sheet</a:t>
            </a:r>
          </a:p>
        </p:txBody>
      </p:sp>
      <p:sp>
        <p:nvSpPr>
          <p:cNvPr id="5" name="Footer Placeholder 4">
            <a:extLst>
              <a:ext uri="{FF2B5EF4-FFF2-40B4-BE49-F238E27FC236}">
                <a16:creationId xmlns:a16="http://schemas.microsoft.com/office/drawing/2014/main" id="{266C9F23-7ABD-4CD5-BF04-14F8BB0828B7}"/>
              </a:ext>
            </a:extLst>
          </p:cNvPr>
          <p:cNvSpPr>
            <a:spLocks noGrp="1"/>
          </p:cNvSpPr>
          <p:nvPr>
            <p:ph type="ftr" sz="quarter" idx="10"/>
          </p:nvPr>
        </p:nvSpPr>
        <p:spPr/>
        <p:txBody>
          <a:bodyPr/>
          <a:lstStyle>
            <a:lvl1pPr algn="l" rtl="0">
              <a:defRPr/>
            </a:lvl1pPr>
          </a:lstStyle>
          <a:p>
            <a:endParaRPr lang="nl-NL"/>
          </a:p>
        </p:txBody>
      </p:sp>
      <p:sp>
        <p:nvSpPr>
          <p:cNvPr id="6" name="Slide Number Placeholder 9">
            <a:extLst>
              <a:ext uri="{FF2B5EF4-FFF2-40B4-BE49-F238E27FC236}">
                <a16:creationId xmlns:a16="http://schemas.microsoft.com/office/drawing/2014/main" id="{68582619-3AD1-4AAA-81BE-F1DB3C937B34}"/>
              </a:ext>
            </a:extLst>
          </p:cNvPr>
          <p:cNvSpPr>
            <a:spLocks noGrp="1"/>
          </p:cNvSpPr>
          <p:nvPr>
            <p:ph type="sldNum" sz="quarter" idx="4"/>
          </p:nvPr>
        </p:nvSpPr>
        <p:spPr>
          <a:xfrm>
            <a:off x="9112304" y="6356350"/>
            <a:ext cx="2743200" cy="365125"/>
          </a:xfrm>
          <a:prstGeom prst="rect">
            <a:avLst/>
          </a:prstGeom>
        </p:spPr>
        <p:txBody>
          <a:bodyPr vert="horz" lIns="91440" tIns="45720" rIns="91440" bIns="45720" rtlCol="0" anchor="ctr"/>
          <a:lstStyle>
            <a:lvl1pPr algn="r" rtl="0">
              <a:defRPr sz="1200">
                <a:solidFill>
                  <a:schemeClr val="tx1">
                    <a:tint val="75000"/>
                  </a:schemeClr>
                </a:solidFill>
              </a:defRPr>
            </a:lvl1pPr>
          </a:lstStyle>
          <a:p>
            <a:fld id="{57BE2D24-2D97-41E0-9A10-305B4CE75A67}" type="slidenum">
              <a:rPr lang="nl-NL" smtClean="0"/>
              <a:pPr/>
              <a:t>‹nr.›</a:t>
            </a:fld>
            <a:endParaRPr lang="nl-NL"/>
          </a:p>
        </p:txBody>
      </p:sp>
    </p:spTree>
    <p:extLst>
      <p:ext uri="{BB962C8B-B14F-4D97-AF65-F5344CB8AC3E}">
        <p14:creationId xmlns:p14="http://schemas.microsoft.com/office/powerpoint/2010/main" val="2813465435"/>
      </p:ext>
    </p:extLst>
  </p:cSld>
  <p:clrMapOvr>
    <a:masterClrMapping/>
  </p:clrMapOvr>
  <p:extLst>
    <p:ext uri="{DCECCB84-F9BA-43D5-87BE-67443E8EF086}">
      <p15:sldGuideLst xmlns:p15="http://schemas.microsoft.com/office/powerpoint/2012/main">
        <p15:guide id="2" pos="3840">
          <p15:clr>
            <a:srgbClr val="FBAE40"/>
          </p15:clr>
        </p15:guide>
        <p15:guide id="4" orient="horz" pos="397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eldia">
    <p:spTree>
      <p:nvGrpSpPr>
        <p:cNvPr id="1" name=""/>
        <p:cNvGrpSpPr/>
        <p:nvPr/>
      </p:nvGrpSpPr>
      <p:grpSpPr>
        <a:xfrm>
          <a:off x="0" y="0"/>
          <a:ext cx="0" cy="0"/>
          <a:chOff x="0" y="0"/>
          <a:chExt cx="0" cy="0"/>
        </a:xfrm>
      </p:grpSpPr>
      <p:sp>
        <p:nvSpPr>
          <p:cNvPr id="2" name="Titel 1"/>
          <p:cNvSpPr txBox="1">
            <a:spLocks noGrp="1"/>
          </p:cNvSpPr>
          <p:nvPr>
            <p:ph type="title"/>
          </p:nvPr>
        </p:nvSpPr>
        <p:spPr>
          <a:xfrm>
            <a:off x="733431" y="2560631"/>
            <a:ext cx="4581519" cy="3163888"/>
          </a:xfrm>
          <a:prstGeom prst="rect">
            <a:avLst/>
          </a:prstGeom>
          <a:noFill/>
          <a:ln>
            <a:noFill/>
          </a:ln>
        </p:spPr>
        <p:txBody>
          <a:bodyPr vert="horz" wrap="square" lIns="91440" tIns="45720" rIns="91440" bIns="45720" anchor="b" anchorCtr="0" compatLnSpc="1">
            <a:noAutofit/>
          </a:bodyPr>
          <a:lstStyle>
            <a:lvl1pPr marL="0" marR="0" lvl="0" indent="0" fontAlgn="auto">
              <a:spcBef>
                <a:spcPts val="0"/>
              </a:spcBef>
              <a:spcAft>
                <a:spcPts val="0"/>
              </a:spcAft>
              <a:tabLst/>
              <a:defRPr lang="nl-NL" sz="6000" b="0" i="0" u="none" strike="noStrike" cap="none" spc="0" baseline="0">
                <a:solidFill>
                  <a:srgbClr val="000000"/>
                </a:solidFill>
                <a:uFillTx/>
                <a:latin typeface="Calibri" pitchFamily="34"/>
                <a:cs typeface="Calibri" pitchFamily="34"/>
              </a:defRPr>
            </a:lvl1pPr>
          </a:lstStyle>
          <a:p>
            <a:pPr lvl="0"/>
            <a:r>
              <a:rPr lang="nl-NL"/>
              <a:t>Het belang van Zeeland staat voorop!</a:t>
            </a:r>
          </a:p>
        </p:txBody>
      </p:sp>
      <p:sp>
        <p:nvSpPr>
          <p:cNvPr id="3" name="Tijdelijke aanduiding voor afbeelding 3"/>
          <p:cNvSpPr txBox="1">
            <a:spLocks noGrp="1"/>
          </p:cNvSpPr>
          <p:nvPr>
            <p:ph type="pic" sz="quarter" idx="4294967295"/>
          </p:nvPr>
        </p:nvSpPr>
        <p:spPr>
          <a:xfrm>
            <a:off x="5705472" y="590546"/>
            <a:ext cx="6486525" cy="5553079"/>
          </a:xfrm>
          <a:prstGeom prst="rect">
            <a:avLst/>
          </a:prstGeom>
          <a:noFill/>
          <a:ln>
            <a:noFill/>
          </a:ln>
        </p:spPr>
        <p:txBody>
          <a:bodyPr vert="horz" wrap="square" lIns="91440" tIns="45720" rIns="91440" bIns="45720" anchor="t" anchorCtr="0" compatLnSpc="1">
            <a:noAutofit/>
          </a:bodyPr>
          <a:lstStyle>
            <a:lvl1pPr marR="0" lvl="0" fontAlgn="auto">
              <a:spcAft>
                <a:spcPts val="0"/>
              </a:spcAft>
              <a:buSzPct val="100000"/>
              <a:buFont typeface="Arial" pitchFamily="34"/>
              <a:tabLst/>
              <a:defRPr lang="nl-NL" b="0" i="0" u="none" strike="noStrike" cap="none" spc="0" baseline="0">
                <a:solidFill>
                  <a:srgbClr val="000000"/>
                </a:solidFill>
                <a:uFillTx/>
                <a:latin typeface="Calibri"/>
              </a:defRPr>
            </a:lvl1pPr>
          </a:lstStyle>
          <a:p>
            <a:pPr lvl="0"/>
            <a:r>
              <a:rPr lang="nl-NL"/>
              <a:t>Afbeelding</a:t>
            </a:r>
          </a:p>
        </p:txBody>
      </p:sp>
      <p:pic>
        <p:nvPicPr>
          <p:cNvPr id="4" name="Afbeelding 5"/>
          <p:cNvPicPr>
            <a:picLocks noChangeAspect="1"/>
          </p:cNvPicPr>
          <p:nvPr/>
        </p:nvPicPr>
        <p:blipFill>
          <a:blip r:embed="rId2"/>
          <a:stretch>
            <a:fillRect/>
          </a:stretch>
        </p:blipFill>
        <p:spPr>
          <a:xfrm>
            <a:off x="733431" y="5876922"/>
            <a:ext cx="1333496" cy="76196"/>
          </a:xfrm>
          <a:prstGeom prst="rect">
            <a:avLst/>
          </a:prstGeom>
          <a:noFill/>
          <a:ln cap="flat">
            <a:noFill/>
          </a:ln>
        </p:spPr>
      </p:pic>
    </p:spTree>
    <p:extLst>
      <p:ext uri="{BB962C8B-B14F-4D97-AF65-F5344CB8AC3E}">
        <p14:creationId xmlns:p14="http://schemas.microsoft.com/office/powerpoint/2010/main" val="4249411043"/>
      </p:ext>
    </p:extLst>
  </p:cSld>
  <p:clrMapOvr>
    <a:masterClrMapping/>
  </p:clrMapOvr>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54CC3BD-94A3-4418-B2F9-12BAF73514AE}" type="slidenum">
              <a:rPr lang="nl-NL" smtClean="0"/>
              <a:t>‹nr.›</a:t>
            </a:fld>
            <a:endParaRPr lang="nl-NL"/>
          </a:p>
        </p:txBody>
      </p:sp>
      <p:sp>
        <p:nvSpPr>
          <p:cNvPr id="27" name="Tijdelijke aanduiding voor tekst 10">
            <a:extLst>
              <a:ext uri="{FF2B5EF4-FFF2-40B4-BE49-F238E27FC236}">
                <a16:creationId xmlns:a16="http://schemas.microsoft.com/office/drawing/2014/main" id="{66B664A2-7A88-5243-8308-213730E89F1D}"/>
              </a:ext>
            </a:extLst>
          </p:cNvPr>
          <p:cNvSpPr>
            <a:spLocks noGrp="1"/>
          </p:cNvSpPr>
          <p:nvPr>
            <p:ph type="body" sz="quarter" idx="13" hasCustomPrompt="1"/>
          </p:nvPr>
        </p:nvSpPr>
        <p:spPr>
          <a:xfrm>
            <a:off x="585600" y="974036"/>
            <a:ext cx="11040000" cy="746125"/>
          </a:xfrm>
        </p:spPr>
        <p:txBody>
          <a:bodyPr>
            <a:noAutofit/>
          </a:bodyPr>
          <a:lstStyle>
            <a:lvl1pPr marL="0" indent="0">
              <a:buNone/>
              <a:defRPr sz="1800" b="1">
                <a:solidFill>
                  <a:schemeClr val="tx2"/>
                </a:solidFill>
              </a:defRPr>
            </a:lvl1pPr>
            <a:lvl2pPr marL="0" inden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nl-NL" err="1"/>
              <a:t>Subheader</a:t>
            </a:r>
            <a:endParaRPr lang="nl-NL"/>
          </a:p>
        </p:txBody>
      </p:sp>
      <p:sp>
        <p:nvSpPr>
          <p:cNvPr id="28" name="Tijdelijke aanduiding voor inhoud 2">
            <a:extLst>
              <a:ext uri="{FF2B5EF4-FFF2-40B4-BE49-F238E27FC236}">
                <a16:creationId xmlns:a16="http://schemas.microsoft.com/office/drawing/2014/main" id="{8EDC833C-278C-184D-BE8D-57AE2B896A48}"/>
              </a:ext>
            </a:extLst>
          </p:cNvPr>
          <p:cNvSpPr>
            <a:spLocks noGrp="1"/>
          </p:cNvSpPr>
          <p:nvPr>
            <p:ph idx="1"/>
          </p:nvPr>
        </p:nvSpPr>
        <p:spPr>
          <a:xfrm>
            <a:off x="585600" y="1926804"/>
            <a:ext cx="11040000" cy="4077181"/>
          </a:xfrm>
        </p:spPr>
        <p:txBody>
          <a:bodyPr/>
          <a:lstStyle>
            <a:lvl1pPr>
              <a:defRPr>
                <a:solidFill>
                  <a:schemeClr val="tx2"/>
                </a:solidFill>
              </a:defRPr>
            </a:lvl1pPr>
          </a:lstStyle>
          <a:p>
            <a:pPr lvl="0"/>
            <a:r>
              <a:rPr lang="nl-NL"/>
              <a:t>Klikken om de tekststijl van het model te bewerken</a:t>
            </a:r>
          </a:p>
        </p:txBody>
      </p:sp>
      <p:sp>
        <p:nvSpPr>
          <p:cNvPr id="29" name="Titel 3">
            <a:extLst>
              <a:ext uri="{FF2B5EF4-FFF2-40B4-BE49-F238E27FC236}">
                <a16:creationId xmlns:a16="http://schemas.microsoft.com/office/drawing/2014/main" id="{4303B0F1-74A6-3F47-BD24-164C35B91393}"/>
              </a:ext>
            </a:extLst>
          </p:cNvPr>
          <p:cNvSpPr>
            <a:spLocks noGrp="1"/>
          </p:cNvSpPr>
          <p:nvPr>
            <p:ph type="title" hasCustomPrompt="1"/>
          </p:nvPr>
        </p:nvSpPr>
        <p:spPr>
          <a:xfrm>
            <a:off x="585600" y="365130"/>
            <a:ext cx="11040000" cy="576431"/>
          </a:xfrm>
        </p:spPr>
        <p:txBody>
          <a:bodyPr>
            <a:normAutofit/>
          </a:bodyPr>
          <a:lstStyle>
            <a:lvl1pPr>
              <a:defRPr sz="3600"/>
            </a:lvl1pPr>
          </a:lstStyle>
          <a:p>
            <a:r>
              <a:rPr lang="nl-NL"/>
              <a:t>Titel hier</a:t>
            </a:r>
          </a:p>
        </p:txBody>
      </p:sp>
      <p:sp>
        <p:nvSpPr>
          <p:cNvPr id="9" name="Tijdelijke aanduiding voor datum 7">
            <a:extLst>
              <a:ext uri="{FF2B5EF4-FFF2-40B4-BE49-F238E27FC236}">
                <a16:creationId xmlns:a16="http://schemas.microsoft.com/office/drawing/2014/main" id="{0977D9C9-5D24-BD40-A389-BA19112F0460}"/>
              </a:ext>
            </a:extLst>
          </p:cNvPr>
          <p:cNvSpPr>
            <a:spLocks noGrp="1"/>
          </p:cNvSpPr>
          <p:nvPr>
            <p:ph type="dt" sz="half" idx="2"/>
          </p:nvPr>
        </p:nvSpPr>
        <p:spPr>
          <a:xfrm>
            <a:off x="585600" y="6518468"/>
            <a:ext cx="1670400" cy="257739"/>
          </a:xfrm>
          <a:prstGeom prst="rect">
            <a:avLst/>
          </a:prstGeom>
        </p:spPr>
        <p:txBody>
          <a:bodyPr vert="horz" lIns="91440" tIns="45720" rIns="91440" bIns="45720" rtlCol="0" anchor="ctr"/>
          <a:lstStyle>
            <a:lvl1pPr algn="l">
              <a:defRPr sz="1100">
                <a:solidFill>
                  <a:schemeClr val="bg1"/>
                </a:solidFill>
              </a:defRPr>
            </a:lvl1pPr>
          </a:lstStyle>
          <a:p>
            <a:fld id="{6824624B-8B1A-014C-AA62-FA066D1B4EA8}" type="datetimeFigureOut">
              <a:rPr lang="nl-NL" smtClean="0"/>
              <a:pPr/>
              <a:t>10-10-2023</a:t>
            </a:fld>
            <a:endParaRPr lang="nl-NL"/>
          </a:p>
        </p:txBody>
      </p:sp>
    </p:spTree>
    <p:extLst>
      <p:ext uri="{BB962C8B-B14F-4D97-AF65-F5344CB8AC3E}">
        <p14:creationId xmlns:p14="http://schemas.microsoft.com/office/powerpoint/2010/main" val="16728918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opic slide B">
    <p:bg>
      <p:bgPr>
        <a:solidFill>
          <a:schemeClr val="bg1"/>
        </a:solidFill>
        <a:effectLst/>
      </p:bgPr>
    </p:bg>
    <p:spTree>
      <p:nvGrpSpPr>
        <p:cNvPr id="1" name=""/>
        <p:cNvGrpSpPr/>
        <p:nvPr/>
      </p:nvGrpSpPr>
      <p:grpSpPr>
        <a:xfrm>
          <a:off x="0" y="0"/>
          <a:ext cx="0" cy="0"/>
          <a:chOff x="0" y="0"/>
          <a:chExt cx="0" cy="0"/>
        </a:xfrm>
      </p:grpSpPr>
      <p:sp>
        <p:nvSpPr>
          <p:cNvPr id="22" name="Vrije vorm 21">
            <a:extLst>
              <a:ext uri="{FF2B5EF4-FFF2-40B4-BE49-F238E27FC236}">
                <a16:creationId xmlns:a16="http://schemas.microsoft.com/office/drawing/2014/main" id="{8A72E49A-C321-8C39-4493-4E6C7A309F66}"/>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6" name="Tijdelijke aanduiding voor afbeelding 25">
            <a:extLst>
              <a:ext uri="{FF2B5EF4-FFF2-40B4-BE49-F238E27FC236}">
                <a16:creationId xmlns:a16="http://schemas.microsoft.com/office/drawing/2014/main" id="{238C6B30-EFDA-84F5-F79D-A22AF705DB2A}"/>
              </a:ext>
            </a:extLst>
          </p:cNvPr>
          <p:cNvSpPr>
            <a:spLocks noGrp="1"/>
          </p:cNvSpPr>
          <p:nvPr>
            <p:ph type="pic" sz="quarter" idx="16" hasCustomPrompt="1"/>
          </p:nvPr>
        </p:nvSpPr>
        <p:spPr>
          <a:xfrm>
            <a:off x="6182027" y="-1"/>
            <a:ext cx="6009973" cy="6854828"/>
          </a:xfrm>
          <a:custGeom>
            <a:avLst/>
            <a:gdLst>
              <a:gd name="connsiteX0" fmla="*/ 737656 w 6009973"/>
              <a:gd name="connsiteY0" fmla="*/ 6851524 h 6854828"/>
              <a:gd name="connsiteX1" fmla="*/ 1677877 w 6009973"/>
              <a:gd name="connsiteY1" fmla="*/ 6851625 h 6854828"/>
              <a:gd name="connsiteX2" fmla="*/ 1681627 w 6009973"/>
              <a:gd name="connsiteY2" fmla="*/ 6854828 h 6854828"/>
              <a:gd name="connsiteX3" fmla="*/ 741050 w 6009973"/>
              <a:gd name="connsiteY3" fmla="*/ 6854828 h 6854828"/>
              <a:gd name="connsiteX4" fmla="*/ 4431239 w 6009973"/>
              <a:gd name="connsiteY4" fmla="*/ 1 h 6854828"/>
              <a:gd name="connsiteX5" fmla="*/ 4424466 w 6009973"/>
              <a:gd name="connsiteY5" fmla="*/ 27738 h 6854828"/>
              <a:gd name="connsiteX6" fmla="*/ 4411631 w 6009973"/>
              <a:gd name="connsiteY6" fmla="*/ 187852 h 6854828"/>
              <a:gd name="connsiteX7" fmla="*/ 5405988 w 6009973"/>
              <a:gd name="connsiteY7" fmla="*/ 1182990 h 6854828"/>
              <a:gd name="connsiteX8" fmla="*/ 5877725 w 6009973"/>
              <a:gd name="connsiteY8" fmla="*/ 1064025 h 6854828"/>
              <a:gd name="connsiteX9" fmla="*/ 6009972 w 6009973"/>
              <a:gd name="connsiteY9" fmla="*/ 978236 h 6854828"/>
              <a:gd name="connsiteX10" fmla="*/ 6009972 w 6009973"/>
              <a:gd name="connsiteY10" fmla="*/ 1 h 6854828"/>
              <a:gd name="connsiteX11" fmla="*/ 3123899 w 6009973"/>
              <a:gd name="connsiteY11" fmla="*/ 0 h 6854828"/>
              <a:gd name="connsiteX12" fmla="*/ 6009973 w 6009973"/>
              <a:gd name="connsiteY12" fmla="*/ 0 h 6854828"/>
              <a:gd name="connsiteX13" fmla="*/ 6009973 w 6009973"/>
              <a:gd name="connsiteY13" fmla="*/ 1756064 h 6854828"/>
              <a:gd name="connsiteX14" fmla="*/ 6009972 w 6009973"/>
              <a:gd name="connsiteY14" fmla="*/ 1756064 h 6854828"/>
              <a:gd name="connsiteX15" fmla="*/ 6009972 w 6009973"/>
              <a:gd name="connsiteY15" fmla="*/ 6854828 h 6854828"/>
              <a:gd name="connsiteX16" fmla="*/ 2275225 w 6009973"/>
              <a:gd name="connsiteY16" fmla="*/ 6854828 h 6854828"/>
              <a:gd name="connsiteX17" fmla="*/ 2080979 w 6009973"/>
              <a:gd name="connsiteY17" fmla="*/ 6708851 h 6854828"/>
              <a:gd name="connsiteX18" fmla="*/ 2079582 w 6009973"/>
              <a:gd name="connsiteY18" fmla="*/ 6707773 h 6854828"/>
              <a:gd name="connsiteX19" fmla="*/ 691854 w 6009973"/>
              <a:gd name="connsiteY19" fmla="*/ 5087482 h 6854828"/>
              <a:gd name="connsiteX20" fmla="*/ 307743 w 6009973"/>
              <a:gd name="connsiteY20" fmla="*/ 4069377 h 6854828"/>
              <a:gd name="connsiteX21" fmla="*/ 172552 w 6009973"/>
              <a:gd name="connsiteY21" fmla="*/ 2954206 h 6854828"/>
              <a:gd name="connsiteX22" fmla="*/ 28856 w 6009973"/>
              <a:gd name="connsiteY22" fmla="*/ 2778067 h 6854828"/>
              <a:gd name="connsiteX23" fmla="*/ 0 w 6009973"/>
              <a:gd name="connsiteY23" fmla="*/ 2775160 h 6854828"/>
              <a:gd name="connsiteX24" fmla="*/ 9970 w 6009973"/>
              <a:gd name="connsiteY24" fmla="*/ 2539090 h 6854828"/>
              <a:gd name="connsiteX25" fmla="*/ 1001229 w 6009973"/>
              <a:gd name="connsiteY25" fmla="*/ 1 h 6854828"/>
              <a:gd name="connsiteX26" fmla="*/ 3123899 w 6009973"/>
              <a:gd name="connsiteY26" fmla="*/ 1 h 6854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009973" h="6854828">
                <a:moveTo>
                  <a:pt x="737656" y="6851524"/>
                </a:moveTo>
                <a:lnTo>
                  <a:pt x="1677877" y="6851625"/>
                </a:lnTo>
                <a:lnTo>
                  <a:pt x="1681627" y="6854828"/>
                </a:lnTo>
                <a:lnTo>
                  <a:pt x="741050" y="6854828"/>
                </a:lnTo>
                <a:close/>
                <a:moveTo>
                  <a:pt x="4431239" y="1"/>
                </a:moveTo>
                <a:lnTo>
                  <a:pt x="4424466" y="27738"/>
                </a:lnTo>
                <a:cubicBezTo>
                  <a:pt x="4416025" y="79861"/>
                  <a:pt x="4411631" y="133342"/>
                  <a:pt x="4411631" y="187852"/>
                </a:cubicBezTo>
                <a:cubicBezTo>
                  <a:pt x="4411631" y="737452"/>
                  <a:pt x="4856820" y="1182990"/>
                  <a:pt x="5405988" y="1182990"/>
                </a:cubicBezTo>
                <a:cubicBezTo>
                  <a:pt x="5576713" y="1182990"/>
                  <a:pt x="5737363" y="1139900"/>
                  <a:pt x="5877725" y="1064025"/>
                </a:cubicBezTo>
                <a:lnTo>
                  <a:pt x="6009972" y="978236"/>
                </a:lnTo>
                <a:lnTo>
                  <a:pt x="6009972" y="1"/>
                </a:lnTo>
                <a:close/>
                <a:moveTo>
                  <a:pt x="3123899" y="0"/>
                </a:moveTo>
                <a:lnTo>
                  <a:pt x="6009973" y="0"/>
                </a:lnTo>
                <a:lnTo>
                  <a:pt x="6009973" y="1756064"/>
                </a:lnTo>
                <a:lnTo>
                  <a:pt x="6009972" y="1756064"/>
                </a:lnTo>
                <a:lnTo>
                  <a:pt x="6009972" y="6854828"/>
                </a:lnTo>
                <a:lnTo>
                  <a:pt x="2275225" y="6854828"/>
                </a:lnTo>
                <a:lnTo>
                  <a:pt x="2080979" y="6708851"/>
                </a:lnTo>
                <a:lnTo>
                  <a:pt x="2079582" y="6707773"/>
                </a:lnTo>
                <a:cubicBezTo>
                  <a:pt x="1500526" y="6281383"/>
                  <a:pt x="1020656" y="5721070"/>
                  <a:pt x="691854" y="5087482"/>
                </a:cubicBezTo>
                <a:cubicBezTo>
                  <a:pt x="524086" y="4764312"/>
                  <a:pt x="394865" y="4421730"/>
                  <a:pt x="307743" y="4069377"/>
                </a:cubicBezTo>
                <a:cubicBezTo>
                  <a:pt x="218018" y="3706556"/>
                  <a:pt x="172552" y="3331365"/>
                  <a:pt x="172552" y="2954206"/>
                </a:cubicBezTo>
                <a:cubicBezTo>
                  <a:pt x="172552" y="2867332"/>
                  <a:pt x="110855" y="2794834"/>
                  <a:pt x="28856" y="2778067"/>
                </a:cubicBezTo>
                <a:lnTo>
                  <a:pt x="0" y="2775160"/>
                </a:lnTo>
                <a:lnTo>
                  <a:pt x="9970" y="2539090"/>
                </a:lnTo>
                <a:cubicBezTo>
                  <a:pt x="90619" y="1588469"/>
                  <a:pt x="447807" y="715880"/>
                  <a:pt x="1001229" y="1"/>
                </a:cubicBezTo>
                <a:lnTo>
                  <a:pt x="3123899" y="1"/>
                </a:lnTo>
                <a:close/>
              </a:path>
            </a:pathLst>
          </a:custGeom>
          <a:solidFill>
            <a:srgbClr val="C7E8F1"/>
          </a:solidFill>
          <a:ln>
            <a:noFill/>
          </a:ln>
        </p:spPr>
        <p:txBody>
          <a:bodyPr wrap="square" anchor="ctr">
            <a:noAutofit/>
          </a:bodyPr>
          <a:lstStyle>
            <a:lvl1pPr marL="0" indent="0" algn="ctr">
              <a:buNone/>
              <a:defRPr sz="1400">
                <a:solidFill>
                  <a:schemeClr val="bg1"/>
                </a:solidFill>
              </a:defRPr>
            </a:lvl1pPr>
          </a:lstStyle>
          <a:p>
            <a:r>
              <a:rPr lang="nl-NL"/>
              <a:t>Voeg hier een afbeelding toe</a:t>
            </a:r>
          </a:p>
        </p:txBody>
      </p:sp>
      <p:grpSp>
        <p:nvGrpSpPr>
          <p:cNvPr id="39" name="Graphic 10">
            <a:extLst>
              <a:ext uri="{FF2B5EF4-FFF2-40B4-BE49-F238E27FC236}">
                <a16:creationId xmlns:a16="http://schemas.microsoft.com/office/drawing/2014/main" id="{1C41A6C2-1B37-57E7-7140-84A6DD6EEA2F}"/>
              </a:ext>
            </a:extLst>
          </p:cNvPr>
          <p:cNvGrpSpPr/>
          <p:nvPr userDrawn="1"/>
        </p:nvGrpSpPr>
        <p:grpSpPr>
          <a:xfrm>
            <a:off x="10903435" y="299495"/>
            <a:ext cx="1082602" cy="448481"/>
            <a:chOff x="10903435" y="299495"/>
            <a:chExt cx="1082602" cy="448481"/>
          </a:xfrm>
        </p:grpSpPr>
        <p:sp>
          <p:nvSpPr>
            <p:cNvPr id="40" name="Vrije vorm 39">
              <a:extLst>
                <a:ext uri="{FF2B5EF4-FFF2-40B4-BE49-F238E27FC236}">
                  <a16:creationId xmlns:a16="http://schemas.microsoft.com/office/drawing/2014/main" id="{A3EB8AA3-3E91-7309-7201-6E4B71F69C6A}"/>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41" name="Vrije vorm 40">
              <a:extLst>
                <a:ext uri="{FF2B5EF4-FFF2-40B4-BE49-F238E27FC236}">
                  <a16:creationId xmlns:a16="http://schemas.microsoft.com/office/drawing/2014/main" id="{B2F15E22-A57C-6E90-AF9D-93BE4BCE7835}"/>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42" name="Vrije vorm 41">
              <a:extLst>
                <a:ext uri="{FF2B5EF4-FFF2-40B4-BE49-F238E27FC236}">
                  <a16:creationId xmlns:a16="http://schemas.microsoft.com/office/drawing/2014/main" id="{4B7D6000-8B9F-CA4D-4447-6893E477AD2D}"/>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43" name="Vrije vorm 42">
              <a:extLst>
                <a:ext uri="{FF2B5EF4-FFF2-40B4-BE49-F238E27FC236}">
                  <a16:creationId xmlns:a16="http://schemas.microsoft.com/office/drawing/2014/main" id="{0B9FAABB-137A-228F-C382-A9EB64B7E625}"/>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44" name="Vrije vorm 43">
              <a:extLst>
                <a:ext uri="{FF2B5EF4-FFF2-40B4-BE49-F238E27FC236}">
                  <a16:creationId xmlns:a16="http://schemas.microsoft.com/office/drawing/2014/main" id="{2BD01121-E77A-200B-558F-C1589C534E9B}"/>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45" name="Vrije vorm 44">
              <a:extLst>
                <a:ext uri="{FF2B5EF4-FFF2-40B4-BE49-F238E27FC236}">
                  <a16:creationId xmlns:a16="http://schemas.microsoft.com/office/drawing/2014/main" id="{326F0704-847C-D4D0-3911-6FFD9910808E}"/>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46" name="Vrije vorm 45">
              <a:extLst>
                <a:ext uri="{FF2B5EF4-FFF2-40B4-BE49-F238E27FC236}">
                  <a16:creationId xmlns:a16="http://schemas.microsoft.com/office/drawing/2014/main" id="{09934F38-3431-5D5E-20F6-B9CB123A232A}"/>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47" name="Vrije vorm 46">
              <a:extLst>
                <a:ext uri="{FF2B5EF4-FFF2-40B4-BE49-F238E27FC236}">
                  <a16:creationId xmlns:a16="http://schemas.microsoft.com/office/drawing/2014/main" id="{DF60B9E6-0006-491D-FBB8-7F861E197F03}"/>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48" name="Vrije vorm 47">
              <a:extLst>
                <a:ext uri="{FF2B5EF4-FFF2-40B4-BE49-F238E27FC236}">
                  <a16:creationId xmlns:a16="http://schemas.microsoft.com/office/drawing/2014/main" id="{A1D6BF03-E727-6B00-FDB8-412CCEF949E4}"/>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49" name="Vrije vorm 48">
              <a:extLst>
                <a:ext uri="{FF2B5EF4-FFF2-40B4-BE49-F238E27FC236}">
                  <a16:creationId xmlns:a16="http://schemas.microsoft.com/office/drawing/2014/main" id="{987483EE-FD6D-A423-48A9-0391E6D7BECE}"/>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50" name="Vrije vorm 49">
              <a:extLst>
                <a:ext uri="{FF2B5EF4-FFF2-40B4-BE49-F238E27FC236}">
                  <a16:creationId xmlns:a16="http://schemas.microsoft.com/office/drawing/2014/main" id="{826B2699-018B-1320-9547-2FC5F2F99F5C}"/>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51" name="Vrije vorm 50">
              <a:extLst>
                <a:ext uri="{FF2B5EF4-FFF2-40B4-BE49-F238E27FC236}">
                  <a16:creationId xmlns:a16="http://schemas.microsoft.com/office/drawing/2014/main" id="{3172E4BA-E9C6-73C0-0A39-BD452358FD12}"/>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
        <p:nvSpPr>
          <p:cNvPr id="2" name="Titel 1">
            <a:extLst>
              <a:ext uri="{FF2B5EF4-FFF2-40B4-BE49-F238E27FC236}">
                <a16:creationId xmlns:a16="http://schemas.microsoft.com/office/drawing/2014/main" id="{22BA67AE-7E0E-BCF2-6F73-C3919A191C45}"/>
              </a:ext>
            </a:extLst>
          </p:cNvPr>
          <p:cNvSpPr>
            <a:spLocks noGrp="1"/>
          </p:cNvSpPr>
          <p:nvPr>
            <p:ph type="title"/>
          </p:nvPr>
        </p:nvSpPr>
        <p:spPr>
          <a:xfrm>
            <a:off x="1353000" y="792529"/>
            <a:ext cx="4468680" cy="555069"/>
          </a:xfrm>
        </p:spPr>
        <p:txBody>
          <a:bodyPr>
            <a:normAutofit/>
          </a:bodyPr>
          <a:lstStyle>
            <a:lvl1pPr>
              <a:defRPr sz="2800" b="1">
                <a:solidFill>
                  <a:srgbClr val="002B5F"/>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32C727C1-A698-8A1F-E792-FB766C32D5C1}"/>
              </a:ext>
            </a:extLst>
          </p:cNvPr>
          <p:cNvSpPr>
            <a:spLocks noGrp="1"/>
          </p:cNvSpPr>
          <p:nvPr>
            <p:ph idx="1" hasCustomPrompt="1"/>
          </p:nvPr>
        </p:nvSpPr>
        <p:spPr>
          <a:xfrm>
            <a:off x="838200" y="1664066"/>
            <a:ext cx="4983480" cy="4351338"/>
          </a:xfrm>
        </p:spPr>
        <p:txBody>
          <a:bodyPr/>
          <a:lstStyle>
            <a:lvl1pPr marL="457200" indent="-457200">
              <a:lnSpc>
                <a:spcPct val="200000"/>
              </a:lnSpc>
              <a:buClr>
                <a:srgbClr val="DC2215"/>
              </a:buClr>
              <a:buFont typeface="+mj-lt"/>
              <a:buAutoNum type="arabicPeriod"/>
              <a:defRPr sz="1600">
                <a:solidFill>
                  <a:schemeClr val="bg2">
                    <a:lumMod val="25000"/>
                  </a:schemeClr>
                </a:solidFill>
              </a:defRPr>
            </a:lvl1pPr>
            <a:lvl2pPr marL="800100" indent="-342900">
              <a:buClr>
                <a:srgbClr val="DC2215"/>
              </a:buClr>
              <a:buFont typeface="+mj-lt"/>
              <a:buAutoNum type="arabicPeriod"/>
              <a:defRPr sz="1400">
                <a:solidFill>
                  <a:schemeClr val="bg2">
                    <a:lumMod val="25000"/>
                  </a:schemeClr>
                </a:solidFill>
              </a:defRPr>
            </a:lvl2pPr>
            <a:lvl3pPr marL="1257300" indent="-342900">
              <a:buClr>
                <a:srgbClr val="DC2215"/>
              </a:buClr>
              <a:buFont typeface="+mj-lt"/>
              <a:buAutoNum type="arabicPeriod"/>
              <a:defRPr sz="1200">
                <a:solidFill>
                  <a:schemeClr val="bg2">
                    <a:lumMod val="25000"/>
                  </a:schemeClr>
                </a:solidFill>
              </a:defRPr>
            </a:lvl3pPr>
            <a:lvl4pPr marL="1714500" indent="-342900">
              <a:buClr>
                <a:srgbClr val="DC2215"/>
              </a:buClr>
              <a:buFont typeface="+mj-lt"/>
              <a:buAutoNum type="arabicPeriod"/>
              <a:defRPr sz="1000">
                <a:solidFill>
                  <a:schemeClr val="bg2">
                    <a:lumMod val="25000"/>
                  </a:schemeClr>
                </a:solidFill>
              </a:defRPr>
            </a:lvl4pPr>
            <a:lvl5pPr marL="2057400" indent="-228600">
              <a:buClr>
                <a:srgbClr val="DC2215"/>
              </a:buClr>
              <a:buFont typeface="+mj-lt"/>
              <a:buAutoNum type="arabicPeriod"/>
              <a:defRPr sz="800">
                <a:solidFill>
                  <a:schemeClr val="bg2">
                    <a:lumMod val="25000"/>
                  </a:schemeClr>
                </a:solidFill>
              </a:defRPr>
            </a:lvl5pPr>
          </a:lstStyle>
          <a:p>
            <a:pPr lvl="0"/>
            <a:r>
              <a:rPr lang="nl-NL"/>
              <a:t>Topic</a:t>
            </a:r>
          </a:p>
          <a:p>
            <a:pPr lvl="0"/>
            <a:r>
              <a:rPr lang="nl-NL"/>
              <a:t>Topic</a:t>
            </a:r>
          </a:p>
          <a:p>
            <a:pPr lvl="0"/>
            <a:r>
              <a:rPr lang="nl-NL"/>
              <a:t>Topic</a:t>
            </a:r>
          </a:p>
          <a:p>
            <a:pPr lvl="0"/>
            <a:r>
              <a:rPr lang="nl-NL"/>
              <a:t>Topic</a:t>
            </a:r>
          </a:p>
          <a:p>
            <a:pPr lvl="0"/>
            <a:r>
              <a:rPr lang="nl-NL"/>
              <a:t>Topic</a:t>
            </a:r>
          </a:p>
        </p:txBody>
      </p:sp>
      <p:sp>
        <p:nvSpPr>
          <p:cNvPr id="4" name="Graphic 69">
            <a:extLst>
              <a:ext uri="{FF2B5EF4-FFF2-40B4-BE49-F238E27FC236}">
                <a16:creationId xmlns:a16="http://schemas.microsoft.com/office/drawing/2014/main" id="{674D9833-DC34-A5AB-A317-F41DEB934B8C}"/>
              </a:ext>
            </a:extLst>
          </p:cNvPr>
          <p:cNvSpPr/>
          <p:nvPr userDrawn="1"/>
        </p:nvSpPr>
        <p:spPr>
          <a:xfrm>
            <a:off x="742705" y="827364"/>
            <a:ext cx="372360" cy="446832"/>
          </a:xfrm>
          <a:custGeom>
            <a:avLst/>
            <a:gdLst>
              <a:gd name="connsiteX0" fmla="*/ 93090 w 372360"/>
              <a:gd name="connsiteY0" fmla="*/ 0 h 446832"/>
              <a:gd name="connsiteX1" fmla="*/ 106389 w 372360"/>
              <a:gd name="connsiteY1" fmla="*/ 13964 h 446832"/>
              <a:gd name="connsiteX2" fmla="*/ 106389 w 372360"/>
              <a:gd name="connsiteY2" fmla="*/ 55854 h 446832"/>
              <a:gd name="connsiteX3" fmla="*/ 265971 w 372360"/>
              <a:gd name="connsiteY3" fmla="*/ 55854 h 446832"/>
              <a:gd name="connsiteX4" fmla="*/ 265971 w 372360"/>
              <a:gd name="connsiteY4" fmla="*/ 13964 h 446832"/>
              <a:gd name="connsiteX5" fmla="*/ 279270 w 372360"/>
              <a:gd name="connsiteY5" fmla="*/ 0 h 446832"/>
              <a:gd name="connsiteX6" fmla="*/ 292569 w 372360"/>
              <a:gd name="connsiteY6" fmla="*/ 13964 h 446832"/>
              <a:gd name="connsiteX7" fmla="*/ 292569 w 372360"/>
              <a:gd name="connsiteY7" fmla="*/ 55854 h 446832"/>
              <a:gd name="connsiteX8" fmla="*/ 319166 w 372360"/>
              <a:gd name="connsiteY8" fmla="*/ 55854 h 446832"/>
              <a:gd name="connsiteX9" fmla="*/ 372360 w 372360"/>
              <a:gd name="connsiteY9" fmla="*/ 111708 h 446832"/>
              <a:gd name="connsiteX10" fmla="*/ 372360 w 372360"/>
              <a:gd name="connsiteY10" fmla="*/ 390978 h 446832"/>
              <a:gd name="connsiteX11" fmla="*/ 319166 w 372360"/>
              <a:gd name="connsiteY11" fmla="*/ 446832 h 446832"/>
              <a:gd name="connsiteX12" fmla="*/ 53194 w 372360"/>
              <a:gd name="connsiteY12" fmla="*/ 446832 h 446832"/>
              <a:gd name="connsiteX13" fmla="*/ 0 w 372360"/>
              <a:gd name="connsiteY13" fmla="*/ 390978 h 446832"/>
              <a:gd name="connsiteX14" fmla="*/ 0 w 372360"/>
              <a:gd name="connsiteY14" fmla="*/ 111708 h 446832"/>
              <a:gd name="connsiteX15" fmla="*/ 53194 w 372360"/>
              <a:gd name="connsiteY15" fmla="*/ 55854 h 446832"/>
              <a:gd name="connsiteX16" fmla="*/ 79791 w 372360"/>
              <a:gd name="connsiteY16" fmla="*/ 55854 h 446832"/>
              <a:gd name="connsiteX17" fmla="*/ 79791 w 372360"/>
              <a:gd name="connsiteY17" fmla="*/ 13964 h 446832"/>
              <a:gd name="connsiteX18" fmla="*/ 93090 w 372360"/>
              <a:gd name="connsiteY18" fmla="*/ 0 h 446832"/>
              <a:gd name="connsiteX19" fmla="*/ 319166 w 372360"/>
              <a:gd name="connsiteY19" fmla="*/ 83781 h 446832"/>
              <a:gd name="connsiteX20" fmla="*/ 53194 w 372360"/>
              <a:gd name="connsiteY20" fmla="*/ 83781 h 446832"/>
              <a:gd name="connsiteX21" fmla="*/ 26597 w 372360"/>
              <a:gd name="connsiteY21" fmla="*/ 111708 h 446832"/>
              <a:gd name="connsiteX22" fmla="*/ 26597 w 372360"/>
              <a:gd name="connsiteY22" fmla="*/ 139635 h 446832"/>
              <a:gd name="connsiteX23" fmla="*/ 345763 w 372360"/>
              <a:gd name="connsiteY23" fmla="*/ 139635 h 446832"/>
              <a:gd name="connsiteX24" fmla="*/ 345763 w 372360"/>
              <a:gd name="connsiteY24" fmla="*/ 111708 h 446832"/>
              <a:gd name="connsiteX25" fmla="*/ 319166 w 372360"/>
              <a:gd name="connsiteY25" fmla="*/ 83781 h 446832"/>
              <a:gd name="connsiteX26" fmla="*/ 26597 w 372360"/>
              <a:gd name="connsiteY26" fmla="*/ 230398 h 446832"/>
              <a:gd name="connsiteX27" fmla="*/ 113038 w 372360"/>
              <a:gd name="connsiteY27" fmla="*/ 230398 h 446832"/>
              <a:gd name="connsiteX28" fmla="*/ 113038 w 372360"/>
              <a:gd name="connsiteY28" fmla="*/ 167562 h 446832"/>
              <a:gd name="connsiteX29" fmla="*/ 26597 w 372360"/>
              <a:gd name="connsiteY29" fmla="*/ 167562 h 446832"/>
              <a:gd name="connsiteX30" fmla="*/ 26597 w 372360"/>
              <a:gd name="connsiteY30" fmla="*/ 230398 h 446832"/>
              <a:gd name="connsiteX31" fmla="*/ 113038 w 372360"/>
              <a:gd name="connsiteY31" fmla="*/ 328142 h 446832"/>
              <a:gd name="connsiteX32" fmla="*/ 113038 w 372360"/>
              <a:gd name="connsiteY32" fmla="*/ 258325 h 446832"/>
              <a:gd name="connsiteX33" fmla="*/ 26597 w 372360"/>
              <a:gd name="connsiteY33" fmla="*/ 258325 h 446832"/>
              <a:gd name="connsiteX34" fmla="*/ 26597 w 372360"/>
              <a:gd name="connsiteY34" fmla="*/ 328142 h 446832"/>
              <a:gd name="connsiteX35" fmla="*/ 113038 w 372360"/>
              <a:gd name="connsiteY35" fmla="*/ 328142 h 446832"/>
              <a:gd name="connsiteX36" fmla="*/ 26597 w 372360"/>
              <a:gd name="connsiteY36" fmla="*/ 356069 h 446832"/>
              <a:gd name="connsiteX37" fmla="*/ 26597 w 372360"/>
              <a:gd name="connsiteY37" fmla="*/ 390978 h 446832"/>
              <a:gd name="connsiteX38" fmla="*/ 53194 w 372360"/>
              <a:gd name="connsiteY38" fmla="*/ 418905 h 446832"/>
              <a:gd name="connsiteX39" fmla="*/ 113038 w 372360"/>
              <a:gd name="connsiteY39" fmla="*/ 418905 h 446832"/>
              <a:gd name="connsiteX40" fmla="*/ 113038 w 372360"/>
              <a:gd name="connsiteY40" fmla="*/ 356069 h 446832"/>
              <a:gd name="connsiteX41" fmla="*/ 26597 w 372360"/>
              <a:gd name="connsiteY41" fmla="*/ 356069 h 446832"/>
              <a:gd name="connsiteX42" fmla="*/ 139635 w 372360"/>
              <a:gd name="connsiteY42" fmla="*/ 230398 h 446832"/>
              <a:gd name="connsiteX43" fmla="*/ 232725 w 372360"/>
              <a:gd name="connsiteY43" fmla="*/ 230398 h 446832"/>
              <a:gd name="connsiteX44" fmla="*/ 232725 w 372360"/>
              <a:gd name="connsiteY44" fmla="*/ 167562 h 446832"/>
              <a:gd name="connsiteX45" fmla="*/ 139635 w 372360"/>
              <a:gd name="connsiteY45" fmla="*/ 167562 h 446832"/>
              <a:gd name="connsiteX46" fmla="*/ 139635 w 372360"/>
              <a:gd name="connsiteY46" fmla="*/ 230398 h 446832"/>
              <a:gd name="connsiteX47" fmla="*/ 232725 w 372360"/>
              <a:gd name="connsiteY47" fmla="*/ 328142 h 446832"/>
              <a:gd name="connsiteX48" fmla="*/ 232725 w 372360"/>
              <a:gd name="connsiteY48" fmla="*/ 258325 h 446832"/>
              <a:gd name="connsiteX49" fmla="*/ 139635 w 372360"/>
              <a:gd name="connsiteY49" fmla="*/ 258325 h 446832"/>
              <a:gd name="connsiteX50" fmla="*/ 139635 w 372360"/>
              <a:gd name="connsiteY50" fmla="*/ 328142 h 446832"/>
              <a:gd name="connsiteX51" fmla="*/ 232725 w 372360"/>
              <a:gd name="connsiteY51" fmla="*/ 328142 h 446832"/>
              <a:gd name="connsiteX52" fmla="*/ 139635 w 372360"/>
              <a:gd name="connsiteY52" fmla="*/ 418905 h 446832"/>
              <a:gd name="connsiteX53" fmla="*/ 232725 w 372360"/>
              <a:gd name="connsiteY53" fmla="*/ 418905 h 446832"/>
              <a:gd name="connsiteX54" fmla="*/ 232725 w 372360"/>
              <a:gd name="connsiteY54" fmla="*/ 356069 h 446832"/>
              <a:gd name="connsiteX55" fmla="*/ 139635 w 372360"/>
              <a:gd name="connsiteY55" fmla="*/ 356069 h 446832"/>
              <a:gd name="connsiteX56" fmla="*/ 139635 w 372360"/>
              <a:gd name="connsiteY56" fmla="*/ 418905 h 446832"/>
              <a:gd name="connsiteX57" fmla="*/ 345763 w 372360"/>
              <a:gd name="connsiteY57" fmla="*/ 167562 h 446832"/>
              <a:gd name="connsiteX58" fmla="*/ 259322 w 372360"/>
              <a:gd name="connsiteY58" fmla="*/ 167562 h 446832"/>
              <a:gd name="connsiteX59" fmla="*/ 259322 w 372360"/>
              <a:gd name="connsiteY59" fmla="*/ 230398 h 446832"/>
              <a:gd name="connsiteX60" fmla="*/ 345763 w 372360"/>
              <a:gd name="connsiteY60" fmla="*/ 230398 h 446832"/>
              <a:gd name="connsiteX61" fmla="*/ 345763 w 372360"/>
              <a:gd name="connsiteY61" fmla="*/ 167562 h 446832"/>
              <a:gd name="connsiteX62" fmla="*/ 345763 w 372360"/>
              <a:gd name="connsiteY62" fmla="*/ 258325 h 446832"/>
              <a:gd name="connsiteX63" fmla="*/ 259322 w 372360"/>
              <a:gd name="connsiteY63" fmla="*/ 258325 h 446832"/>
              <a:gd name="connsiteX64" fmla="*/ 259322 w 372360"/>
              <a:gd name="connsiteY64" fmla="*/ 328142 h 446832"/>
              <a:gd name="connsiteX65" fmla="*/ 345763 w 372360"/>
              <a:gd name="connsiteY65" fmla="*/ 328142 h 446832"/>
              <a:gd name="connsiteX66" fmla="*/ 345763 w 372360"/>
              <a:gd name="connsiteY66" fmla="*/ 258325 h 446832"/>
              <a:gd name="connsiteX67" fmla="*/ 345763 w 372360"/>
              <a:gd name="connsiteY67" fmla="*/ 356069 h 446832"/>
              <a:gd name="connsiteX68" fmla="*/ 259322 w 372360"/>
              <a:gd name="connsiteY68" fmla="*/ 356069 h 446832"/>
              <a:gd name="connsiteX69" fmla="*/ 259322 w 372360"/>
              <a:gd name="connsiteY69" fmla="*/ 418905 h 446832"/>
              <a:gd name="connsiteX70" fmla="*/ 319166 w 372360"/>
              <a:gd name="connsiteY70" fmla="*/ 418905 h 446832"/>
              <a:gd name="connsiteX71" fmla="*/ 345763 w 372360"/>
              <a:gd name="connsiteY71" fmla="*/ 390978 h 446832"/>
              <a:gd name="connsiteX72" fmla="*/ 345763 w 372360"/>
              <a:gd name="connsiteY72" fmla="*/ 356069 h 44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72360" h="446832">
                <a:moveTo>
                  <a:pt x="93090" y="0"/>
                </a:moveTo>
                <a:cubicBezTo>
                  <a:pt x="100406" y="0"/>
                  <a:pt x="106389" y="6255"/>
                  <a:pt x="106389" y="13964"/>
                </a:cubicBezTo>
                <a:lnTo>
                  <a:pt x="106389" y="55854"/>
                </a:lnTo>
                <a:lnTo>
                  <a:pt x="265971" y="55854"/>
                </a:lnTo>
                <a:lnTo>
                  <a:pt x="265971" y="13964"/>
                </a:lnTo>
                <a:cubicBezTo>
                  <a:pt x="265971" y="6255"/>
                  <a:pt x="271954" y="0"/>
                  <a:pt x="279270" y="0"/>
                </a:cubicBezTo>
                <a:cubicBezTo>
                  <a:pt x="286586" y="0"/>
                  <a:pt x="292569" y="6255"/>
                  <a:pt x="292569" y="13964"/>
                </a:cubicBezTo>
                <a:lnTo>
                  <a:pt x="292569" y="55854"/>
                </a:lnTo>
                <a:lnTo>
                  <a:pt x="319166" y="55854"/>
                </a:lnTo>
                <a:cubicBezTo>
                  <a:pt x="348508" y="55854"/>
                  <a:pt x="372360" y="80854"/>
                  <a:pt x="372360" y="111708"/>
                </a:cubicBezTo>
                <a:lnTo>
                  <a:pt x="372360" y="390978"/>
                </a:lnTo>
                <a:cubicBezTo>
                  <a:pt x="372360" y="421787"/>
                  <a:pt x="348508" y="446832"/>
                  <a:pt x="319166" y="446832"/>
                </a:cubicBezTo>
                <a:lnTo>
                  <a:pt x="53194" y="446832"/>
                </a:lnTo>
                <a:cubicBezTo>
                  <a:pt x="23809" y="446832"/>
                  <a:pt x="0" y="421787"/>
                  <a:pt x="0" y="390978"/>
                </a:cubicBezTo>
                <a:lnTo>
                  <a:pt x="0" y="111708"/>
                </a:lnTo>
                <a:cubicBezTo>
                  <a:pt x="0" y="80854"/>
                  <a:pt x="23809" y="55854"/>
                  <a:pt x="53194" y="55854"/>
                </a:cubicBezTo>
                <a:lnTo>
                  <a:pt x="79791" y="55854"/>
                </a:lnTo>
                <a:lnTo>
                  <a:pt x="79791" y="13964"/>
                </a:lnTo>
                <a:cubicBezTo>
                  <a:pt x="79791" y="6255"/>
                  <a:pt x="85774" y="0"/>
                  <a:pt x="93090" y="0"/>
                </a:cubicBezTo>
                <a:close/>
                <a:moveTo>
                  <a:pt x="319166" y="83781"/>
                </a:moveTo>
                <a:lnTo>
                  <a:pt x="53194" y="83781"/>
                </a:lnTo>
                <a:cubicBezTo>
                  <a:pt x="38511" y="83781"/>
                  <a:pt x="26597" y="96263"/>
                  <a:pt x="26597" y="111708"/>
                </a:cubicBezTo>
                <a:lnTo>
                  <a:pt x="26597" y="139635"/>
                </a:lnTo>
                <a:lnTo>
                  <a:pt x="345763" y="139635"/>
                </a:lnTo>
                <a:lnTo>
                  <a:pt x="345763" y="111708"/>
                </a:lnTo>
                <a:cubicBezTo>
                  <a:pt x="345763" y="96263"/>
                  <a:pt x="333876" y="83781"/>
                  <a:pt x="319166" y="83781"/>
                </a:cubicBezTo>
                <a:close/>
                <a:moveTo>
                  <a:pt x="26597" y="230398"/>
                </a:moveTo>
                <a:lnTo>
                  <a:pt x="113038" y="230398"/>
                </a:lnTo>
                <a:lnTo>
                  <a:pt x="113038" y="167562"/>
                </a:lnTo>
                <a:lnTo>
                  <a:pt x="26597" y="167562"/>
                </a:lnTo>
                <a:lnTo>
                  <a:pt x="26597" y="230398"/>
                </a:lnTo>
                <a:close/>
                <a:moveTo>
                  <a:pt x="113038" y="328142"/>
                </a:moveTo>
                <a:lnTo>
                  <a:pt x="113038" y="258325"/>
                </a:lnTo>
                <a:lnTo>
                  <a:pt x="26597" y="258325"/>
                </a:lnTo>
                <a:lnTo>
                  <a:pt x="26597" y="328142"/>
                </a:lnTo>
                <a:lnTo>
                  <a:pt x="113038" y="328142"/>
                </a:lnTo>
                <a:close/>
                <a:moveTo>
                  <a:pt x="26597" y="356069"/>
                </a:moveTo>
                <a:lnTo>
                  <a:pt x="26597" y="390978"/>
                </a:lnTo>
                <a:cubicBezTo>
                  <a:pt x="26597" y="406423"/>
                  <a:pt x="38511" y="418905"/>
                  <a:pt x="53194" y="418905"/>
                </a:cubicBezTo>
                <a:lnTo>
                  <a:pt x="113038" y="418905"/>
                </a:lnTo>
                <a:lnTo>
                  <a:pt x="113038" y="356069"/>
                </a:lnTo>
                <a:lnTo>
                  <a:pt x="26597" y="356069"/>
                </a:lnTo>
                <a:close/>
                <a:moveTo>
                  <a:pt x="139635" y="230398"/>
                </a:moveTo>
                <a:lnTo>
                  <a:pt x="232725" y="230398"/>
                </a:lnTo>
                <a:lnTo>
                  <a:pt x="232725" y="167562"/>
                </a:lnTo>
                <a:lnTo>
                  <a:pt x="139635" y="167562"/>
                </a:lnTo>
                <a:lnTo>
                  <a:pt x="139635" y="230398"/>
                </a:lnTo>
                <a:close/>
                <a:moveTo>
                  <a:pt x="232725" y="328142"/>
                </a:moveTo>
                <a:lnTo>
                  <a:pt x="232725" y="258325"/>
                </a:lnTo>
                <a:lnTo>
                  <a:pt x="139635" y="258325"/>
                </a:lnTo>
                <a:lnTo>
                  <a:pt x="139635" y="328142"/>
                </a:lnTo>
                <a:lnTo>
                  <a:pt x="232725" y="328142"/>
                </a:lnTo>
                <a:close/>
                <a:moveTo>
                  <a:pt x="139635" y="418905"/>
                </a:moveTo>
                <a:lnTo>
                  <a:pt x="232725" y="418905"/>
                </a:lnTo>
                <a:lnTo>
                  <a:pt x="232725" y="356069"/>
                </a:lnTo>
                <a:lnTo>
                  <a:pt x="139635" y="356069"/>
                </a:lnTo>
                <a:lnTo>
                  <a:pt x="139635" y="418905"/>
                </a:lnTo>
                <a:close/>
                <a:moveTo>
                  <a:pt x="345763" y="167562"/>
                </a:moveTo>
                <a:lnTo>
                  <a:pt x="259322" y="167562"/>
                </a:lnTo>
                <a:lnTo>
                  <a:pt x="259322" y="230398"/>
                </a:lnTo>
                <a:lnTo>
                  <a:pt x="345763" y="230398"/>
                </a:lnTo>
                <a:lnTo>
                  <a:pt x="345763" y="167562"/>
                </a:lnTo>
                <a:close/>
                <a:moveTo>
                  <a:pt x="345763" y="258325"/>
                </a:moveTo>
                <a:lnTo>
                  <a:pt x="259322" y="258325"/>
                </a:lnTo>
                <a:lnTo>
                  <a:pt x="259322" y="328142"/>
                </a:lnTo>
                <a:lnTo>
                  <a:pt x="345763" y="328142"/>
                </a:lnTo>
                <a:lnTo>
                  <a:pt x="345763" y="258325"/>
                </a:lnTo>
                <a:close/>
                <a:moveTo>
                  <a:pt x="345763" y="356069"/>
                </a:moveTo>
                <a:lnTo>
                  <a:pt x="259322" y="356069"/>
                </a:lnTo>
                <a:lnTo>
                  <a:pt x="259322" y="418905"/>
                </a:lnTo>
                <a:lnTo>
                  <a:pt x="319166" y="418905"/>
                </a:lnTo>
                <a:cubicBezTo>
                  <a:pt x="333876" y="418905"/>
                  <a:pt x="345763" y="406423"/>
                  <a:pt x="345763" y="390978"/>
                </a:cubicBezTo>
                <a:lnTo>
                  <a:pt x="345763" y="356069"/>
                </a:lnTo>
                <a:close/>
              </a:path>
            </a:pathLst>
          </a:custGeom>
          <a:solidFill>
            <a:srgbClr val="DC2215"/>
          </a:solidFill>
          <a:ln w="17689"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92675D17-3BA7-C4BF-E0B8-9A5783957484}"/>
              </a:ext>
            </a:extLst>
          </p:cNvPr>
          <p:cNvSpPr/>
          <p:nvPr userDrawn="1"/>
        </p:nvSpPr>
        <p:spPr>
          <a:xfrm>
            <a:off x="5994596" y="2774413"/>
            <a:ext cx="2462657" cy="4080414"/>
          </a:xfrm>
          <a:custGeom>
            <a:avLst/>
            <a:gdLst>
              <a:gd name="connsiteX0" fmla="*/ 2462658 w 2462657"/>
              <a:gd name="connsiteY0" fmla="*/ 4080415 h 4080414"/>
              <a:gd name="connsiteX1" fmla="*/ 1869060 w 2462657"/>
              <a:gd name="connsiteY1" fmla="*/ 4080415 h 4080414"/>
              <a:gd name="connsiteX2" fmla="*/ 559690 w 2462657"/>
              <a:gd name="connsiteY2" fmla="*/ 2478650 h 4080414"/>
              <a:gd name="connsiteX3" fmla="*/ 145669 w 2462657"/>
              <a:gd name="connsiteY3" fmla="*/ 1381179 h 4080414"/>
              <a:gd name="connsiteX4" fmla="*/ 0 w 2462657"/>
              <a:gd name="connsiteY4" fmla="*/ 179792 h 4080414"/>
              <a:gd name="connsiteX5" fmla="*/ 180023 w 2462657"/>
              <a:gd name="connsiteY5" fmla="*/ 0 h 4080414"/>
              <a:gd name="connsiteX6" fmla="*/ 359982 w 2462657"/>
              <a:gd name="connsiteY6" fmla="*/ 179792 h 4080414"/>
              <a:gd name="connsiteX7" fmla="*/ 495173 w 2462657"/>
              <a:gd name="connsiteY7" fmla="*/ 1294963 h 4080414"/>
              <a:gd name="connsiteX8" fmla="*/ 879285 w 2462657"/>
              <a:gd name="connsiteY8" fmla="*/ 2313068 h 4080414"/>
              <a:gd name="connsiteX9" fmla="*/ 2267014 w 2462657"/>
              <a:gd name="connsiteY9" fmla="*/ 3933359 h 4080414"/>
              <a:gd name="connsiteX10" fmla="*/ 2268411 w 2462657"/>
              <a:gd name="connsiteY10" fmla="*/ 3934437 h 4080414"/>
              <a:gd name="connsiteX11" fmla="*/ 2462658 w 2462657"/>
              <a:gd name="connsiteY11" fmla="*/ 4080415 h 4080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62657" h="4080414">
                <a:moveTo>
                  <a:pt x="2462658" y="4080415"/>
                </a:moveTo>
                <a:lnTo>
                  <a:pt x="1869060" y="4080415"/>
                </a:lnTo>
                <a:cubicBezTo>
                  <a:pt x="1328230" y="3642099"/>
                  <a:pt x="878206" y="3092381"/>
                  <a:pt x="559690" y="2478650"/>
                </a:cubicBezTo>
                <a:cubicBezTo>
                  <a:pt x="378905" y="2130294"/>
                  <a:pt x="239586" y="1761066"/>
                  <a:pt x="145669" y="1381179"/>
                </a:cubicBezTo>
                <a:cubicBezTo>
                  <a:pt x="49022" y="990191"/>
                  <a:pt x="0" y="586007"/>
                  <a:pt x="0" y="179792"/>
                </a:cubicBezTo>
                <a:cubicBezTo>
                  <a:pt x="0" y="80507"/>
                  <a:pt x="80582" y="0"/>
                  <a:pt x="180023" y="0"/>
                </a:cubicBezTo>
                <a:cubicBezTo>
                  <a:pt x="279400" y="0"/>
                  <a:pt x="359982" y="80507"/>
                  <a:pt x="359982" y="179792"/>
                </a:cubicBezTo>
                <a:cubicBezTo>
                  <a:pt x="359982" y="556951"/>
                  <a:pt x="405448" y="932142"/>
                  <a:pt x="495173" y="1294963"/>
                </a:cubicBezTo>
                <a:cubicBezTo>
                  <a:pt x="582295" y="1647316"/>
                  <a:pt x="711518" y="1989898"/>
                  <a:pt x="879285" y="2313068"/>
                </a:cubicBezTo>
                <a:cubicBezTo>
                  <a:pt x="1208088" y="2946656"/>
                  <a:pt x="1687958" y="3506969"/>
                  <a:pt x="2267014" y="3933359"/>
                </a:cubicBezTo>
                <a:lnTo>
                  <a:pt x="2268411" y="3934437"/>
                </a:lnTo>
                <a:lnTo>
                  <a:pt x="2462658" y="4080415"/>
                </a:lnTo>
                <a:close/>
              </a:path>
            </a:pathLst>
          </a:custGeom>
          <a:solidFill>
            <a:srgbClr val="0065B0"/>
          </a:solidFill>
          <a:ln w="6350" cap="flat">
            <a:noFill/>
            <a:prstDash val="solid"/>
            <a:miter/>
          </a:ln>
        </p:spPr>
        <p:txBody>
          <a:bodyPr rtlCol="0" anchor="ctr"/>
          <a:lstStyle/>
          <a:p>
            <a:endParaRPr lang="nl-NL"/>
          </a:p>
        </p:txBody>
      </p:sp>
      <p:sp>
        <p:nvSpPr>
          <p:cNvPr id="5" name="Vrije vorm 4">
            <a:extLst>
              <a:ext uri="{FF2B5EF4-FFF2-40B4-BE49-F238E27FC236}">
                <a16:creationId xmlns:a16="http://schemas.microsoft.com/office/drawing/2014/main" id="{4B55732B-37FD-159B-577D-78AF57601798}"/>
              </a:ext>
            </a:extLst>
          </p:cNvPr>
          <p:cNvSpPr/>
          <p:nvPr userDrawn="1"/>
        </p:nvSpPr>
        <p:spPr>
          <a:xfrm>
            <a:off x="-1309255" y="4353791"/>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6" name="Vrije vorm 5">
            <a:extLst>
              <a:ext uri="{FF2B5EF4-FFF2-40B4-BE49-F238E27FC236}">
                <a16:creationId xmlns:a16="http://schemas.microsoft.com/office/drawing/2014/main" id="{30221843-D592-B798-CA6A-3F9E12DA03F7}"/>
              </a:ext>
            </a:extLst>
          </p:cNvPr>
          <p:cNvSpPr/>
          <p:nvPr userDrawn="1"/>
        </p:nvSpPr>
        <p:spPr>
          <a:xfrm>
            <a:off x="6422928" y="-96353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Tree>
    <p:extLst>
      <p:ext uri="{BB962C8B-B14F-4D97-AF65-F5344CB8AC3E}">
        <p14:creationId xmlns:p14="http://schemas.microsoft.com/office/powerpoint/2010/main" val="26681194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a:xfrm>
            <a:off x="609600" y="6356352"/>
            <a:ext cx="2844800" cy="365125"/>
          </a:xfrm>
          <a:prstGeom prst="rect">
            <a:avLst/>
          </a:prstGeom>
        </p:spPr>
        <p:txBody>
          <a:bodyPr/>
          <a:lstStyle>
            <a:lvl1pPr>
              <a:defRPr sz="1200">
                <a:solidFill>
                  <a:schemeClr val="bg1">
                    <a:lumMod val="50000"/>
                  </a:schemeClr>
                </a:solidFill>
                <a:latin typeface="Arial" panose="020B0604020202020204" pitchFamily="34" charset="0"/>
                <a:cs typeface="Arial" panose="020B0604020202020204" pitchFamily="34" charset="0"/>
              </a:defRPr>
            </a:lvl1pPr>
          </a:lstStyle>
          <a:p>
            <a:fld id="{F273C35D-E08F-4E68-B234-7506C14B307D}" type="datetime1">
              <a:rPr lang="nl-NL" smtClean="0"/>
              <a:t>10-10-2023</a:t>
            </a:fld>
            <a:endParaRPr lang="nl-NL"/>
          </a:p>
        </p:txBody>
      </p:sp>
      <p:sp>
        <p:nvSpPr>
          <p:cNvPr id="4" name="Tijdelijke aanduiding voor dianummer 3"/>
          <p:cNvSpPr>
            <a:spLocks noGrp="1"/>
          </p:cNvSpPr>
          <p:nvPr>
            <p:ph type="sldNum" sz="quarter" idx="12"/>
          </p:nvPr>
        </p:nvSpPr>
        <p:spPr>
          <a:xfrm>
            <a:off x="5849433" y="6347414"/>
            <a:ext cx="2844800" cy="365125"/>
          </a:xfrm>
          <a:prstGeom prst="rect">
            <a:avLst/>
          </a:prstGeom>
        </p:spPr>
        <p:txBody>
          <a:bodyPr/>
          <a:lstStyle>
            <a:lvl1pPr>
              <a:defRPr sz="1200">
                <a:solidFill>
                  <a:schemeClr val="bg1">
                    <a:lumMod val="50000"/>
                  </a:schemeClr>
                </a:solidFill>
                <a:latin typeface="Arial" panose="020B0604020202020204" pitchFamily="34" charset="0"/>
                <a:cs typeface="Arial" panose="020B0604020202020204" pitchFamily="34" charset="0"/>
              </a:defRPr>
            </a:lvl1pPr>
          </a:lstStyle>
          <a:p>
            <a:fld id="{4F97D19A-1C53-4E4D-A9B2-17C15376BDE5}" type="slidenum">
              <a:rPr lang="nl-NL" smtClean="0"/>
              <a:pPr/>
              <a:t>‹nr.›</a:t>
            </a:fld>
            <a:endParaRPr lang="nl-NL"/>
          </a:p>
        </p:txBody>
      </p:sp>
      <p:sp>
        <p:nvSpPr>
          <p:cNvPr id="3" name="Rechthoek 2"/>
          <p:cNvSpPr/>
          <p:nvPr userDrawn="1"/>
        </p:nvSpPr>
        <p:spPr>
          <a:xfrm>
            <a:off x="9696893" y="6241313"/>
            <a:ext cx="808075" cy="480164"/>
          </a:xfrm>
          <a:prstGeom prst="rect">
            <a:avLst/>
          </a:prstGeom>
          <a:solidFill>
            <a:schemeClr val="bg1"/>
          </a:solidFill>
          <a:ln>
            <a:noFill/>
          </a:ln>
          <a:effectLst>
            <a:outerShdw blurRad="40000" dist="23000" dir="5400000" rotWithShape="0">
              <a:schemeClr val="bg1">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600"/>
          </a:p>
        </p:txBody>
      </p:sp>
    </p:spTree>
    <p:extLst>
      <p:ext uri="{BB962C8B-B14F-4D97-AF65-F5344CB8AC3E}">
        <p14:creationId xmlns:p14="http://schemas.microsoft.com/office/powerpoint/2010/main" val="6864781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nl"/>
              <a:pPr marL="0" lvl="0" indent="0" algn="r" rtl="0">
                <a:spcBef>
                  <a:spcPts val="0"/>
                </a:spcBef>
                <a:spcAft>
                  <a:spcPts val="0"/>
                </a:spcAft>
                <a:buNone/>
              </a:pPr>
              <a:t>‹nr.›</a:t>
            </a:fld>
            <a:endParaRPr/>
          </a:p>
        </p:txBody>
      </p:sp>
    </p:spTree>
    <p:extLst>
      <p:ext uri="{BB962C8B-B14F-4D97-AF65-F5344CB8AC3E}">
        <p14:creationId xmlns:p14="http://schemas.microsoft.com/office/powerpoint/2010/main" val="15416190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1_Titel en object">
    <p:spTree>
      <p:nvGrpSpPr>
        <p:cNvPr id="1" name=""/>
        <p:cNvGrpSpPr/>
        <p:nvPr/>
      </p:nvGrpSpPr>
      <p:grpSpPr>
        <a:xfrm>
          <a:off x="0" y="0"/>
          <a:ext cx="0" cy="0"/>
          <a:chOff x="0" y="0"/>
          <a:chExt cx="0" cy="0"/>
        </a:xfrm>
      </p:grpSpPr>
      <p:sp>
        <p:nvSpPr>
          <p:cNvPr id="3" name="Tijdelijke aanduiding voor inhoud 2">
            <a:extLst>
              <a:ext uri="{FF2B5EF4-FFF2-40B4-BE49-F238E27FC236}">
                <a16:creationId xmlns:a16="http://schemas.microsoft.com/office/drawing/2014/main" id="{FE15A89A-EE1A-504C-919B-A8855024C12C}"/>
              </a:ext>
            </a:extLst>
          </p:cNvPr>
          <p:cNvSpPr>
            <a:spLocks noGrp="1"/>
          </p:cNvSpPr>
          <p:nvPr>
            <p:ph idx="1" hasCustomPrompt="1"/>
          </p:nvPr>
        </p:nvSpPr>
        <p:spPr>
          <a:xfrm>
            <a:off x="2440545" y="1825625"/>
            <a:ext cx="7401955" cy="3648075"/>
          </a:xfrm>
          <a:prstGeom prst="rect">
            <a:avLst/>
          </a:prstGeom>
        </p:spPr>
        <p:txBody>
          <a:bodyPr>
            <a:normAutofit/>
          </a:bodyPr>
          <a:lstStyle>
            <a:lvl1pPr marL="0" indent="0">
              <a:lnSpc>
                <a:spcPct val="100000"/>
              </a:lnSpc>
              <a:buNone/>
              <a:defRPr sz="2200"/>
            </a:lvl1pPr>
          </a:lstStyle>
          <a:p>
            <a:pPr marL="0" indent="0">
              <a:buNone/>
            </a:pPr>
            <a:r>
              <a:rPr lang="nl-NL" b="1">
                <a:solidFill>
                  <a:srgbClr val="0C2074"/>
                </a:solidFill>
              </a:rPr>
              <a:t>Opsomming</a:t>
            </a:r>
          </a:p>
          <a:p>
            <a:r>
              <a:rPr lang="nl-NL"/>
              <a:t>Regel 1</a:t>
            </a:r>
          </a:p>
          <a:p>
            <a:r>
              <a:rPr lang="nl-NL"/>
              <a:t>Regel 2</a:t>
            </a:r>
          </a:p>
          <a:p>
            <a:r>
              <a:rPr lang="nl-NL"/>
              <a:t>Regel 3</a:t>
            </a:r>
          </a:p>
          <a:p>
            <a:r>
              <a:rPr lang="nl-NL"/>
              <a:t>Regel 4</a:t>
            </a:r>
          </a:p>
          <a:p>
            <a:r>
              <a:rPr lang="nl-NL"/>
              <a:t>Regel 5</a:t>
            </a:r>
          </a:p>
          <a:p>
            <a:r>
              <a:rPr lang="nl-NL"/>
              <a:t>Regel 6</a:t>
            </a:r>
          </a:p>
        </p:txBody>
      </p:sp>
      <p:sp>
        <p:nvSpPr>
          <p:cNvPr id="4" name="Tijdelijke aanduiding voor datum 3">
            <a:extLst>
              <a:ext uri="{FF2B5EF4-FFF2-40B4-BE49-F238E27FC236}">
                <a16:creationId xmlns:a16="http://schemas.microsoft.com/office/drawing/2014/main" id="{C31F5504-FF87-4C4F-B42B-80CF250B25B0}"/>
              </a:ext>
            </a:extLst>
          </p:cNvPr>
          <p:cNvSpPr>
            <a:spLocks noGrp="1"/>
          </p:cNvSpPr>
          <p:nvPr>
            <p:ph type="dt" sz="half" idx="10"/>
          </p:nvPr>
        </p:nvSpPr>
        <p:spPr/>
        <p:txBody>
          <a:bodyPr/>
          <a:lstStyle/>
          <a:p>
            <a:fld id="{265DD861-5FC7-664C-84CD-2FA8BB909B07}" type="datetimeFigureOut">
              <a:rPr lang="nl-NL" smtClean="0"/>
              <a:t>10-10-2023</a:t>
            </a:fld>
            <a:endParaRPr lang="nl-NL"/>
          </a:p>
        </p:txBody>
      </p:sp>
      <p:sp>
        <p:nvSpPr>
          <p:cNvPr id="5" name="Tijdelijke aanduiding voor voettekst 4">
            <a:extLst>
              <a:ext uri="{FF2B5EF4-FFF2-40B4-BE49-F238E27FC236}">
                <a16:creationId xmlns:a16="http://schemas.microsoft.com/office/drawing/2014/main" id="{F597B5EB-A599-614B-A062-5C02A70405FE}"/>
              </a:ext>
            </a:extLst>
          </p:cNvPr>
          <p:cNvSpPr>
            <a:spLocks noGrp="1"/>
          </p:cNvSpPr>
          <p:nvPr>
            <p:ph type="ftr" sz="quarter" idx="11"/>
          </p:nvPr>
        </p:nvSpPr>
        <p:spPr/>
        <p:txBody>
          <a:bodyPr/>
          <a:lstStyle/>
          <a:p>
            <a:endParaRPr lang="nl-NL"/>
          </a:p>
        </p:txBody>
      </p:sp>
      <p:sp>
        <p:nvSpPr>
          <p:cNvPr id="11" name="Titel 1">
            <a:extLst>
              <a:ext uri="{FF2B5EF4-FFF2-40B4-BE49-F238E27FC236}">
                <a16:creationId xmlns:a16="http://schemas.microsoft.com/office/drawing/2014/main" id="{91A975D0-BEB2-4F3F-9B0A-5FC5076E9B78}"/>
              </a:ext>
            </a:extLst>
          </p:cNvPr>
          <p:cNvSpPr>
            <a:spLocks noGrp="1"/>
          </p:cNvSpPr>
          <p:nvPr>
            <p:ph type="title"/>
          </p:nvPr>
        </p:nvSpPr>
        <p:spPr>
          <a:xfrm>
            <a:off x="2440546" y="545028"/>
            <a:ext cx="8913255" cy="798491"/>
          </a:xfrm>
          <a:prstGeom prst="rect">
            <a:avLst/>
          </a:prstGeom>
        </p:spPr>
        <p:txBody>
          <a:bodyPr>
            <a:normAutofit/>
          </a:bodyPr>
          <a:lstStyle>
            <a:lvl1pPr>
              <a:defRPr sz="1800"/>
            </a:lvl1pPr>
          </a:lstStyle>
          <a:p>
            <a:r>
              <a:rPr lang="nl-NL"/>
              <a:t>Klik om de stijl te bewerken</a:t>
            </a:r>
          </a:p>
        </p:txBody>
      </p:sp>
    </p:spTree>
    <p:extLst>
      <p:ext uri="{BB962C8B-B14F-4D97-AF65-F5344CB8AC3E}">
        <p14:creationId xmlns:p14="http://schemas.microsoft.com/office/powerpoint/2010/main" val="7164286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Inner_white_sec">
    <p:spTree>
      <p:nvGrpSpPr>
        <p:cNvPr id="1" name=""/>
        <p:cNvGrpSpPr/>
        <p:nvPr/>
      </p:nvGrpSpPr>
      <p:grpSpPr>
        <a:xfrm>
          <a:off x="0" y="0"/>
          <a:ext cx="0" cy="0"/>
          <a:chOff x="0" y="0"/>
          <a:chExt cx="0" cy="0"/>
        </a:xfrm>
      </p:grpSpPr>
      <p:sp>
        <p:nvSpPr>
          <p:cNvPr id="3" name="Tijdelijke aanduiding voor datum 2">
            <a:extLst>
              <a:ext uri="{FF2B5EF4-FFF2-40B4-BE49-F238E27FC236}">
                <a16:creationId xmlns:a16="http://schemas.microsoft.com/office/drawing/2014/main" id="{FFB3A4D2-6B6A-CE4A-B27F-0C8AAEDFFF83}"/>
              </a:ext>
            </a:extLst>
          </p:cNvPr>
          <p:cNvSpPr>
            <a:spLocks noGrp="1"/>
          </p:cNvSpPr>
          <p:nvPr>
            <p:ph type="dt" sz="half" idx="10"/>
          </p:nvPr>
        </p:nvSpPr>
        <p:spPr/>
        <p:txBody>
          <a:bodyPr/>
          <a:lstStyle/>
          <a:p>
            <a:fld id="{F3F1FD11-0EDD-BD49-8905-0D3FFDF2A59D}" type="datetime1">
              <a:rPr lang="nl-NL" smtClean="0"/>
              <a:t>10-10-2023</a:t>
            </a:fld>
            <a:endParaRPr lang="nl-NL"/>
          </a:p>
        </p:txBody>
      </p:sp>
      <p:sp>
        <p:nvSpPr>
          <p:cNvPr id="4" name="Tijdelijke aanduiding voor voettekst 3">
            <a:extLst>
              <a:ext uri="{FF2B5EF4-FFF2-40B4-BE49-F238E27FC236}">
                <a16:creationId xmlns:a16="http://schemas.microsoft.com/office/drawing/2014/main" id="{E94FE1C2-2D2A-7E48-A666-569E813928FC}"/>
              </a:ext>
            </a:extLst>
          </p:cNvPr>
          <p:cNvSpPr>
            <a:spLocks noGrp="1"/>
          </p:cNvSpPr>
          <p:nvPr>
            <p:ph type="ftr" sz="quarter" idx="11"/>
          </p:nvPr>
        </p:nvSpPr>
        <p:spPr/>
        <p:txBody>
          <a:bodyPr/>
          <a:lstStyle/>
          <a:p>
            <a:r>
              <a:rPr lang="nl-NL"/>
              <a:t>Toegankelijke Zorg in Zeeland</a:t>
            </a:r>
          </a:p>
        </p:txBody>
      </p:sp>
      <p:sp>
        <p:nvSpPr>
          <p:cNvPr id="5" name="Tijdelijke aanduiding voor dianummer 4">
            <a:extLst>
              <a:ext uri="{FF2B5EF4-FFF2-40B4-BE49-F238E27FC236}">
                <a16:creationId xmlns:a16="http://schemas.microsoft.com/office/drawing/2014/main" id="{2C0AD571-49B1-4B4E-B6BE-87771578A546}"/>
              </a:ext>
            </a:extLst>
          </p:cNvPr>
          <p:cNvSpPr>
            <a:spLocks noGrp="1"/>
          </p:cNvSpPr>
          <p:nvPr>
            <p:ph type="sldNum" sz="quarter" idx="12"/>
          </p:nvPr>
        </p:nvSpPr>
        <p:spPr/>
        <p:txBody>
          <a:bodyPr/>
          <a:lstStyle/>
          <a:p>
            <a:fld id="{66288D82-61D3-3C4C-9776-3696409E7592}" type="slidenum">
              <a:rPr lang="nl-NL" smtClean="0"/>
              <a:t>‹nr.›</a:t>
            </a:fld>
            <a:endParaRPr lang="nl-NL"/>
          </a:p>
        </p:txBody>
      </p:sp>
      <p:sp>
        <p:nvSpPr>
          <p:cNvPr id="8" name="Tijdelijke aanduiding voor tekst 7">
            <a:extLst>
              <a:ext uri="{FF2B5EF4-FFF2-40B4-BE49-F238E27FC236}">
                <a16:creationId xmlns:a16="http://schemas.microsoft.com/office/drawing/2014/main" id="{0D9510EA-BCA7-E94D-81A5-B97E4300274E}"/>
              </a:ext>
            </a:extLst>
          </p:cNvPr>
          <p:cNvSpPr>
            <a:spLocks noGrp="1"/>
          </p:cNvSpPr>
          <p:nvPr>
            <p:ph type="body" sz="quarter" idx="13"/>
          </p:nvPr>
        </p:nvSpPr>
        <p:spPr>
          <a:xfrm>
            <a:off x="839789" y="2564905"/>
            <a:ext cx="8424863" cy="3024684"/>
          </a:xfrm>
          <a:prstGeom prst="rect">
            <a:avLst/>
          </a:prstGeom>
        </p:spPr>
        <p:txBody>
          <a:bodyPr/>
          <a:lstStyle>
            <a:lvl1pPr>
              <a:buClr>
                <a:schemeClr val="accent2"/>
              </a:buClr>
              <a:defRPr baseline="0"/>
            </a:lvl1pPr>
            <a:lvl2pPr>
              <a:buClr>
                <a:schemeClr val="accent2"/>
              </a:buClr>
              <a:defRPr baseline="0"/>
            </a:lvl2pPr>
            <a:lvl3pPr>
              <a:buClr>
                <a:schemeClr val="accent2"/>
              </a:buClr>
              <a:defRPr baseline="0"/>
            </a:lvl3pPr>
            <a:lvl4pPr>
              <a:buClr>
                <a:schemeClr val="accent2"/>
              </a:buClr>
              <a:defRPr baseline="0"/>
            </a:lvl4pPr>
            <a:lvl5pPr>
              <a:buClr>
                <a:schemeClr val="accent2"/>
              </a:buClr>
              <a:defRPr baseline="0"/>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p>
        </p:txBody>
      </p:sp>
      <p:sp>
        <p:nvSpPr>
          <p:cNvPr id="12" name="Titel 11">
            <a:extLst>
              <a:ext uri="{FF2B5EF4-FFF2-40B4-BE49-F238E27FC236}">
                <a16:creationId xmlns:a16="http://schemas.microsoft.com/office/drawing/2014/main" id="{5B7B2430-2FE6-534D-ADAD-80B66D17CFA2}"/>
              </a:ext>
            </a:extLst>
          </p:cNvPr>
          <p:cNvSpPr>
            <a:spLocks noGrp="1"/>
          </p:cNvSpPr>
          <p:nvPr>
            <p:ph type="title"/>
          </p:nvPr>
        </p:nvSpPr>
        <p:spPr>
          <a:xfrm>
            <a:off x="842909" y="1268760"/>
            <a:ext cx="6910443" cy="1152128"/>
          </a:xfrm>
          <a:prstGeom prst="rect">
            <a:avLst/>
          </a:prstGeom>
        </p:spPr>
        <p:txBody>
          <a:bodyPr lIns="0" tIns="0" rIns="0" bIns="0"/>
          <a:lstStyle>
            <a:lvl1pPr>
              <a:defRPr sz="3600" b="1" i="0" baseline="0">
                <a:latin typeface="+mn-lt"/>
              </a:defRPr>
            </a:lvl1pPr>
          </a:lstStyle>
          <a:p>
            <a:r>
              <a:rPr lang="nl-NL"/>
              <a:t>Klik om de stijl te bewerken</a:t>
            </a:r>
          </a:p>
        </p:txBody>
      </p:sp>
    </p:spTree>
    <p:extLst>
      <p:ext uri="{BB962C8B-B14F-4D97-AF65-F5344CB8AC3E}">
        <p14:creationId xmlns:p14="http://schemas.microsoft.com/office/powerpoint/2010/main" val="417778222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Innerpage_white_sec_graph">
    <p:spTree>
      <p:nvGrpSpPr>
        <p:cNvPr id="1" name=""/>
        <p:cNvGrpSpPr/>
        <p:nvPr/>
      </p:nvGrpSpPr>
      <p:grpSpPr>
        <a:xfrm>
          <a:off x="0" y="0"/>
          <a:ext cx="0" cy="0"/>
          <a:chOff x="0" y="0"/>
          <a:chExt cx="0" cy="0"/>
        </a:xfrm>
      </p:grpSpPr>
      <p:sp>
        <p:nvSpPr>
          <p:cNvPr id="3" name="Tijdelijke aanduiding voor datum 2">
            <a:extLst>
              <a:ext uri="{FF2B5EF4-FFF2-40B4-BE49-F238E27FC236}">
                <a16:creationId xmlns:a16="http://schemas.microsoft.com/office/drawing/2014/main" id="{958BEBB6-0233-0544-90A4-672089B2C0B3}"/>
              </a:ext>
            </a:extLst>
          </p:cNvPr>
          <p:cNvSpPr>
            <a:spLocks noGrp="1"/>
          </p:cNvSpPr>
          <p:nvPr>
            <p:ph type="dt" sz="half" idx="10"/>
          </p:nvPr>
        </p:nvSpPr>
        <p:spPr/>
        <p:txBody>
          <a:bodyPr/>
          <a:lstStyle/>
          <a:p>
            <a:fld id="{372A07EC-3B7E-8542-9385-9C1B4C6E54D0}" type="datetime1">
              <a:rPr lang="nl-NL" smtClean="0"/>
              <a:t>10-10-2023</a:t>
            </a:fld>
            <a:endParaRPr lang="nl-NL"/>
          </a:p>
        </p:txBody>
      </p:sp>
      <p:sp>
        <p:nvSpPr>
          <p:cNvPr id="4" name="Tijdelijke aanduiding voor voettekst 3">
            <a:extLst>
              <a:ext uri="{FF2B5EF4-FFF2-40B4-BE49-F238E27FC236}">
                <a16:creationId xmlns:a16="http://schemas.microsoft.com/office/drawing/2014/main" id="{27386701-E02C-594B-A531-D01A5062EE2B}"/>
              </a:ext>
            </a:extLst>
          </p:cNvPr>
          <p:cNvSpPr>
            <a:spLocks noGrp="1"/>
          </p:cNvSpPr>
          <p:nvPr>
            <p:ph type="ftr" sz="quarter" idx="11"/>
          </p:nvPr>
        </p:nvSpPr>
        <p:spPr/>
        <p:txBody>
          <a:bodyPr/>
          <a:lstStyle/>
          <a:p>
            <a:r>
              <a:rPr lang="nl-NL"/>
              <a:t>Toegankelijke Zorg in Zeeland</a:t>
            </a:r>
          </a:p>
        </p:txBody>
      </p:sp>
      <p:sp>
        <p:nvSpPr>
          <p:cNvPr id="5" name="Tijdelijke aanduiding voor dianummer 4">
            <a:extLst>
              <a:ext uri="{FF2B5EF4-FFF2-40B4-BE49-F238E27FC236}">
                <a16:creationId xmlns:a16="http://schemas.microsoft.com/office/drawing/2014/main" id="{9F710F63-6B2D-BD45-8257-0287365FAFDC}"/>
              </a:ext>
            </a:extLst>
          </p:cNvPr>
          <p:cNvSpPr>
            <a:spLocks noGrp="1"/>
          </p:cNvSpPr>
          <p:nvPr>
            <p:ph type="sldNum" sz="quarter" idx="12"/>
          </p:nvPr>
        </p:nvSpPr>
        <p:spPr/>
        <p:txBody>
          <a:bodyPr/>
          <a:lstStyle/>
          <a:p>
            <a:fld id="{66288D82-61D3-3C4C-9776-3696409E7592}" type="slidenum">
              <a:rPr lang="nl-NL" smtClean="0"/>
              <a:t>‹nr.›</a:t>
            </a:fld>
            <a:endParaRPr lang="nl-NL"/>
          </a:p>
        </p:txBody>
      </p:sp>
      <p:sp>
        <p:nvSpPr>
          <p:cNvPr id="9" name="Tijdelijke aanduiding voor grafiek 8">
            <a:extLst>
              <a:ext uri="{FF2B5EF4-FFF2-40B4-BE49-F238E27FC236}">
                <a16:creationId xmlns:a16="http://schemas.microsoft.com/office/drawing/2014/main" id="{E04EB60C-F3D0-4F44-9244-C86D20CCC7B5}"/>
              </a:ext>
            </a:extLst>
          </p:cNvPr>
          <p:cNvSpPr>
            <a:spLocks noGrp="1"/>
          </p:cNvSpPr>
          <p:nvPr>
            <p:ph type="chart" sz="quarter" idx="13"/>
          </p:nvPr>
        </p:nvSpPr>
        <p:spPr>
          <a:xfrm>
            <a:off x="839789" y="1844825"/>
            <a:ext cx="8424863" cy="3744764"/>
          </a:xfrm>
          <a:prstGeom prst="rect">
            <a:avLst/>
          </a:prstGeom>
        </p:spPr>
        <p:txBody>
          <a:bodyPr/>
          <a:lstStyle/>
          <a:p>
            <a:endParaRPr lang="nl-NL"/>
          </a:p>
        </p:txBody>
      </p:sp>
      <p:sp>
        <p:nvSpPr>
          <p:cNvPr id="10" name="Titel 11">
            <a:extLst>
              <a:ext uri="{FF2B5EF4-FFF2-40B4-BE49-F238E27FC236}">
                <a16:creationId xmlns:a16="http://schemas.microsoft.com/office/drawing/2014/main" id="{B443D09D-C8BD-D345-956D-F47C308547A2}"/>
              </a:ext>
            </a:extLst>
          </p:cNvPr>
          <p:cNvSpPr>
            <a:spLocks noGrp="1"/>
          </p:cNvSpPr>
          <p:nvPr>
            <p:ph type="title"/>
          </p:nvPr>
        </p:nvSpPr>
        <p:spPr>
          <a:xfrm>
            <a:off x="842909" y="1268760"/>
            <a:ext cx="6910443" cy="576064"/>
          </a:xfrm>
          <a:prstGeom prst="rect">
            <a:avLst/>
          </a:prstGeom>
        </p:spPr>
        <p:txBody>
          <a:bodyPr lIns="0" tIns="0" rIns="0" bIns="0"/>
          <a:lstStyle>
            <a:lvl1pPr>
              <a:defRPr sz="3600" b="1" i="0" baseline="0">
                <a:latin typeface="+mn-lt"/>
              </a:defRPr>
            </a:lvl1pPr>
          </a:lstStyle>
          <a:p>
            <a:r>
              <a:rPr lang="nl-NL"/>
              <a:t>Klik om de stijl te bewerken</a:t>
            </a:r>
          </a:p>
        </p:txBody>
      </p:sp>
    </p:spTree>
    <p:extLst>
      <p:ext uri="{BB962C8B-B14F-4D97-AF65-F5344CB8AC3E}">
        <p14:creationId xmlns:p14="http://schemas.microsoft.com/office/powerpoint/2010/main" val="3808811746"/>
      </p:ext>
    </p:extLst>
  </p:cSld>
  <p:clrMapOvr>
    <a:masterClrMapping/>
  </p:clrMapOvr>
  <p:extLst>
    <p:ext uri="{DCECCB84-F9BA-43D5-87BE-67443E8EF086}">
      <p15:sldGuideLst xmlns:p15="http://schemas.microsoft.com/office/powerpoint/2012/main">
        <p15:guide id="1" orient="horz" pos="1549" userDrawn="1">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Innerpage_white_graph">
    <p:spTree>
      <p:nvGrpSpPr>
        <p:cNvPr id="1" name=""/>
        <p:cNvGrpSpPr/>
        <p:nvPr/>
      </p:nvGrpSpPr>
      <p:grpSpPr>
        <a:xfrm>
          <a:off x="0" y="0"/>
          <a:ext cx="0" cy="0"/>
          <a:chOff x="0" y="0"/>
          <a:chExt cx="0" cy="0"/>
        </a:xfrm>
      </p:grpSpPr>
      <p:sp>
        <p:nvSpPr>
          <p:cNvPr id="3" name="Tijdelijke aanduiding voor datum 2">
            <a:extLst>
              <a:ext uri="{FF2B5EF4-FFF2-40B4-BE49-F238E27FC236}">
                <a16:creationId xmlns:a16="http://schemas.microsoft.com/office/drawing/2014/main" id="{958BEBB6-0233-0544-90A4-672089B2C0B3}"/>
              </a:ext>
            </a:extLst>
          </p:cNvPr>
          <p:cNvSpPr>
            <a:spLocks noGrp="1"/>
          </p:cNvSpPr>
          <p:nvPr>
            <p:ph type="dt" sz="half" idx="10"/>
          </p:nvPr>
        </p:nvSpPr>
        <p:spPr/>
        <p:txBody>
          <a:bodyPr/>
          <a:lstStyle/>
          <a:p>
            <a:fld id="{753E0C3B-C5C9-104E-884A-39A8CE22F468}" type="datetime1">
              <a:rPr lang="nl-NL" smtClean="0"/>
              <a:t>10-10-2023</a:t>
            </a:fld>
            <a:endParaRPr lang="nl-NL"/>
          </a:p>
        </p:txBody>
      </p:sp>
      <p:sp>
        <p:nvSpPr>
          <p:cNvPr id="4" name="Tijdelijke aanduiding voor voettekst 3">
            <a:extLst>
              <a:ext uri="{FF2B5EF4-FFF2-40B4-BE49-F238E27FC236}">
                <a16:creationId xmlns:a16="http://schemas.microsoft.com/office/drawing/2014/main" id="{27386701-E02C-594B-A531-D01A5062EE2B}"/>
              </a:ext>
            </a:extLst>
          </p:cNvPr>
          <p:cNvSpPr>
            <a:spLocks noGrp="1"/>
          </p:cNvSpPr>
          <p:nvPr>
            <p:ph type="ftr" sz="quarter" idx="11"/>
          </p:nvPr>
        </p:nvSpPr>
        <p:spPr/>
        <p:txBody>
          <a:bodyPr/>
          <a:lstStyle/>
          <a:p>
            <a:r>
              <a:rPr lang="nl-NL"/>
              <a:t>Toegankelijke Zorg in Zeeland</a:t>
            </a:r>
          </a:p>
        </p:txBody>
      </p:sp>
      <p:sp>
        <p:nvSpPr>
          <p:cNvPr id="5" name="Tijdelijke aanduiding voor dianummer 4">
            <a:extLst>
              <a:ext uri="{FF2B5EF4-FFF2-40B4-BE49-F238E27FC236}">
                <a16:creationId xmlns:a16="http://schemas.microsoft.com/office/drawing/2014/main" id="{9F710F63-6B2D-BD45-8257-0287365FAFDC}"/>
              </a:ext>
            </a:extLst>
          </p:cNvPr>
          <p:cNvSpPr>
            <a:spLocks noGrp="1"/>
          </p:cNvSpPr>
          <p:nvPr>
            <p:ph type="sldNum" sz="quarter" idx="12"/>
          </p:nvPr>
        </p:nvSpPr>
        <p:spPr/>
        <p:txBody>
          <a:bodyPr/>
          <a:lstStyle/>
          <a:p>
            <a:fld id="{66288D82-61D3-3C4C-9776-3696409E7592}" type="slidenum">
              <a:rPr lang="nl-NL" smtClean="0"/>
              <a:t>‹nr.›</a:t>
            </a:fld>
            <a:endParaRPr lang="nl-NL"/>
          </a:p>
        </p:txBody>
      </p:sp>
      <p:sp>
        <p:nvSpPr>
          <p:cNvPr id="9" name="Tijdelijke aanduiding voor grafiek 8">
            <a:extLst>
              <a:ext uri="{FF2B5EF4-FFF2-40B4-BE49-F238E27FC236}">
                <a16:creationId xmlns:a16="http://schemas.microsoft.com/office/drawing/2014/main" id="{E04EB60C-F3D0-4F44-9244-C86D20CCC7B5}"/>
              </a:ext>
            </a:extLst>
          </p:cNvPr>
          <p:cNvSpPr>
            <a:spLocks noGrp="1"/>
          </p:cNvSpPr>
          <p:nvPr>
            <p:ph type="chart" sz="quarter" idx="13"/>
          </p:nvPr>
        </p:nvSpPr>
        <p:spPr>
          <a:xfrm>
            <a:off x="839789" y="1844825"/>
            <a:ext cx="8424863" cy="3744764"/>
          </a:xfrm>
          <a:prstGeom prst="rect">
            <a:avLst/>
          </a:prstGeom>
        </p:spPr>
        <p:txBody>
          <a:bodyPr/>
          <a:lstStyle/>
          <a:p>
            <a:endParaRPr lang="nl-NL"/>
          </a:p>
        </p:txBody>
      </p:sp>
      <p:sp>
        <p:nvSpPr>
          <p:cNvPr id="10" name="Titel 11">
            <a:extLst>
              <a:ext uri="{FF2B5EF4-FFF2-40B4-BE49-F238E27FC236}">
                <a16:creationId xmlns:a16="http://schemas.microsoft.com/office/drawing/2014/main" id="{B443D09D-C8BD-D345-956D-F47C308547A2}"/>
              </a:ext>
            </a:extLst>
          </p:cNvPr>
          <p:cNvSpPr>
            <a:spLocks noGrp="1"/>
          </p:cNvSpPr>
          <p:nvPr>
            <p:ph type="title"/>
          </p:nvPr>
        </p:nvSpPr>
        <p:spPr>
          <a:xfrm>
            <a:off x="842909" y="1268760"/>
            <a:ext cx="6910443" cy="576064"/>
          </a:xfrm>
          <a:prstGeom prst="rect">
            <a:avLst/>
          </a:prstGeom>
        </p:spPr>
        <p:txBody>
          <a:bodyPr lIns="0" tIns="0" rIns="0" bIns="0"/>
          <a:lstStyle>
            <a:lvl1pPr>
              <a:defRPr sz="3600" b="1" i="0" baseline="0">
                <a:latin typeface="+mn-lt"/>
              </a:defRPr>
            </a:lvl1pPr>
          </a:lstStyle>
          <a:p>
            <a:r>
              <a:rPr lang="nl-NL"/>
              <a:t>Klik om de stijl te bewerken</a:t>
            </a:r>
          </a:p>
        </p:txBody>
      </p:sp>
    </p:spTree>
    <p:extLst>
      <p:ext uri="{BB962C8B-B14F-4D97-AF65-F5344CB8AC3E}">
        <p14:creationId xmlns:p14="http://schemas.microsoft.com/office/powerpoint/2010/main" val="4167662049"/>
      </p:ext>
    </p:extLst>
  </p:cSld>
  <p:clrMapOvr>
    <a:masterClrMapping/>
  </p:clrMapOvr>
  <p:extLst>
    <p:ext uri="{DCECCB84-F9BA-43D5-87BE-67443E8EF086}">
      <p15:sldGuideLst xmlns:p15="http://schemas.microsoft.com/office/powerpoint/2012/main">
        <p15:guide id="1" orient="horz" pos="1549" userDrawn="1">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a:t>Click to edit Master title style</a:t>
            </a:r>
            <a:endParaRPr lang="nl-NL"/>
          </a:p>
        </p:txBody>
      </p:sp>
      <p:sp>
        <p:nvSpPr>
          <p:cNvPr id="5" name="Tijdelijke aanduiding voor dianummer 1"/>
          <p:cNvSpPr>
            <a:spLocks noGrp="1"/>
          </p:cNvSpPr>
          <p:nvPr>
            <p:ph type="sldNum" sz="quarter" idx="4"/>
          </p:nvPr>
        </p:nvSpPr>
        <p:spPr>
          <a:xfrm>
            <a:off x="2447636" y="6492876"/>
            <a:ext cx="1530157" cy="365125"/>
          </a:xfrm>
          <a:prstGeom prst="rect">
            <a:avLst/>
          </a:prstGeom>
        </p:spPr>
        <p:txBody>
          <a:bodyPr vert="horz" lIns="91440" tIns="45720" rIns="91440" bIns="45720" rtlCol="0" anchor="ctr"/>
          <a:lstStyle>
            <a:lvl1pPr algn="ctr">
              <a:defRPr sz="1333">
                <a:solidFill>
                  <a:srgbClr val="FFFFFF"/>
                </a:solidFill>
              </a:defRPr>
            </a:lvl1pPr>
          </a:lstStyle>
          <a:p>
            <a:fld id="{762F6FF0-F2EB-EC47-997D-D6D5D3F50F8E}" type="slidenum">
              <a:rPr lang="nl-NL" smtClean="0"/>
              <a:pPr/>
              <a:t>‹nr.›</a:t>
            </a:fld>
            <a:endParaRPr lang="nl-NL"/>
          </a:p>
        </p:txBody>
      </p:sp>
    </p:spTree>
    <p:extLst>
      <p:ext uri="{BB962C8B-B14F-4D97-AF65-F5344CB8AC3E}">
        <p14:creationId xmlns:p14="http://schemas.microsoft.com/office/powerpoint/2010/main" val="10874531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el en object">
    <p:spTree>
      <p:nvGrpSpPr>
        <p:cNvPr id="1" name=""/>
        <p:cNvGrpSpPr/>
        <p:nvPr/>
      </p:nvGrpSpPr>
      <p:grpSpPr>
        <a:xfrm>
          <a:off x="0" y="0"/>
          <a:ext cx="0" cy="0"/>
          <a:chOff x="0" y="0"/>
          <a:chExt cx="0" cy="0"/>
        </a:xfrm>
      </p:grpSpPr>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D54CC3BD-94A3-4418-B2F9-12BAF73514AE}" type="slidenum">
              <a:rPr lang="nl-NL" smtClean="0"/>
              <a:t>‹nr.›</a:t>
            </a:fld>
            <a:endParaRPr lang="nl-NL"/>
          </a:p>
        </p:txBody>
      </p:sp>
      <p:sp>
        <p:nvSpPr>
          <p:cNvPr id="27" name="Tijdelijke aanduiding voor tekst 10">
            <a:extLst>
              <a:ext uri="{FF2B5EF4-FFF2-40B4-BE49-F238E27FC236}">
                <a16:creationId xmlns:a16="http://schemas.microsoft.com/office/drawing/2014/main" id="{66B664A2-7A88-5243-8308-213730E89F1D}"/>
              </a:ext>
            </a:extLst>
          </p:cNvPr>
          <p:cNvSpPr>
            <a:spLocks noGrp="1"/>
          </p:cNvSpPr>
          <p:nvPr>
            <p:ph type="body" sz="quarter" idx="13" hasCustomPrompt="1"/>
          </p:nvPr>
        </p:nvSpPr>
        <p:spPr>
          <a:xfrm>
            <a:off x="585600" y="974036"/>
            <a:ext cx="11040000" cy="746125"/>
          </a:xfrm>
        </p:spPr>
        <p:txBody>
          <a:bodyPr>
            <a:noAutofit/>
          </a:bodyPr>
          <a:lstStyle>
            <a:lvl1pPr marL="0" indent="0">
              <a:buNone/>
              <a:defRPr sz="1800" b="1">
                <a:solidFill>
                  <a:schemeClr val="tx2"/>
                </a:solidFill>
              </a:defRPr>
            </a:lvl1pPr>
            <a:lvl2pPr marL="0" inden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nl-NL" err="1"/>
              <a:t>Subheader</a:t>
            </a:r>
            <a:endParaRPr lang="nl-NL"/>
          </a:p>
        </p:txBody>
      </p:sp>
      <p:sp>
        <p:nvSpPr>
          <p:cNvPr id="28" name="Tijdelijke aanduiding voor inhoud 2">
            <a:extLst>
              <a:ext uri="{FF2B5EF4-FFF2-40B4-BE49-F238E27FC236}">
                <a16:creationId xmlns:a16="http://schemas.microsoft.com/office/drawing/2014/main" id="{8EDC833C-278C-184D-BE8D-57AE2B896A48}"/>
              </a:ext>
            </a:extLst>
          </p:cNvPr>
          <p:cNvSpPr>
            <a:spLocks noGrp="1"/>
          </p:cNvSpPr>
          <p:nvPr>
            <p:ph idx="1"/>
          </p:nvPr>
        </p:nvSpPr>
        <p:spPr>
          <a:xfrm>
            <a:off x="585600" y="1926804"/>
            <a:ext cx="11040000" cy="4077181"/>
          </a:xfrm>
        </p:spPr>
        <p:txBody>
          <a:bodyPr/>
          <a:lstStyle>
            <a:lvl1pPr>
              <a:defRPr>
                <a:solidFill>
                  <a:schemeClr val="tx2"/>
                </a:solidFill>
              </a:defRPr>
            </a:lvl1pPr>
          </a:lstStyle>
          <a:p>
            <a:pPr lvl="0"/>
            <a:r>
              <a:rPr lang="nl-NL"/>
              <a:t>Klikken om de tekststijl van het model te bewerken</a:t>
            </a:r>
          </a:p>
        </p:txBody>
      </p:sp>
      <p:sp>
        <p:nvSpPr>
          <p:cNvPr id="29" name="Titel 3">
            <a:extLst>
              <a:ext uri="{FF2B5EF4-FFF2-40B4-BE49-F238E27FC236}">
                <a16:creationId xmlns:a16="http://schemas.microsoft.com/office/drawing/2014/main" id="{4303B0F1-74A6-3F47-BD24-164C35B91393}"/>
              </a:ext>
            </a:extLst>
          </p:cNvPr>
          <p:cNvSpPr>
            <a:spLocks noGrp="1"/>
          </p:cNvSpPr>
          <p:nvPr>
            <p:ph type="title" hasCustomPrompt="1"/>
          </p:nvPr>
        </p:nvSpPr>
        <p:spPr>
          <a:xfrm>
            <a:off x="585600" y="365130"/>
            <a:ext cx="11040000" cy="576431"/>
          </a:xfrm>
        </p:spPr>
        <p:txBody>
          <a:bodyPr>
            <a:normAutofit/>
          </a:bodyPr>
          <a:lstStyle>
            <a:lvl1pPr>
              <a:defRPr sz="3600"/>
            </a:lvl1pPr>
          </a:lstStyle>
          <a:p>
            <a:r>
              <a:rPr lang="nl-NL"/>
              <a:t>Titel hier</a:t>
            </a:r>
          </a:p>
        </p:txBody>
      </p:sp>
      <p:sp>
        <p:nvSpPr>
          <p:cNvPr id="9" name="Tijdelijke aanduiding voor datum 7">
            <a:extLst>
              <a:ext uri="{FF2B5EF4-FFF2-40B4-BE49-F238E27FC236}">
                <a16:creationId xmlns:a16="http://schemas.microsoft.com/office/drawing/2014/main" id="{0977D9C9-5D24-BD40-A389-BA19112F0460}"/>
              </a:ext>
            </a:extLst>
          </p:cNvPr>
          <p:cNvSpPr>
            <a:spLocks noGrp="1"/>
          </p:cNvSpPr>
          <p:nvPr>
            <p:ph type="dt" sz="half" idx="2"/>
          </p:nvPr>
        </p:nvSpPr>
        <p:spPr>
          <a:xfrm>
            <a:off x="585600" y="6518468"/>
            <a:ext cx="1670400" cy="257739"/>
          </a:xfrm>
          <a:prstGeom prst="rect">
            <a:avLst/>
          </a:prstGeom>
        </p:spPr>
        <p:txBody>
          <a:bodyPr vert="horz" lIns="91440" tIns="45720" rIns="91440" bIns="45720" rtlCol="0" anchor="ctr"/>
          <a:lstStyle>
            <a:lvl1pPr algn="l">
              <a:defRPr sz="1100">
                <a:solidFill>
                  <a:schemeClr val="bg1"/>
                </a:solidFill>
              </a:defRPr>
            </a:lvl1pPr>
          </a:lstStyle>
          <a:p>
            <a:fld id="{6824624B-8B1A-014C-AA62-FA066D1B4EA8}" type="datetimeFigureOut">
              <a:rPr lang="nl-NL" smtClean="0"/>
              <a:pPr/>
              <a:t>10-10-2023</a:t>
            </a:fld>
            <a:endParaRPr lang="nl-NL"/>
          </a:p>
        </p:txBody>
      </p:sp>
    </p:spTree>
    <p:extLst>
      <p:ext uri="{BB962C8B-B14F-4D97-AF65-F5344CB8AC3E}">
        <p14:creationId xmlns:p14="http://schemas.microsoft.com/office/powerpoint/2010/main" val="237755047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 Afbeeldingen">
    <p:spTree>
      <p:nvGrpSpPr>
        <p:cNvPr id="1" name=""/>
        <p:cNvGrpSpPr/>
        <p:nvPr/>
      </p:nvGrpSpPr>
      <p:grpSpPr>
        <a:xfrm>
          <a:off x="0" y="0"/>
          <a:ext cx="0" cy="0"/>
          <a:chOff x="0" y="0"/>
          <a:chExt cx="0" cy="0"/>
        </a:xfrm>
      </p:grpSpPr>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D54CC3BD-94A3-4418-B2F9-12BAF73514AE}" type="slidenum">
              <a:rPr lang="nl-NL" smtClean="0"/>
              <a:t>‹nr.›</a:t>
            </a:fld>
            <a:endParaRPr lang="nl-NL"/>
          </a:p>
        </p:txBody>
      </p:sp>
      <p:sp>
        <p:nvSpPr>
          <p:cNvPr id="6" name="Tijdelijke aanduiding voor afbeelding 5"/>
          <p:cNvSpPr>
            <a:spLocks noGrp="1" noChangeAspect="1"/>
          </p:cNvSpPr>
          <p:nvPr>
            <p:ph type="pic" sz="quarter" idx="13" hasCustomPrompt="1"/>
          </p:nvPr>
        </p:nvSpPr>
        <p:spPr>
          <a:xfrm>
            <a:off x="868205" y="2448617"/>
            <a:ext cx="1776000" cy="1332000"/>
          </a:xfrm>
        </p:spPr>
        <p:txBody>
          <a:bodyPr/>
          <a:lstStyle>
            <a:lvl1pPr>
              <a:defRPr>
                <a:solidFill>
                  <a:schemeClr val="tx2"/>
                </a:solidFill>
              </a:defRPr>
            </a:lvl1pPr>
          </a:lstStyle>
          <a:p>
            <a:r>
              <a:rPr lang="nl-NL"/>
              <a:t>Klik om afbeelding toe te voegen</a:t>
            </a:r>
          </a:p>
        </p:txBody>
      </p:sp>
      <p:sp>
        <p:nvSpPr>
          <p:cNvPr id="11" name="Tijdelijke aanduiding voor tekst 10"/>
          <p:cNvSpPr>
            <a:spLocks noGrp="1"/>
          </p:cNvSpPr>
          <p:nvPr>
            <p:ph type="body" sz="quarter" idx="14" hasCustomPrompt="1"/>
          </p:nvPr>
        </p:nvSpPr>
        <p:spPr>
          <a:xfrm>
            <a:off x="2948979" y="2294931"/>
            <a:ext cx="2160000" cy="1620000"/>
          </a:xfrm>
        </p:spPr>
        <p:txBody>
          <a:bodyPr/>
          <a:lstStyle>
            <a:lvl1pPr>
              <a:spcBef>
                <a:spcPts val="0"/>
              </a:spcBef>
              <a:spcAft>
                <a:spcPts val="600"/>
              </a:spcAft>
              <a:defRPr>
                <a:solidFill>
                  <a:schemeClr val="tx2"/>
                </a:solidFill>
              </a:defRPr>
            </a:lvl1pPr>
          </a:lstStyle>
          <a:p>
            <a:pPr lvl="0"/>
            <a:r>
              <a:rPr lang="nl-NL"/>
              <a:t>Typ kenwoorden</a:t>
            </a:r>
          </a:p>
        </p:txBody>
      </p:sp>
      <p:sp>
        <p:nvSpPr>
          <p:cNvPr id="12" name="Rechthoek 11"/>
          <p:cNvSpPr/>
          <p:nvPr userDrawn="1"/>
        </p:nvSpPr>
        <p:spPr>
          <a:xfrm>
            <a:off x="563432" y="2286617"/>
            <a:ext cx="4560000" cy="1656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14" name="Tijdelijke aanduiding voor tekst 13"/>
          <p:cNvSpPr>
            <a:spLocks noGrp="1"/>
          </p:cNvSpPr>
          <p:nvPr>
            <p:ph type="body" sz="quarter" idx="15" hasCustomPrompt="1"/>
          </p:nvPr>
        </p:nvSpPr>
        <p:spPr>
          <a:xfrm>
            <a:off x="586319" y="1929875"/>
            <a:ext cx="4523316" cy="288000"/>
          </a:xfrm>
        </p:spPr>
        <p:txBody>
          <a:bodyPr>
            <a:noAutofit/>
          </a:bodyPr>
          <a:lstStyle>
            <a:lvl1pPr marL="0" indent="0">
              <a:buNone/>
              <a:defRPr sz="1400" b="1">
                <a:solidFill>
                  <a:schemeClr val="tx2"/>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nl-NL"/>
              <a:t>Titel van afbeelding en tekst</a:t>
            </a:r>
          </a:p>
        </p:txBody>
      </p:sp>
      <p:sp>
        <p:nvSpPr>
          <p:cNvPr id="15" name="Tijdelijke aanduiding voor afbeelding 5"/>
          <p:cNvSpPr>
            <a:spLocks noGrp="1" noChangeAspect="1"/>
          </p:cNvSpPr>
          <p:nvPr>
            <p:ph type="pic" sz="quarter" idx="16" hasCustomPrompt="1"/>
          </p:nvPr>
        </p:nvSpPr>
        <p:spPr>
          <a:xfrm>
            <a:off x="7370373" y="2436783"/>
            <a:ext cx="1776000" cy="1332000"/>
          </a:xfrm>
        </p:spPr>
        <p:txBody>
          <a:bodyPr/>
          <a:lstStyle>
            <a:lvl1pPr>
              <a:defRPr>
                <a:solidFill>
                  <a:schemeClr val="tx2"/>
                </a:solidFill>
              </a:defRPr>
            </a:lvl1pPr>
          </a:lstStyle>
          <a:p>
            <a:r>
              <a:rPr lang="nl-NL"/>
              <a:t>Klik om afbeelding toe te voegen</a:t>
            </a:r>
          </a:p>
        </p:txBody>
      </p:sp>
      <p:sp>
        <p:nvSpPr>
          <p:cNvPr id="16" name="Tijdelijke aanduiding voor tekst 10"/>
          <p:cNvSpPr>
            <a:spLocks noGrp="1"/>
          </p:cNvSpPr>
          <p:nvPr>
            <p:ph type="body" sz="quarter" idx="17" hasCustomPrompt="1"/>
          </p:nvPr>
        </p:nvSpPr>
        <p:spPr>
          <a:xfrm>
            <a:off x="9451147" y="2294931"/>
            <a:ext cx="2160000" cy="1620000"/>
          </a:xfrm>
        </p:spPr>
        <p:txBody>
          <a:bodyPr/>
          <a:lstStyle>
            <a:lvl1pPr>
              <a:spcBef>
                <a:spcPts val="0"/>
              </a:spcBef>
              <a:spcAft>
                <a:spcPts val="600"/>
              </a:spcAft>
              <a:defRPr>
                <a:solidFill>
                  <a:schemeClr val="tx2"/>
                </a:solidFill>
              </a:defRPr>
            </a:lvl1pPr>
          </a:lstStyle>
          <a:p>
            <a:pPr lvl="0"/>
            <a:r>
              <a:rPr lang="nl-NL"/>
              <a:t>Typ kenwoorden</a:t>
            </a:r>
          </a:p>
        </p:txBody>
      </p:sp>
      <p:sp>
        <p:nvSpPr>
          <p:cNvPr id="17" name="Rechthoek 16"/>
          <p:cNvSpPr/>
          <p:nvPr userDrawn="1"/>
        </p:nvSpPr>
        <p:spPr>
          <a:xfrm>
            <a:off x="7065600" y="2286617"/>
            <a:ext cx="4560000" cy="1656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18" name="Tijdelijke aanduiding voor tekst 13"/>
          <p:cNvSpPr>
            <a:spLocks noGrp="1"/>
          </p:cNvSpPr>
          <p:nvPr>
            <p:ph type="body" sz="quarter" idx="18" hasCustomPrompt="1"/>
          </p:nvPr>
        </p:nvSpPr>
        <p:spPr>
          <a:xfrm>
            <a:off x="7088487" y="1929875"/>
            <a:ext cx="4523316" cy="288000"/>
          </a:xfrm>
        </p:spPr>
        <p:txBody>
          <a:bodyPr>
            <a:noAutofit/>
          </a:bodyPr>
          <a:lstStyle>
            <a:lvl1pPr marL="0" indent="0">
              <a:buNone/>
              <a:defRPr sz="1400" b="1">
                <a:solidFill>
                  <a:schemeClr val="tx2"/>
                </a:solidFill>
              </a:defRPr>
            </a:lvl1pPr>
            <a:lvl2pPr marL="0" indent="0">
              <a:buNone/>
              <a:defRPr sz="1400"/>
            </a:lvl2pPr>
            <a:lvl3pPr marL="0" indent="0">
              <a:buNone/>
              <a:defRPr sz="1400"/>
            </a:lvl3pPr>
            <a:lvl4pPr marL="0" indent="0">
              <a:buNone/>
              <a:defRPr sz="1400"/>
            </a:lvl4pPr>
            <a:lvl5pPr marL="0" indent="0">
              <a:buNone/>
              <a:defRPr sz="1400"/>
            </a:lvl5pPr>
          </a:lstStyle>
          <a:p>
            <a:pPr lvl="0"/>
            <a:r>
              <a:rPr lang="nl-NL"/>
              <a:t>Titel van afbeelding en tekst</a:t>
            </a:r>
          </a:p>
        </p:txBody>
      </p:sp>
      <p:sp>
        <p:nvSpPr>
          <p:cNvPr id="19" name="Tijdelijke aanduiding voor afbeelding 5"/>
          <p:cNvSpPr>
            <a:spLocks noGrp="1" noChangeAspect="1"/>
          </p:cNvSpPr>
          <p:nvPr>
            <p:ph type="pic" sz="quarter" idx="19" hasCustomPrompt="1"/>
          </p:nvPr>
        </p:nvSpPr>
        <p:spPr>
          <a:xfrm>
            <a:off x="868205" y="4580743"/>
            <a:ext cx="1776000" cy="1332000"/>
          </a:xfrm>
        </p:spPr>
        <p:txBody>
          <a:bodyPr/>
          <a:lstStyle>
            <a:lvl1pPr>
              <a:defRPr>
                <a:solidFill>
                  <a:schemeClr val="tx2"/>
                </a:solidFill>
              </a:defRPr>
            </a:lvl1pPr>
          </a:lstStyle>
          <a:p>
            <a:r>
              <a:rPr lang="nl-NL"/>
              <a:t>Klik om afbeelding toe te voegen</a:t>
            </a:r>
          </a:p>
        </p:txBody>
      </p:sp>
      <p:sp>
        <p:nvSpPr>
          <p:cNvPr id="20" name="Tijdelijke aanduiding voor tekst 10"/>
          <p:cNvSpPr>
            <a:spLocks noGrp="1"/>
          </p:cNvSpPr>
          <p:nvPr>
            <p:ph type="body" sz="quarter" idx="20" hasCustomPrompt="1"/>
          </p:nvPr>
        </p:nvSpPr>
        <p:spPr>
          <a:xfrm>
            <a:off x="2962777" y="4436743"/>
            <a:ext cx="2160000" cy="1620000"/>
          </a:xfrm>
        </p:spPr>
        <p:txBody>
          <a:bodyPr/>
          <a:lstStyle>
            <a:lvl1pPr>
              <a:spcBef>
                <a:spcPts val="0"/>
              </a:spcBef>
              <a:spcAft>
                <a:spcPts val="600"/>
              </a:spcAft>
              <a:defRPr>
                <a:solidFill>
                  <a:schemeClr val="tx2"/>
                </a:solidFill>
              </a:defRPr>
            </a:lvl1pPr>
          </a:lstStyle>
          <a:p>
            <a:pPr lvl="0"/>
            <a:r>
              <a:rPr lang="nl-NL"/>
              <a:t>Typ kenwoorden</a:t>
            </a:r>
          </a:p>
        </p:txBody>
      </p:sp>
      <p:sp>
        <p:nvSpPr>
          <p:cNvPr id="21" name="Rechthoek 20"/>
          <p:cNvSpPr/>
          <p:nvPr userDrawn="1"/>
        </p:nvSpPr>
        <p:spPr>
          <a:xfrm>
            <a:off x="577231" y="4428431"/>
            <a:ext cx="4560000" cy="1656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22" name="Tijdelijke aanduiding voor tekst 13"/>
          <p:cNvSpPr>
            <a:spLocks noGrp="1"/>
          </p:cNvSpPr>
          <p:nvPr>
            <p:ph type="body" sz="quarter" idx="21" hasCustomPrompt="1"/>
          </p:nvPr>
        </p:nvSpPr>
        <p:spPr>
          <a:xfrm>
            <a:off x="577231" y="4028424"/>
            <a:ext cx="4523316" cy="323851"/>
          </a:xfrm>
        </p:spPr>
        <p:txBody>
          <a:bodyPr>
            <a:noAutofit/>
          </a:bodyPr>
          <a:lstStyle>
            <a:lvl1pPr marL="0" indent="0">
              <a:buNone/>
              <a:defRPr sz="1400" b="1"/>
            </a:lvl1pPr>
            <a:lvl2pPr marL="0" indent="0">
              <a:buNone/>
              <a:defRPr sz="1400"/>
            </a:lvl2pPr>
            <a:lvl3pPr marL="0" indent="0">
              <a:buNone/>
              <a:defRPr sz="1400"/>
            </a:lvl3pPr>
            <a:lvl4pPr marL="0" indent="0">
              <a:buNone/>
              <a:defRPr sz="1400"/>
            </a:lvl4pPr>
            <a:lvl5pPr marL="0" indent="0">
              <a:buNone/>
              <a:defRPr sz="1400"/>
            </a:lvl5pPr>
          </a:lstStyle>
          <a:p>
            <a:pPr lvl="0"/>
            <a:r>
              <a:rPr lang="nl-NL"/>
              <a:t>Titel van afbeelding en tekst</a:t>
            </a:r>
          </a:p>
        </p:txBody>
      </p:sp>
      <p:sp>
        <p:nvSpPr>
          <p:cNvPr id="23" name="Tijdelijke aanduiding voor afbeelding 5"/>
          <p:cNvSpPr>
            <a:spLocks noGrp="1" noChangeAspect="1"/>
          </p:cNvSpPr>
          <p:nvPr>
            <p:ph type="pic" sz="quarter" idx="22" hasCustomPrompt="1"/>
          </p:nvPr>
        </p:nvSpPr>
        <p:spPr>
          <a:xfrm>
            <a:off x="7370373" y="4580743"/>
            <a:ext cx="1776000" cy="1332000"/>
          </a:xfrm>
        </p:spPr>
        <p:txBody>
          <a:bodyPr/>
          <a:lstStyle>
            <a:lvl1pPr>
              <a:defRPr>
                <a:solidFill>
                  <a:schemeClr val="tx2"/>
                </a:solidFill>
              </a:defRPr>
            </a:lvl1pPr>
          </a:lstStyle>
          <a:p>
            <a:r>
              <a:rPr lang="nl-NL"/>
              <a:t>Klik om afbeelding toe te voegen</a:t>
            </a:r>
          </a:p>
        </p:txBody>
      </p:sp>
      <p:sp>
        <p:nvSpPr>
          <p:cNvPr id="24" name="Tijdelijke aanduiding voor tekst 10"/>
          <p:cNvSpPr>
            <a:spLocks noGrp="1"/>
          </p:cNvSpPr>
          <p:nvPr>
            <p:ph type="body" sz="quarter" idx="23" hasCustomPrompt="1"/>
          </p:nvPr>
        </p:nvSpPr>
        <p:spPr>
          <a:xfrm>
            <a:off x="9451147" y="4436743"/>
            <a:ext cx="2160000" cy="1620000"/>
          </a:xfrm>
        </p:spPr>
        <p:txBody>
          <a:bodyPr/>
          <a:lstStyle>
            <a:lvl1pPr>
              <a:spcBef>
                <a:spcPts val="0"/>
              </a:spcBef>
              <a:spcAft>
                <a:spcPts val="600"/>
              </a:spcAft>
              <a:defRPr>
                <a:solidFill>
                  <a:schemeClr val="tx2"/>
                </a:solidFill>
              </a:defRPr>
            </a:lvl1pPr>
          </a:lstStyle>
          <a:p>
            <a:pPr lvl="0"/>
            <a:r>
              <a:rPr lang="nl-NL"/>
              <a:t>Typ kenwoorden</a:t>
            </a:r>
          </a:p>
        </p:txBody>
      </p:sp>
      <p:sp>
        <p:nvSpPr>
          <p:cNvPr id="25" name="Rechthoek 24"/>
          <p:cNvSpPr/>
          <p:nvPr userDrawn="1"/>
        </p:nvSpPr>
        <p:spPr>
          <a:xfrm>
            <a:off x="7065600" y="4428431"/>
            <a:ext cx="4560000" cy="1656000"/>
          </a:xfrm>
          <a:prstGeom prst="rect">
            <a:avLst/>
          </a:prstGeom>
          <a:noFill/>
          <a:ln w="63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800"/>
          </a:p>
        </p:txBody>
      </p:sp>
      <p:sp>
        <p:nvSpPr>
          <p:cNvPr id="26" name="Tijdelijke aanduiding voor tekst 13"/>
          <p:cNvSpPr>
            <a:spLocks noGrp="1"/>
          </p:cNvSpPr>
          <p:nvPr>
            <p:ph type="body" sz="quarter" idx="24" hasCustomPrompt="1"/>
          </p:nvPr>
        </p:nvSpPr>
        <p:spPr>
          <a:xfrm>
            <a:off x="7088487" y="4037820"/>
            <a:ext cx="4523316" cy="323851"/>
          </a:xfrm>
        </p:spPr>
        <p:txBody>
          <a:bodyPr>
            <a:noAutofit/>
          </a:bodyPr>
          <a:lstStyle>
            <a:lvl1pPr marL="0" indent="0">
              <a:buNone/>
              <a:defRPr sz="1400" b="1"/>
            </a:lvl1pPr>
            <a:lvl2pPr marL="0" indent="0">
              <a:buNone/>
              <a:defRPr sz="1400"/>
            </a:lvl2pPr>
            <a:lvl3pPr marL="0" indent="0">
              <a:buNone/>
              <a:defRPr sz="1400"/>
            </a:lvl3pPr>
            <a:lvl4pPr marL="0" indent="0">
              <a:buNone/>
              <a:defRPr sz="1400"/>
            </a:lvl4pPr>
            <a:lvl5pPr marL="0" indent="0">
              <a:buNone/>
              <a:defRPr sz="1400"/>
            </a:lvl5pPr>
          </a:lstStyle>
          <a:p>
            <a:pPr lvl="0"/>
            <a:r>
              <a:rPr lang="nl-NL"/>
              <a:t>Titel van afbeelding en tekst</a:t>
            </a:r>
          </a:p>
        </p:txBody>
      </p:sp>
      <p:sp>
        <p:nvSpPr>
          <p:cNvPr id="27" name="Tijdelijke aanduiding voor tekst 10">
            <a:extLst>
              <a:ext uri="{FF2B5EF4-FFF2-40B4-BE49-F238E27FC236}">
                <a16:creationId xmlns:a16="http://schemas.microsoft.com/office/drawing/2014/main" id="{ED5A67F9-6FB4-0640-AC8B-35553980C6A3}"/>
              </a:ext>
            </a:extLst>
          </p:cNvPr>
          <p:cNvSpPr>
            <a:spLocks noGrp="1"/>
          </p:cNvSpPr>
          <p:nvPr>
            <p:ph type="body" sz="quarter" idx="25" hasCustomPrompt="1"/>
          </p:nvPr>
        </p:nvSpPr>
        <p:spPr>
          <a:xfrm>
            <a:off x="585600" y="974036"/>
            <a:ext cx="11040000" cy="746125"/>
          </a:xfrm>
        </p:spPr>
        <p:txBody>
          <a:bodyPr>
            <a:noAutofit/>
          </a:bodyPr>
          <a:lstStyle>
            <a:lvl1pPr marL="0" indent="0">
              <a:buNone/>
              <a:defRPr sz="1800" b="1">
                <a:solidFill>
                  <a:schemeClr val="tx2"/>
                </a:solidFill>
              </a:defRPr>
            </a:lvl1pPr>
            <a:lvl2pPr marL="0" indent="0">
              <a:buNone/>
              <a:defRPr sz="2000" b="1">
                <a:solidFill>
                  <a:schemeClr val="tx2"/>
                </a:solidFill>
              </a:defRPr>
            </a:lvl2pPr>
            <a:lvl3pPr marL="0" indent="0">
              <a:buNone/>
              <a:defRPr sz="2000" b="1">
                <a:solidFill>
                  <a:schemeClr val="tx2"/>
                </a:solidFill>
              </a:defRPr>
            </a:lvl3pPr>
            <a:lvl4pPr marL="0" indent="0">
              <a:buNone/>
              <a:defRPr sz="2000" b="1">
                <a:solidFill>
                  <a:schemeClr val="tx2"/>
                </a:solidFill>
              </a:defRPr>
            </a:lvl4pPr>
            <a:lvl5pPr marL="0" indent="0">
              <a:buNone/>
              <a:defRPr sz="2000" b="1">
                <a:solidFill>
                  <a:schemeClr val="tx2"/>
                </a:solidFill>
              </a:defRPr>
            </a:lvl5pPr>
          </a:lstStyle>
          <a:p>
            <a:pPr lvl="0"/>
            <a:r>
              <a:rPr lang="nl-NL" err="1"/>
              <a:t>Subheader</a:t>
            </a:r>
            <a:endParaRPr lang="nl-NL"/>
          </a:p>
        </p:txBody>
      </p:sp>
      <p:sp>
        <p:nvSpPr>
          <p:cNvPr id="28" name="Titel 3">
            <a:extLst>
              <a:ext uri="{FF2B5EF4-FFF2-40B4-BE49-F238E27FC236}">
                <a16:creationId xmlns:a16="http://schemas.microsoft.com/office/drawing/2014/main" id="{E7068BA7-5A39-EA4C-B607-78B91688A699}"/>
              </a:ext>
            </a:extLst>
          </p:cNvPr>
          <p:cNvSpPr>
            <a:spLocks noGrp="1"/>
          </p:cNvSpPr>
          <p:nvPr>
            <p:ph type="title" hasCustomPrompt="1"/>
          </p:nvPr>
        </p:nvSpPr>
        <p:spPr>
          <a:xfrm>
            <a:off x="585600" y="365130"/>
            <a:ext cx="11040000" cy="576431"/>
          </a:xfrm>
        </p:spPr>
        <p:txBody>
          <a:bodyPr>
            <a:normAutofit/>
          </a:bodyPr>
          <a:lstStyle>
            <a:lvl1pPr>
              <a:defRPr sz="3600"/>
            </a:lvl1pPr>
          </a:lstStyle>
          <a:p>
            <a:r>
              <a:rPr lang="nl-NL"/>
              <a:t>Titel hier</a:t>
            </a:r>
          </a:p>
        </p:txBody>
      </p:sp>
      <p:sp>
        <p:nvSpPr>
          <p:cNvPr id="29" name="Tijdelijke aanduiding voor datum 7">
            <a:extLst>
              <a:ext uri="{FF2B5EF4-FFF2-40B4-BE49-F238E27FC236}">
                <a16:creationId xmlns:a16="http://schemas.microsoft.com/office/drawing/2014/main" id="{A3683521-E821-D944-80B0-1E2BEA9AE584}"/>
              </a:ext>
            </a:extLst>
          </p:cNvPr>
          <p:cNvSpPr>
            <a:spLocks noGrp="1"/>
          </p:cNvSpPr>
          <p:nvPr>
            <p:ph type="dt" sz="half" idx="2"/>
          </p:nvPr>
        </p:nvSpPr>
        <p:spPr>
          <a:xfrm>
            <a:off x="585600" y="6518468"/>
            <a:ext cx="1670400" cy="257739"/>
          </a:xfrm>
          <a:prstGeom prst="rect">
            <a:avLst/>
          </a:prstGeom>
        </p:spPr>
        <p:txBody>
          <a:bodyPr vert="horz" lIns="91440" tIns="45720" rIns="91440" bIns="45720" rtlCol="0" anchor="ctr"/>
          <a:lstStyle>
            <a:lvl1pPr algn="l">
              <a:defRPr sz="1100">
                <a:solidFill>
                  <a:schemeClr val="bg1"/>
                </a:solidFill>
              </a:defRPr>
            </a:lvl1pPr>
          </a:lstStyle>
          <a:p>
            <a:fld id="{6824624B-8B1A-014C-AA62-FA066D1B4EA8}" type="datetimeFigureOut">
              <a:rPr lang="nl-NL" smtClean="0"/>
              <a:pPr/>
              <a:t>10-10-2023</a:t>
            </a:fld>
            <a:endParaRPr lang="nl-NL"/>
          </a:p>
        </p:txBody>
      </p:sp>
    </p:spTree>
    <p:extLst>
      <p:ext uri="{BB962C8B-B14F-4D97-AF65-F5344CB8AC3E}">
        <p14:creationId xmlns:p14="http://schemas.microsoft.com/office/powerpoint/2010/main" val="37869870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a:xfrm>
            <a:off x="609600" y="6356352"/>
            <a:ext cx="2844800" cy="365125"/>
          </a:xfrm>
          <a:prstGeom prst="rect">
            <a:avLst/>
          </a:prstGeom>
        </p:spPr>
        <p:txBody>
          <a:bodyPr/>
          <a:lstStyle>
            <a:lvl1pPr>
              <a:defRPr sz="1200">
                <a:solidFill>
                  <a:schemeClr val="bg1">
                    <a:lumMod val="50000"/>
                  </a:schemeClr>
                </a:solidFill>
                <a:latin typeface="Arial" panose="020B0604020202020204" pitchFamily="34" charset="0"/>
                <a:cs typeface="Arial" panose="020B0604020202020204" pitchFamily="34" charset="0"/>
              </a:defRPr>
            </a:lvl1pPr>
          </a:lstStyle>
          <a:p>
            <a:fld id="{F273C35D-E08F-4E68-B234-7506C14B307D}" type="datetime1">
              <a:rPr lang="nl-NL" smtClean="0"/>
              <a:t>10-10-2023</a:t>
            </a:fld>
            <a:endParaRPr lang="nl-NL"/>
          </a:p>
        </p:txBody>
      </p:sp>
      <p:sp>
        <p:nvSpPr>
          <p:cNvPr id="4" name="Tijdelijke aanduiding voor dianummer 3"/>
          <p:cNvSpPr>
            <a:spLocks noGrp="1"/>
          </p:cNvSpPr>
          <p:nvPr>
            <p:ph type="sldNum" sz="quarter" idx="12"/>
          </p:nvPr>
        </p:nvSpPr>
        <p:spPr>
          <a:xfrm>
            <a:off x="5849433" y="6347414"/>
            <a:ext cx="2844800" cy="365125"/>
          </a:xfrm>
          <a:prstGeom prst="rect">
            <a:avLst/>
          </a:prstGeom>
        </p:spPr>
        <p:txBody>
          <a:bodyPr/>
          <a:lstStyle>
            <a:lvl1pPr>
              <a:defRPr sz="1200">
                <a:solidFill>
                  <a:schemeClr val="bg1">
                    <a:lumMod val="50000"/>
                  </a:schemeClr>
                </a:solidFill>
                <a:latin typeface="Arial" panose="020B0604020202020204" pitchFamily="34" charset="0"/>
                <a:cs typeface="Arial" panose="020B0604020202020204" pitchFamily="34" charset="0"/>
              </a:defRPr>
            </a:lvl1pPr>
          </a:lstStyle>
          <a:p>
            <a:fld id="{4F97D19A-1C53-4E4D-A9B2-17C15376BDE5}" type="slidenum">
              <a:rPr lang="nl-NL" smtClean="0"/>
              <a:pPr/>
              <a:t>‹nr.›</a:t>
            </a:fld>
            <a:endParaRPr lang="nl-NL"/>
          </a:p>
        </p:txBody>
      </p:sp>
      <p:sp>
        <p:nvSpPr>
          <p:cNvPr id="3" name="Rechthoek 2"/>
          <p:cNvSpPr/>
          <p:nvPr userDrawn="1"/>
        </p:nvSpPr>
        <p:spPr>
          <a:xfrm>
            <a:off x="9696893" y="6241313"/>
            <a:ext cx="808075" cy="480164"/>
          </a:xfrm>
          <a:prstGeom prst="rect">
            <a:avLst/>
          </a:prstGeom>
          <a:solidFill>
            <a:schemeClr val="bg1"/>
          </a:solidFill>
          <a:ln>
            <a:noFill/>
          </a:ln>
          <a:effectLst>
            <a:outerShdw blurRad="40000" dist="23000" dir="5400000" rotWithShape="0">
              <a:schemeClr val="bg1">
                <a:alpha val="35000"/>
              </a:scheme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600"/>
          </a:p>
        </p:txBody>
      </p:sp>
    </p:spTree>
    <p:extLst>
      <p:ext uri="{BB962C8B-B14F-4D97-AF65-F5344CB8AC3E}">
        <p14:creationId xmlns:p14="http://schemas.microsoft.com/office/powerpoint/2010/main" val="41531314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ussenslide B">
    <p:bg>
      <p:bgPr>
        <a:solidFill>
          <a:srgbClr val="C7E8F1"/>
        </a:solidFill>
        <a:effectLst/>
      </p:bgPr>
    </p:bg>
    <p:spTree>
      <p:nvGrpSpPr>
        <p:cNvPr id="1" name=""/>
        <p:cNvGrpSpPr/>
        <p:nvPr/>
      </p:nvGrpSpPr>
      <p:grpSpPr>
        <a:xfrm>
          <a:off x="0" y="0"/>
          <a:ext cx="0" cy="0"/>
          <a:chOff x="0" y="0"/>
          <a:chExt cx="0" cy="0"/>
        </a:xfrm>
      </p:grpSpPr>
      <p:sp>
        <p:nvSpPr>
          <p:cNvPr id="28" name="Vrije vorm 27">
            <a:extLst>
              <a:ext uri="{FF2B5EF4-FFF2-40B4-BE49-F238E27FC236}">
                <a16:creationId xmlns:a16="http://schemas.microsoft.com/office/drawing/2014/main" id="{8F95FB96-058A-27B1-D674-9DA6F48B6204}"/>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5" name="Tijdelijke aanduiding voor afbeelding 24">
            <a:extLst>
              <a:ext uri="{FF2B5EF4-FFF2-40B4-BE49-F238E27FC236}">
                <a16:creationId xmlns:a16="http://schemas.microsoft.com/office/drawing/2014/main" id="{DDA2CDC9-205A-EC99-A8B8-9F2D8B54B3FB}"/>
              </a:ext>
            </a:extLst>
          </p:cNvPr>
          <p:cNvSpPr>
            <a:spLocks noGrp="1"/>
          </p:cNvSpPr>
          <p:nvPr>
            <p:ph type="pic" sz="quarter" idx="13" hasCustomPrompt="1"/>
          </p:nvPr>
        </p:nvSpPr>
        <p:spPr>
          <a:xfrm>
            <a:off x="6546273" y="-1"/>
            <a:ext cx="5648824" cy="6858001"/>
          </a:xfrm>
          <a:custGeom>
            <a:avLst/>
            <a:gdLst>
              <a:gd name="connsiteX0" fmla="*/ 4066993 w 5648824"/>
              <a:gd name="connsiteY0" fmla="*/ 1 h 6858001"/>
              <a:gd name="connsiteX1" fmla="*/ 4060220 w 5648824"/>
              <a:gd name="connsiteY1" fmla="*/ 27738 h 6858001"/>
              <a:gd name="connsiteX2" fmla="*/ 4047385 w 5648824"/>
              <a:gd name="connsiteY2" fmla="*/ 187852 h 6858001"/>
              <a:gd name="connsiteX3" fmla="*/ 5041742 w 5648824"/>
              <a:gd name="connsiteY3" fmla="*/ 1182990 h 6858001"/>
              <a:gd name="connsiteX4" fmla="*/ 5513479 w 5648824"/>
              <a:gd name="connsiteY4" fmla="*/ 1064025 h 6858001"/>
              <a:gd name="connsiteX5" fmla="*/ 5645726 w 5648824"/>
              <a:gd name="connsiteY5" fmla="*/ 978236 h 6858001"/>
              <a:gd name="connsiteX6" fmla="*/ 5645726 w 5648824"/>
              <a:gd name="connsiteY6" fmla="*/ 1 h 6858001"/>
              <a:gd name="connsiteX7" fmla="*/ 6928 w 5648824"/>
              <a:gd name="connsiteY7" fmla="*/ 0 h 6858001"/>
              <a:gd name="connsiteX8" fmla="*/ 3456708 w 5648824"/>
              <a:gd name="connsiteY8" fmla="*/ 0 h 6858001"/>
              <a:gd name="connsiteX9" fmla="*/ 5640965 w 5648824"/>
              <a:gd name="connsiteY9" fmla="*/ 0 h 6858001"/>
              <a:gd name="connsiteX10" fmla="*/ 5645728 w 5648824"/>
              <a:gd name="connsiteY10" fmla="*/ 0 h 6858001"/>
              <a:gd name="connsiteX11" fmla="*/ 5645728 w 5648824"/>
              <a:gd name="connsiteY11" fmla="*/ 1 h 6858001"/>
              <a:gd name="connsiteX12" fmla="*/ 5648824 w 5648824"/>
              <a:gd name="connsiteY12" fmla="*/ 1 h 6858001"/>
              <a:gd name="connsiteX13" fmla="*/ 5648824 w 5648824"/>
              <a:gd name="connsiteY13" fmla="*/ 2216728 h 6858001"/>
              <a:gd name="connsiteX14" fmla="*/ 5645728 w 5648824"/>
              <a:gd name="connsiteY14" fmla="*/ 2216728 h 6858001"/>
              <a:gd name="connsiteX15" fmla="*/ 5645728 w 5648824"/>
              <a:gd name="connsiteY15" fmla="*/ 6858001 h 6858001"/>
              <a:gd name="connsiteX16" fmla="*/ 6928 w 5648824"/>
              <a:gd name="connsiteY16" fmla="*/ 6858001 h 6858001"/>
              <a:gd name="connsiteX17" fmla="*/ 6928 w 5648824"/>
              <a:gd name="connsiteY17" fmla="*/ 3692679 h 6858001"/>
              <a:gd name="connsiteX18" fmla="*/ 0 w 5648824"/>
              <a:gd name="connsiteY18" fmla="*/ 3672638 h 6858001"/>
              <a:gd name="connsiteX19" fmla="*/ 0 w 5648824"/>
              <a:gd name="connsiteY19" fmla="*/ 1 h 6858001"/>
              <a:gd name="connsiteX20" fmla="*/ 6928 w 5648824"/>
              <a:gd name="connsiteY20"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8824" h="6858001">
                <a:moveTo>
                  <a:pt x="4066993" y="1"/>
                </a:moveTo>
                <a:lnTo>
                  <a:pt x="4060220" y="27738"/>
                </a:lnTo>
                <a:cubicBezTo>
                  <a:pt x="4051779" y="79861"/>
                  <a:pt x="4047385" y="133342"/>
                  <a:pt x="4047385" y="187852"/>
                </a:cubicBezTo>
                <a:cubicBezTo>
                  <a:pt x="4047385" y="737452"/>
                  <a:pt x="4492574" y="1182990"/>
                  <a:pt x="5041742" y="1182990"/>
                </a:cubicBezTo>
                <a:cubicBezTo>
                  <a:pt x="5212467" y="1182990"/>
                  <a:pt x="5373117" y="1139900"/>
                  <a:pt x="5513479" y="1064025"/>
                </a:cubicBezTo>
                <a:lnTo>
                  <a:pt x="5645726" y="978236"/>
                </a:lnTo>
                <a:lnTo>
                  <a:pt x="5645726" y="1"/>
                </a:lnTo>
                <a:close/>
                <a:moveTo>
                  <a:pt x="6928" y="0"/>
                </a:moveTo>
                <a:lnTo>
                  <a:pt x="3456708" y="0"/>
                </a:lnTo>
                <a:lnTo>
                  <a:pt x="5640965" y="0"/>
                </a:lnTo>
                <a:lnTo>
                  <a:pt x="5645728" y="0"/>
                </a:lnTo>
                <a:lnTo>
                  <a:pt x="5645728" y="1"/>
                </a:lnTo>
                <a:lnTo>
                  <a:pt x="5648824" y="1"/>
                </a:lnTo>
                <a:lnTo>
                  <a:pt x="5648824" y="2216728"/>
                </a:lnTo>
                <a:lnTo>
                  <a:pt x="5645728" y="2216728"/>
                </a:lnTo>
                <a:lnTo>
                  <a:pt x="5645728" y="6858001"/>
                </a:lnTo>
                <a:lnTo>
                  <a:pt x="6928" y="6858001"/>
                </a:lnTo>
                <a:lnTo>
                  <a:pt x="6928" y="3692679"/>
                </a:lnTo>
                <a:lnTo>
                  <a:pt x="0" y="3672638"/>
                </a:lnTo>
                <a:lnTo>
                  <a:pt x="0" y="1"/>
                </a:lnTo>
                <a:lnTo>
                  <a:pt x="6928" y="1"/>
                </a:lnTo>
                <a:close/>
              </a:path>
            </a:pathLst>
          </a:custGeom>
          <a:solidFill>
            <a:srgbClr val="EFF2F5"/>
          </a:solidFill>
        </p:spPr>
        <p:txBody>
          <a:bodyPr wrap="square" anchor="ctr">
            <a:noAutofit/>
          </a:bodyPr>
          <a:lstStyle>
            <a:lvl1pPr marL="0" indent="0" algn="ctr">
              <a:buNone/>
              <a:defRPr sz="1400">
                <a:solidFill>
                  <a:schemeClr val="bg1"/>
                </a:solidFill>
              </a:defRPr>
            </a:lvl1pPr>
          </a:lstStyle>
          <a:p>
            <a:r>
              <a:rPr lang="nl-NL"/>
              <a:t>Voeg hier een afbeelding toe</a:t>
            </a:r>
          </a:p>
        </p:txBody>
      </p:sp>
      <p:sp>
        <p:nvSpPr>
          <p:cNvPr id="101" name="Vrije vorm 100">
            <a:extLst>
              <a:ext uri="{FF2B5EF4-FFF2-40B4-BE49-F238E27FC236}">
                <a16:creationId xmlns:a16="http://schemas.microsoft.com/office/drawing/2014/main" id="{E9FDC7F3-4971-DD2A-9A83-8816475A4011}"/>
              </a:ext>
            </a:extLst>
          </p:cNvPr>
          <p:cNvSpPr/>
          <p:nvPr userDrawn="1"/>
        </p:nvSpPr>
        <p:spPr>
          <a:xfrm>
            <a:off x="-1295504" y="4346916"/>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03" name="Vrije vorm 102">
            <a:extLst>
              <a:ext uri="{FF2B5EF4-FFF2-40B4-BE49-F238E27FC236}">
                <a16:creationId xmlns:a16="http://schemas.microsoft.com/office/drawing/2014/main" id="{29C92FC2-60FE-AC07-73E0-F055F9CE34A7}"/>
              </a:ext>
            </a:extLst>
          </p:cNvPr>
          <p:cNvSpPr/>
          <p:nvPr userDrawn="1"/>
        </p:nvSpPr>
        <p:spPr>
          <a:xfrm>
            <a:off x="4033019" y="-878032"/>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55" name="Graphic 10">
            <a:extLst>
              <a:ext uri="{FF2B5EF4-FFF2-40B4-BE49-F238E27FC236}">
                <a16:creationId xmlns:a16="http://schemas.microsoft.com/office/drawing/2014/main" id="{4B9C35A5-759B-2B9B-42BB-D65C14903E19}"/>
              </a:ext>
            </a:extLst>
          </p:cNvPr>
          <p:cNvGrpSpPr/>
          <p:nvPr userDrawn="1"/>
        </p:nvGrpSpPr>
        <p:grpSpPr>
          <a:xfrm>
            <a:off x="10903435" y="299495"/>
            <a:ext cx="1082602" cy="448481"/>
            <a:chOff x="10903435" y="299495"/>
            <a:chExt cx="1082602" cy="448481"/>
          </a:xfrm>
        </p:grpSpPr>
        <p:sp>
          <p:nvSpPr>
            <p:cNvPr id="56" name="Vrije vorm 55">
              <a:extLst>
                <a:ext uri="{FF2B5EF4-FFF2-40B4-BE49-F238E27FC236}">
                  <a16:creationId xmlns:a16="http://schemas.microsoft.com/office/drawing/2014/main" id="{E50A9EA1-E08C-FC9A-B2FC-C569A83F9EDB}"/>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57" name="Vrije vorm 56">
              <a:extLst>
                <a:ext uri="{FF2B5EF4-FFF2-40B4-BE49-F238E27FC236}">
                  <a16:creationId xmlns:a16="http://schemas.microsoft.com/office/drawing/2014/main" id="{9E73DC94-A893-612E-3E08-DC802E505F1C}"/>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58" name="Vrije vorm 57">
              <a:extLst>
                <a:ext uri="{FF2B5EF4-FFF2-40B4-BE49-F238E27FC236}">
                  <a16:creationId xmlns:a16="http://schemas.microsoft.com/office/drawing/2014/main" id="{B4CEBCA2-3AE5-D269-6564-ED9350E64367}"/>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59" name="Vrije vorm 58">
              <a:extLst>
                <a:ext uri="{FF2B5EF4-FFF2-40B4-BE49-F238E27FC236}">
                  <a16:creationId xmlns:a16="http://schemas.microsoft.com/office/drawing/2014/main" id="{B3F2B598-27B2-6E39-EF5C-90FE492A88F3}"/>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60" name="Vrije vorm 59">
              <a:extLst>
                <a:ext uri="{FF2B5EF4-FFF2-40B4-BE49-F238E27FC236}">
                  <a16:creationId xmlns:a16="http://schemas.microsoft.com/office/drawing/2014/main" id="{F0EEB757-C40E-3A7C-7EA4-321257854ED6}"/>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61" name="Vrije vorm 60">
              <a:extLst>
                <a:ext uri="{FF2B5EF4-FFF2-40B4-BE49-F238E27FC236}">
                  <a16:creationId xmlns:a16="http://schemas.microsoft.com/office/drawing/2014/main" id="{DF4E3D32-A7E5-C5EB-A56D-27F61B1AF724}"/>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62" name="Vrije vorm 61">
              <a:extLst>
                <a:ext uri="{FF2B5EF4-FFF2-40B4-BE49-F238E27FC236}">
                  <a16:creationId xmlns:a16="http://schemas.microsoft.com/office/drawing/2014/main" id="{7C78819C-F95F-1DB4-D596-CA0E84FC7F9F}"/>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63" name="Vrije vorm 62">
              <a:extLst>
                <a:ext uri="{FF2B5EF4-FFF2-40B4-BE49-F238E27FC236}">
                  <a16:creationId xmlns:a16="http://schemas.microsoft.com/office/drawing/2014/main" id="{D4D22AB5-2194-763B-9D28-26774316842D}"/>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64" name="Vrije vorm 63">
              <a:extLst>
                <a:ext uri="{FF2B5EF4-FFF2-40B4-BE49-F238E27FC236}">
                  <a16:creationId xmlns:a16="http://schemas.microsoft.com/office/drawing/2014/main" id="{7E6F465A-8DD2-A198-6EC9-D06FD5E38E48}"/>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65" name="Vrije vorm 64">
              <a:extLst>
                <a:ext uri="{FF2B5EF4-FFF2-40B4-BE49-F238E27FC236}">
                  <a16:creationId xmlns:a16="http://schemas.microsoft.com/office/drawing/2014/main" id="{AD984525-5B69-6C8B-5CC3-C384D6CB94CC}"/>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66" name="Vrije vorm 65">
              <a:extLst>
                <a:ext uri="{FF2B5EF4-FFF2-40B4-BE49-F238E27FC236}">
                  <a16:creationId xmlns:a16="http://schemas.microsoft.com/office/drawing/2014/main" id="{F4B02C1E-7555-114F-8E23-B260259F3395}"/>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67" name="Vrije vorm 66">
              <a:extLst>
                <a:ext uri="{FF2B5EF4-FFF2-40B4-BE49-F238E27FC236}">
                  <a16:creationId xmlns:a16="http://schemas.microsoft.com/office/drawing/2014/main" id="{3A1017EF-FA11-9BE1-7C76-46EA9583B969}"/>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
        <p:nvSpPr>
          <p:cNvPr id="4" name="Titel 1">
            <a:extLst>
              <a:ext uri="{FF2B5EF4-FFF2-40B4-BE49-F238E27FC236}">
                <a16:creationId xmlns:a16="http://schemas.microsoft.com/office/drawing/2014/main" id="{FB3E5DA4-69A6-215C-0AAC-BC56BE4D8BC9}"/>
              </a:ext>
            </a:extLst>
          </p:cNvPr>
          <p:cNvSpPr>
            <a:spLocks noGrp="1"/>
          </p:cNvSpPr>
          <p:nvPr>
            <p:ph type="title"/>
          </p:nvPr>
        </p:nvSpPr>
        <p:spPr>
          <a:xfrm>
            <a:off x="831850" y="1493535"/>
            <a:ext cx="5178492" cy="2852737"/>
          </a:xfrm>
        </p:spPr>
        <p:txBody>
          <a:bodyPr anchor="b">
            <a:normAutofit/>
          </a:bodyPr>
          <a:lstStyle>
            <a:lvl1pPr>
              <a:defRPr sz="4000" b="1">
                <a:solidFill>
                  <a:srgbClr val="002B5F"/>
                </a:solidFill>
              </a:defRPr>
            </a:lvl1pPr>
          </a:lstStyle>
          <a:p>
            <a:r>
              <a:rPr lang="nl-NL"/>
              <a:t>Klik om stijl te bewerken</a:t>
            </a:r>
          </a:p>
        </p:txBody>
      </p:sp>
    </p:spTree>
    <p:extLst>
      <p:ext uri="{BB962C8B-B14F-4D97-AF65-F5344CB8AC3E}">
        <p14:creationId xmlns:p14="http://schemas.microsoft.com/office/powerpoint/2010/main" val="2644256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10/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nr.›</a:t>
            </a:fld>
            <a:endParaRPr/>
          </a:p>
        </p:txBody>
      </p:sp>
    </p:spTree>
    <p:extLst>
      <p:ext uri="{BB962C8B-B14F-4D97-AF65-F5344CB8AC3E}">
        <p14:creationId xmlns:p14="http://schemas.microsoft.com/office/powerpoint/2010/main" val="6596073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1_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2406780-8386-8442-ACEC-EAD229810563}"/>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82492A36-45DC-5F47-910D-392D27798339}"/>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a:extLst>
              <a:ext uri="{FF2B5EF4-FFF2-40B4-BE49-F238E27FC236}">
                <a16:creationId xmlns:a16="http://schemas.microsoft.com/office/drawing/2014/main" id="{1DF68071-F9EE-4D4E-8766-17B391D957D5}"/>
              </a:ext>
            </a:extLst>
          </p:cNvPr>
          <p:cNvSpPr>
            <a:spLocks noGrp="1"/>
          </p:cNvSpPr>
          <p:nvPr>
            <p:ph type="dt" sz="half" idx="10"/>
          </p:nvPr>
        </p:nvSpPr>
        <p:spPr/>
        <p:txBody>
          <a:bodyPr/>
          <a:lstStyle/>
          <a:p>
            <a:fld id="{C547B15D-1FBF-EF4B-82D2-24CBC8004129}" type="datetimeFigureOut">
              <a:rPr lang="nl-NL" smtClean="0"/>
              <a:t>10-10-2023</a:t>
            </a:fld>
            <a:endParaRPr lang="nl-NL"/>
          </a:p>
        </p:txBody>
      </p:sp>
      <p:sp>
        <p:nvSpPr>
          <p:cNvPr id="5" name="Tijdelijke aanduiding voor voettekst 4">
            <a:extLst>
              <a:ext uri="{FF2B5EF4-FFF2-40B4-BE49-F238E27FC236}">
                <a16:creationId xmlns:a16="http://schemas.microsoft.com/office/drawing/2014/main" id="{15D663FE-A45B-C241-9B66-5DF511DE433C}"/>
              </a:ext>
            </a:extLst>
          </p:cNvPr>
          <p:cNvSpPr>
            <a:spLocks noGrp="1"/>
          </p:cNvSpPr>
          <p:nvPr>
            <p:ph type="ftr" sz="quarter" idx="11"/>
          </p:nvPr>
        </p:nvSpPr>
        <p:spPr/>
        <p:txBody>
          <a:bodyPr/>
          <a:lstStyle/>
          <a:p>
            <a:endParaRPr lang="nl-NL"/>
          </a:p>
        </p:txBody>
      </p:sp>
      <p:sp>
        <p:nvSpPr>
          <p:cNvPr id="6" name="Tijdelijke aanduiding voor dianummer 5">
            <a:extLst>
              <a:ext uri="{FF2B5EF4-FFF2-40B4-BE49-F238E27FC236}">
                <a16:creationId xmlns:a16="http://schemas.microsoft.com/office/drawing/2014/main" id="{E0A1DF59-8F35-054D-B365-0D5AC51087D8}"/>
              </a:ext>
            </a:extLst>
          </p:cNvPr>
          <p:cNvSpPr>
            <a:spLocks noGrp="1"/>
          </p:cNvSpPr>
          <p:nvPr>
            <p:ph type="sldNum" sz="quarter" idx="12"/>
          </p:nvPr>
        </p:nvSpPr>
        <p:spPr/>
        <p:txBody>
          <a:bodyPr/>
          <a:lstStyle/>
          <a:p>
            <a:fld id="{99D83788-C093-DF4F-B7B8-58042231DFB9}" type="slidenum">
              <a:rPr lang="nl-NL" smtClean="0"/>
              <a:t>‹nr.›</a:t>
            </a:fld>
            <a:endParaRPr lang="nl-NL"/>
          </a:p>
        </p:txBody>
      </p:sp>
    </p:spTree>
    <p:extLst>
      <p:ext uri="{BB962C8B-B14F-4D97-AF65-F5344CB8AC3E}">
        <p14:creationId xmlns:p14="http://schemas.microsoft.com/office/powerpoint/2010/main" val="2611533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eldia">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87987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Opsomming sheet">
    <p:spTree>
      <p:nvGrpSpPr>
        <p:cNvPr id="1" name=""/>
        <p:cNvGrpSpPr/>
        <p:nvPr/>
      </p:nvGrpSpPr>
      <p:grpSpPr>
        <a:xfrm>
          <a:off x="0" y="0"/>
          <a:ext cx="0" cy="0"/>
          <a:chOff x="0" y="0"/>
          <a:chExt cx="0" cy="0"/>
        </a:xfrm>
      </p:grpSpPr>
      <p:sp>
        <p:nvSpPr>
          <p:cNvPr id="2" name="Titel 1"/>
          <p:cNvSpPr txBox="1">
            <a:spLocks noGrp="1"/>
          </p:cNvSpPr>
          <p:nvPr>
            <p:ph type="title"/>
          </p:nvPr>
        </p:nvSpPr>
        <p:spPr/>
        <p:txBody>
          <a:bodyPr/>
          <a:lstStyle>
            <a:lvl1pPr>
              <a:defRPr b="1">
                <a:latin typeface="Calibri"/>
                <a:cs typeface="Calibri" pitchFamily="34"/>
              </a:defRPr>
            </a:lvl1pPr>
          </a:lstStyle>
          <a:p>
            <a:pPr lvl="0"/>
            <a:r>
              <a:rPr lang="nl-NL"/>
              <a:t>Titel sheet</a:t>
            </a:r>
          </a:p>
        </p:txBody>
      </p:sp>
      <p:sp>
        <p:nvSpPr>
          <p:cNvPr id="3" name="Tijdelijke aanduiding voor tekst 3"/>
          <p:cNvSpPr txBox="1">
            <a:spLocks noGrp="1"/>
          </p:cNvSpPr>
          <p:nvPr>
            <p:ph type="body" sz="quarter" idx="4294967295"/>
          </p:nvPr>
        </p:nvSpPr>
        <p:spPr>
          <a:xfrm>
            <a:off x="838203" y="2657474"/>
            <a:ext cx="4924428" cy="3724279"/>
          </a:xfrm>
          <a:prstGeom prst="rect">
            <a:avLst/>
          </a:prstGeom>
          <a:noFill/>
          <a:ln>
            <a:noFill/>
          </a:ln>
        </p:spPr>
        <p:txBody>
          <a:bodyPr vert="horz" wrap="square" lIns="91440" tIns="45720" rIns="91440" bIns="45720" anchor="t" anchorCtr="0" compatLnSpc="1">
            <a:noAutofit/>
          </a:bodyPr>
          <a:lstStyle>
            <a:lvl1pPr marL="0" marR="0" lvl="0" indent="0" fontAlgn="auto">
              <a:spcAft>
                <a:spcPts val="0"/>
              </a:spcAft>
              <a:buNone/>
              <a:tabLst/>
              <a:defRPr lang="nl-NL" b="0" i="0" u="none" strike="noStrike" cap="none" spc="0" baseline="0">
                <a:solidFill>
                  <a:srgbClr val="1E1E1E"/>
                </a:solidFill>
                <a:uFillTx/>
                <a:latin typeface="Calibri"/>
              </a:defRPr>
            </a:lvl1pPr>
            <a:lvl2pPr marL="0" marR="0" lvl="0" indent="0" fontAlgn="auto">
              <a:spcBef>
                <a:spcPts val="1000"/>
              </a:spcBef>
              <a:spcAft>
                <a:spcPts val="0"/>
              </a:spcAft>
              <a:buNone/>
              <a:tabLst/>
              <a:defRPr lang="nl-NL" sz="2800" b="0" i="0" u="none" strike="noStrike" cap="none" spc="0" baseline="0">
                <a:solidFill>
                  <a:srgbClr val="1E1E1E"/>
                </a:solidFill>
                <a:uFillTx/>
                <a:latin typeface="Calibri"/>
              </a:defRPr>
            </a:lvl2pPr>
            <a:lvl3pPr marL="0" marR="0" lvl="0" indent="0" fontAlgn="auto">
              <a:spcBef>
                <a:spcPts val="1000"/>
              </a:spcBef>
              <a:spcAft>
                <a:spcPts val="0"/>
              </a:spcAft>
              <a:buNone/>
              <a:tabLst/>
              <a:defRPr lang="nl-NL" sz="2800" b="0" i="0" u="none" strike="noStrike" cap="none" spc="0" baseline="0">
                <a:solidFill>
                  <a:srgbClr val="1E1E1E"/>
                </a:solidFill>
                <a:uFillTx/>
                <a:latin typeface="Calibri"/>
              </a:defRPr>
            </a:lvl3pPr>
            <a:lvl4pPr marL="0" marR="0" lvl="0" indent="0" fontAlgn="auto">
              <a:spcBef>
                <a:spcPts val="1000"/>
              </a:spcBef>
              <a:spcAft>
                <a:spcPts val="0"/>
              </a:spcAft>
              <a:buNone/>
              <a:tabLst/>
              <a:defRPr lang="nl-NL" sz="2800" b="0" i="0" u="none" strike="noStrike" cap="none" spc="0" baseline="0">
                <a:solidFill>
                  <a:srgbClr val="1E1E1E"/>
                </a:solidFill>
                <a:uFillTx/>
                <a:latin typeface="Calibri"/>
              </a:defRPr>
            </a:lvl4pPr>
          </a:lstStyle>
          <a:p>
            <a:pPr lvl="0"/>
            <a:r>
              <a:rPr lang="nl-NL"/>
              <a:t>Opsomming</a:t>
            </a:r>
            <a:br>
              <a:rPr lang="nl-NL"/>
            </a:br>
            <a:endParaRPr lang="nl-NL"/>
          </a:p>
          <a:p>
            <a:pPr lvl="0"/>
            <a:r>
              <a:rPr lang="nl-NL"/>
              <a:t>Opsomming</a:t>
            </a:r>
            <a:br>
              <a:rPr lang="nl-NL"/>
            </a:br>
            <a:endParaRPr lang="nl-NL"/>
          </a:p>
          <a:p>
            <a:pPr lvl="0"/>
            <a:r>
              <a:rPr lang="nl-NL"/>
              <a:t>Opsomming</a:t>
            </a:r>
            <a:br>
              <a:rPr lang="nl-NL"/>
            </a:br>
            <a:endParaRPr lang="nl-NL"/>
          </a:p>
          <a:p>
            <a:pPr lvl="0"/>
            <a:r>
              <a:rPr lang="nl-NL"/>
              <a:t>Opsomming</a:t>
            </a:r>
          </a:p>
        </p:txBody>
      </p:sp>
      <p:sp>
        <p:nvSpPr>
          <p:cNvPr id="4" name="Tijdelijke aanduiding voor tekst 4"/>
          <p:cNvSpPr txBox="1">
            <a:spLocks noGrp="1"/>
          </p:cNvSpPr>
          <p:nvPr>
            <p:ph type="body" sz="quarter" idx="4294967295"/>
          </p:nvPr>
        </p:nvSpPr>
        <p:spPr>
          <a:xfrm>
            <a:off x="6429375" y="2657474"/>
            <a:ext cx="4924419" cy="3724279"/>
          </a:xfrm>
          <a:prstGeom prst="rect">
            <a:avLst/>
          </a:prstGeom>
          <a:noFill/>
          <a:ln>
            <a:noFill/>
          </a:ln>
        </p:spPr>
        <p:txBody>
          <a:bodyPr vert="horz" wrap="square" lIns="91440" tIns="45720" rIns="91440" bIns="45720" anchor="t" anchorCtr="0" compatLnSpc="1">
            <a:noAutofit/>
          </a:bodyPr>
          <a:lstStyle>
            <a:lvl1pPr marL="0" marR="0" lvl="0" indent="0" fontAlgn="auto">
              <a:spcAft>
                <a:spcPts val="0"/>
              </a:spcAft>
              <a:buNone/>
              <a:tabLst/>
              <a:defRPr lang="nl-NL" b="0" i="0" u="none" strike="noStrike" cap="none" spc="0" baseline="0">
                <a:solidFill>
                  <a:srgbClr val="1E1E1E"/>
                </a:solidFill>
                <a:uFillTx/>
                <a:latin typeface="Calibri"/>
              </a:defRPr>
            </a:lvl1pPr>
            <a:lvl2pPr marL="0" marR="0" lvl="0" indent="0" fontAlgn="auto">
              <a:spcBef>
                <a:spcPts val="1000"/>
              </a:spcBef>
              <a:spcAft>
                <a:spcPts val="0"/>
              </a:spcAft>
              <a:buNone/>
              <a:tabLst/>
              <a:defRPr lang="nl-NL" sz="2800" b="0" i="0" u="none" strike="noStrike" cap="none" spc="0" baseline="0">
                <a:solidFill>
                  <a:srgbClr val="1E1E1E"/>
                </a:solidFill>
                <a:uFillTx/>
                <a:latin typeface="Calibri"/>
              </a:defRPr>
            </a:lvl2pPr>
            <a:lvl3pPr marL="0" marR="0" lvl="0" indent="0" fontAlgn="auto">
              <a:spcBef>
                <a:spcPts val="1000"/>
              </a:spcBef>
              <a:spcAft>
                <a:spcPts val="0"/>
              </a:spcAft>
              <a:buNone/>
              <a:tabLst/>
              <a:defRPr lang="nl-NL" sz="2800" b="0" i="0" u="none" strike="noStrike" cap="none" spc="0" baseline="0">
                <a:solidFill>
                  <a:srgbClr val="1E1E1E"/>
                </a:solidFill>
                <a:uFillTx/>
                <a:latin typeface="Calibri"/>
              </a:defRPr>
            </a:lvl3pPr>
            <a:lvl4pPr marL="0" marR="0" lvl="0" indent="0" fontAlgn="auto">
              <a:spcBef>
                <a:spcPts val="1000"/>
              </a:spcBef>
              <a:spcAft>
                <a:spcPts val="0"/>
              </a:spcAft>
              <a:buNone/>
              <a:tabLst/>
              <a:defRPr lang="nl-NL" sz="2800" b="0" i="0" u="none" strike="noStrike" cap="none" spc="0" baseline="0">
                <a:solidFill>
                  <a:srgbClr val="1E1E1E"/>
                </a:solidFill>
                <a:uFillTx/>
                <a:latin typeface="Calibri"/>
              </a:defRPr>
            </a:lvl4pPr>
            <a:lvl5pPr marL="0" marR="0" lvl="0" indent="0" fontAlgn="auto">
              <a:spcBef>
                <a:spcPts val="1000"/>
              </a:spcBef>
              <a:spcAft>
                <a:spcPts val="0"/>
              </a:spcAft>
              <a:buNone/>
              <a:tabLst/>
              <a:defRPr lang="nl-NL" sz="2800" b="0" i="0" u="none" strike="noStrike" cap="none" spc="0" baseline="0">
                <a:solidFill>
                  <a:srgbClr val="1E1E1E"/>
                </a:solidFill>
                <a:uFillTx/>
                <a:latin typeface="Calibri"/>
              </a:defRPr>
            </a:lvl5pPr>
          </a:lstStyle>
          <a:p>
            <a:pPr lvl="0"/>
            <a:r>
              <a:rPr lang="nl-NL"/>
              <a:t>Opsomming</a:t>
            </a:r>
            <a:br>
              <a:rPr lang="nl-NL"/>
            </a:br>
            <a:endParaRPr lang="nl-NL"/>
          </a:p>
          <a:p>
            <a:pPr lvl="0"/>
            <a:r>
              <a:rPr lang="nl-NL"/>
              <a:t>Opsomming</a:t>
            </a:r>
            <a:br>
              <a:rPr lang="nl-NL"/>
            </a:br>
            <a:endParaRPr lang="nl-NL"/>
          </a:p>
          <a:p>
            <a:pPr lvl="0"/>
            <a:r>
              <a:rPr lang="nl-NL"/>
              <a:t>Opsomming</a:t>
            </a:r>
            <a:br>
              <a:rPr lang="nl-NL"/>
            </a:br>
            <a:endParaRPr lang="nl-NL"/>
          </a:p>
          <a:p>
            <a:pPr lvl="0"/>
            <a:r>
              <a:rPr lang="nl-NL"/>
              <a:t>Opsomming</a:t>
            </a:r>
          </a:p>
          <a:p>
            <a:pPr lvl="0"/>
            <a:endParaRPr lang="nl-NL"/>
          </a:p>
        </p:txBody>
      </p:sp>
    </p:spTree>
    <p:extLst>
      <p:ext uri="{BB962C8B-B14F-4D97-AF65-F5344CB8AC3E}">
        <p14:creationId xmlns:p14="http://schemas.microsoft.com/office/powerpoint/2010/main" val="1674894303"/>
      </p:ext>
    </p:extLst>
  </p:cSld>
  <p:clrMapOvr>
    <a:masterClrMapping/>
  </p:clrMapOvr>
  <p:hf sldNum="0"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obj">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nl-BE"/>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nl-BE"/>
          </a:p>
        </p:txBody>
      </p:sp>
      <p:sp>
        <p:nvSpPr>
          <p:cNvPr id="4" name="Rectangle 7">
            <a:extLst>
              <a:ext uri="{FF2B5EF4-FFF2-40B4-BE49-F238E27FC236}">
                <a16:creationId xmlns:a16="http://schemas.microsoft.com/office/drawing/2014/main" id="{F6E62D33-D80C-42FD-A921-D8CFDEE0C101}"/>
              </a:ext>
            </a:extLst>
          </p:cNvPr>
          <p:cNvSpPr>
            <a:spLocks noGrp="1" noChangeArrowheads="1"/>
          </p:cNvSpPr>
          <p:nvPr>
            <p:ph type="dt" sz="half" idx="10"/>
          </p:nvPr>
        </p:nvSpPr>
        <p:spPr/>
        <p:txBody>
          <a:bodyPr/>
          <a:lstStyle>
            <a:lvl1pPr>
              <a:defRPr/>
            </a:lvl1pPr>
          </a:lstStyle>
          <a:p>
            <a:pPr>
              <a:defRPr/>
            </a:pPr>
            <a:endParaRPr lang="nl-NL"/>
          </a:p>
        </p:txBody>
      </p:sp>
      <p:sp>
        <p:nvSpPr>
          <p:cNvPr id="5" name="Rectangle 8">
            <a:extLst>
              <a:ext uri="{FF2B5EF4-FFF2-40B4-BE49-F238E27FC236}">
                <a16:creationId xmlns:a16="http://schemas.microsoft.com/office/drawing/2014/main" id="{D46CD732-5541-4C72-A59A-0E93523BD78E}"/>
              </a:ext>
            </a:extLst>
          </p:cNvPr>
          <p:cNvSpPr>
            <a:spLocks noGrp="1" noChangeArrowheads="1"/>
          </p:cNvSpPr>
          <p:nvPr>
            <p:ph type="ftr" sz="quarter" idx="11"/>
          </p:nvPr>
        </p:nvSpPr>
        <p:spPr/>
        <p:txBody>
          <a:bodyPr/>
          <a:lstStyle>
            <a:lvl1pPr>
              <a:defRPr/>
            </a:lvl1pPr>
          </a:lstStyle>
          <a:p>
            <a:pPr>
              <a:defRPr/>
            </a:pPr>
            <a:endParaRPr lang="nl-NL"/>
          </a:p>
        </p:txBody>
      </p:sp>
      <p:sp>
        <p:nvSpPr>
          <p:cNvPr id="6" name="Rectangle 9">
            <a:extLst>
              <a:ext uri="{FF2B5EF4-FFF2-40B4-BE49-F238E27FC236}">
                <a16:creationId xmlns:a16="http://schemas.microsoft.com/office/drawing/2014/main" id="{08773BE3-F32A-4EED-B257-289CED27B428}"/>
              </a:ext>
            </a:extLst>
          </p:cNvPr>
          <p:cNvSpPr>
            <a:spLocks noGrp="1" noChangeArrowheads="1"/>
          </p:cNvSpPr>
          <p:nvPr>
            <p:ph type="sldNum" sz="quarter" idx="12"/>
          </p:nvPr>
        </p:nvSpPr>
        <p:spPr/>
        <p:txBody>
          <a:bodyPr/>
          <a:lstStyle>
            <a:lvl1pPr>
              <a:defRPr/>
            </a:lvl1pPr>
          </a:lstStyle>
          <a:p>
            <a:pPr>
              <a:defRPr/>
            </a:pPr>
            <a:fld id="{A1AB8FDA-464A-4CD2-B704-AE060A1C2A6E}" type="slidenum">
              <a:rPr lang="nl-NL" altLang="en-US"/>
              <a:pPr>
                <a:defRPr/>
              </a:pPr>
              <a:t>‹nr.›</a:t>
            </a:fld>
            <a:endParaRPr lang="nl-NL" altLang="en-US"/>
          </a:p>
        </p:txBody>
      </p:sp>
    </p:spTree>
    <p:extLst>
      <p:ext uri="{BB962C8B-B14F-4D97-AF65-F5344CB8AC3E}">
        <p14:creationId xmlns:p14="http://schemas.microsoft.com/office/powerpoint/2010/main" val="25086704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4379E938-B9EF-44BC-B203-FFE469D92E9B}"/>
              </a:ext>
            </a:extLst>
          </p:cNvPr>
          <p:cNvSpPr>
            <a:spLocks noGrp="1"/>
          </p:cNvSpPr>
          <p:nvPr>
            <p:ph type="dt" sz="half" idx="10"/>
          </p:nvPr>
        </p:nvSpPr>
        <p:spPr/>
        <p:txBody>
          <a:bodyPr/>
          <a:lstStyle>
            <a:lvl1pPr>
              <a:defRPr/>
            </a:lvl1pPr>
          </a:lstStyle>
          <a:p>
            <a:pPr>
              <a:defRPr/>
            </a:pPr>
            <a:fld id="{8F569F9D-7AE9-4D39-A575-6F4FF517BF99}" type="datetimeFigureOut">
              <a:rPr lang="en-US"/>
              <a:pPr>
                <a:defRPr/>
              </a:pPr>
              <a:t>10/10/2023</a:t>
            </a:fld>
            <a:endParaRPr lang="en-US"/>
          </a:p>
        </p:txBody>
      </p:sp>
      <p:sp>
        <p:nvSpPr>
          <p:cNvPr id="5" name="Footer Placeholder 4">
            <a:extLst>
              <a:ext uri="{FF2B5EF4-FFF2-40B4-BE49-F238E27FC236}">
                <a16:creationId xmlns:a16="http://schemas.microsoft.com/office/drawing/2014/main" id="{9A58EDBA-0638-4FFA-85E0-B716BE4CD78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11CD4D86-0769-448D-AE8E-E0369FEDC1FC}"/>
              </a:ext>
            </a:extLst>
          </p:cNvPr>
          <p:cNvSpPr>
            <a:spLocks noGrp="1"/>
          </p:cNvSpPr>
          <p:nvPr>
            <p:ph type="sldNum" sz="quarter" idx="12"/>
          </p:nvPr>
        </p:nvSpPr>
        <p:spPr/>
        <p:txBody>
          <a:bodyPr/>
          <a:lstStyle>
            <a:lvl1pPr>
              <a:defRPr/>
            </a:lvl1pPr>
          </a:lstStyle>
          <a:p>
            <a:pPr>
              <a:defRPr/>
            </a:pPr>
            <a:fld id="{C60E8E82-D71E-4B9F-BDC3-D75723DE54BF}" type="slidenum">
              <a:rPr lang="en-US"/>
              <a:pPr>
                <a:defRPr/>
              </a:pPr>
              <a:t>‹nr.›</a:t>
            </a:fld>
            <a:endParaRPr lang="en-US"/>
          </a:p>
        </p:txBody>
      </p:sp>
    </p:spTree>
    <p:extLst>
      <p:ext uri="{BB962C8B-B14F-4D97-AF65-F5344CB8AC3E}">
        <p14:creationId xmlns:p14="http://schemas.microsoft.com/office/powerpoint/2010/main" val="24136796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78638C-D794-47AF-BE65-A06A91FFA273}"/>
              </a:ext>
            </a:extLst>
          </p:cNvPr>
          <p:cNvSpPr>
            <a:spLocks noGrp="1"/>
          </p:cNvSpPr>
          <p:nvPr>
            <p:ph type="dt" sz="half" idx="10"/>
          </p:nvPr>
        </p:nvSpPr>
        <p:spPr/>
        <p:txBody>
          <a:bodyPr/>
          <a:lstStyle/>
          <a:p>
            <a:fld id="{82585BC7-C0BD-49A1-8D05-309040419B1C}" type="datetimeFigureOut">
              <a:rPr lang="en-US" smtClean="0"/>
              <a:t>10/10/2023</a:t>
            </a:fld>
            <a:endParaRPr lang="en-US"/>
          </a:p>
        </p:txBody>
      </p:sp>
      <p:sp>
        <p:nvSpPr>
          <p:cNvPr id="3" name="Footer Placeholder 2">
            <a:extLst>
              <a:ext uri="{FF2B5EF4-FFF2-40B4-BE49-F238E27FC236}">
                <a16:creationId xmlns:a16="http://schemas.microsoft.com/office/drawing/2014/main" id="{4DD5D90A-398B-47E5-80ED-7EBB25B955E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4FFA4BE-7D79-4235-AF1E-A879BCFE11DB}"/>
              </a:ext>
            </a:extLst>
          </p:cNvPr>
          <p:cNvSpPr>
            <a:spLocks noGrp="1"/>
          </p:cNvSpPr>
          <p:nvPr>
            <p:ph type="sldNum" sz="quarter" idx="12"/>
          </p:nvPr>
        </p:nvSpPr>
        <p:spPr/>
        <p:txBody>
          <a:bodyPr/>
          <a:lstStyle/>
          <a:p>
            <a:fld id="{85C6585F-44D6-44EF-932A-0B0AFC9A8A7D}" type="slidenum">
              <a:rPr lang="en-US" smtClean="0"/>
              <a:t>‹nr.›</a:t>
            </a:fld>
            <a:endParaRPr lang="en-US"/>
          </a:p>
        </p:txBody>
      </p:sp>
    </p:spTree>
    <p:extLst>
      <p:ext uri="{BB962C8B-B14F-4D97-AF65-F5344CB8AC3E}">
        <p14:creationId xmlns:p14="http://schemas.microsoft.com/office/powerpoint/2010/main" val="24509125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eldia">
    <p:spTree>
      <p:nvGrpSpPr>
        <p:cNvPr id="1" name=""/>
        <p:cNvGrpSpPr/>
        <p:nvPr/>
      </p:nvGrpSpPr>
      <p:grpSpPr>
        <a:xfrm>
          <a:off x="0" y="0"/>
          <a:ext cx="0" cy="0"/>
          <a:chOff x="0" y="0"/>
          <a:chExt cx="0" cy="0"/>
        </a:xfrm>
      </p:grpSpPr>
      <p:sp>
        <p:nvSpPr>
          <p:cNvPr id="4" name="Tijdelijke aanduiding voor datum 3"/>
          <p:cNvSpPr>
            <a:spLocks noGrp="1"/>
          </p:cNvSpPr>
          <p:nvPr>
            <p:ph type="dt" sz="half" idx="10"/>
          </p:nvPr>
        </p:nvSpPr>
        <p:spPr>
          <a:xfrm>
            <a:off x="609600" y="6356352"/>
            <a:ext cx="2844800" cy="365125"/>
          </a:xfrm>
          <a:prstGeom prst="rect">
            <a:avLst/>
          </a:prstGeom>
        </p:spPr>
        <p:txBody>
          <a:bodyPr/>
          <a:lstStyle>
            <a:lvl1pPr>
              <a:defRPr sz="1200">
                <a:solidFill>
                  <a:schemeClr val="bg1">
                    <a:lumMod val="50000"/>
                  </a:schemeClr>
                </a:solidFill>
                <a:latin typeface="Arial" panose="020B0604020202020204" pitchFamily="34" charset="0"/>
                <a:cs typeface="Arial" panose="020B0604020202020204" pitchFamily="34" charset="0"/>
              </a:defRPr>
            </a:lvl1pPr>
          </a:lstStyle>
          <a:p>
            <a:fld id="{12D7DCD4-3696-4AAA-BD38-9DAA87F760F5}" type="datetime1">
              <a:rPr lang="nl-NL" smtClean="0"/>
              <a:t>10-10-2023</a:t>
            </a:fld>
            <a:endParaRPr lang="nl-NL"/>
          </a:p>
        </p:txBody>
      </p:sp>
      <p:sp>
        <p:nvSpPr>
          <p:cNvPr id="6" name="Tijdelijke aanduiding voor dianummer 3"/>
          <p:cNvSpPr>
            <a:spLocks noGrp="1"/>
          </p:cNvSpPr>
          <p:nvPr>
            <p:ph type="sldNum" sz="quarter" idx="12"/>
          </p:nvPr>
        </p:nvSpPr>
        <p:spPr>
          <a:xfrm>
            <a:off x="5849433" y="6347414"/>
            <a:ext cx="2844800" cy="365125"/>
          </a:xfrm>
          <a:prstGeom prst="rect">
            <a:avLst/>
          </a:prstGeom>
        </p:spPr>
        <p:txBody>
          <a:bodyPr/>
          <a:lstStyle>
            <a:lvl1pPr>
              <a:defRPr sz="1200">
                <a:solidFill>
                  <a:schemeClr val="bg1">
                    <a:lumMod val="50000"/>
                  </a:schemeClr>
                </a:solidFill>
                <a:latin typeface="Arial" panose="020B0604020202020204" pitchFamily="34" charset="0"/>
                <a:cs typeface="Arial" panose="020B0604020202020204" pitchFamily="34" charset="0"/>
              </a:defRPr>
            </a:lvl1pPr>
          </a:lstStyle>
          <a:p>
            <a:fld id="{4F97D19A-1C53-4E4D-A9B2-17C15376BDE5}" type="slidenum">
              <a:rPr lang="nl-NL" smtClean="0"/>
              <a:pPr/>
              <a:t>‹nr.›</a:t>
            </a:fld>
            <a:endParaRPr lang="nl-NL"/>
          </a:p>
        </p:txBody>
      </p:sp>
      <p:sp>
        <p:nvSpPr>
          <p:cNvPr id="10" name="Tijdelijke aanduiding voor tekst 22"/>
          <p:cNvSpPr>
            <a:spLocks noGrp="1"/>
          </p:cNvSpPr>
          <p:nvPr>
            <p:ph type="body" sz="quarter" idx="13" hasCustomPrompt="1"/>
          </p:nvPr>
        </p:nvSpPr>
        <p:spPr>
          <a:xfrm>
            <a:off x="1077118" y="883197"/>
            <a:ext cx="10094159" cy="594721"/>
          </a:xfrm>
        </p:spPr>
        <p:txBody>
          <a:bodyPr/>
          <a:lstStyle>
            <a:lvl1pPr marL="0" indent="0">
              <a:buFont typeface="Arial" panose="020B0604020202020204" pitchFamily="34" charset="0"/>
              <a:buNone/>
              <a:defRPr sz="3600" b="0">
                <a:solidFill>
                  <a:srgbClr val="0065B1"/>
                </a:solidFill>
                <a:latin typeface="Arial" panose="020B0604020202020204" pitchFamily="34" charset="0"/>
                <a:cs typeface="Arial" panose="020B0604020202020204" pitchFamily="34" charset="0"/>
              </a:defRPr>
            </a:lvl1pPr>
          </a:lstStyle>
          <a:p>
            <a:pPr lvl="0"/>
            <a:r>
              <a:rPr lang="nl-NL"/>
              <a:t>Titel (</a:t>
            </a:r>
            <a:r>
              <a:rPr lang="nl-NL" err="1"/>
              <a:t>Arial</a:t>
            </a:r>
            <a:r>
              <a:rPr lang="nl-NL"/>
              <a:t> 36)</a:t>
            </a:r>
          </a:p>
          <a:p>
            <a:pPr lvl="0"/>
            <a:endParaRPr lang="nl-NL"/>
          </a:p>
          <a:p>
            <a:pPr lvl="0"/>
            <a:endParaRPr lang="nl-NL"/>
          </a:p>
          <a:p>
            <a:pPr lvl="0"/>
            <a:endParaRPr lang="nl-NL"/>
          </a:p>
        </p:txBody>
      </p:sp>
      <p:sp>
        <p:nvSpPr>
          <p:cNvPr id="11" name="Tijdelijke aanduiding voor tekst 22"/>
          <p:cNvSpPr>
            <a:spLocks noGrp="1"/>
          </p:cNvSpPr>
          <p:nvPr>
            <p:ph type="body" sz="quarter" idx="14" hasCustomPrompt="1"/>
          </p:nvPr>
        </p:nvSpPr>
        <p:spPr>
          <a:xfrm>
            <a:off x="1077118" y="1631011"/>
            <a:ext cx="10094159" cy="4025511"/>
          </a:xfrm>
        </p:spPr>
        <p:txBody>
          <a:bodyPr/>
          <a:lstStyle>
            <a:lvl1pPr marL="457189" marR="0" indent="-457189" algn="l" defTabSz="457189" rtl="0" eaLnBrk="1" fontAlgn="auto" latinLnBrk="0" hangingPunct="1">
              <a:lnSpc>
                <a:spcPct val="100000"/>
              </a:lnSpc>
              <a:spcBef>
                <a:spcPct val="20000"/>
              </a:spcBef>
              <a:spcAft>
                <a:spcPts val="0"/>
              </a:spcAft>
              <a:buClrTx/>
              <a:buSzTx/>
              <a:buFont typeface="Arial" panose="020B0604020202020204" pitchFamily="34" charset="0"/>
              <a:buChar char="•"/>
              <a:tabLst/>
              <a:defRPr sz="3000" b="0">
                <a:solidFill>
                  <a:srgbClr val="8F8F8F"/>
                </a:solidFill>
                <a:latin typeface="Arial" panose="020B0604020202020204" pitchFamily="34" charset="0"/>
                <a:cs typeface="Arial" panose="020B0604020202020204" pitchFamily="34" charset="0"/>
              </a:defRPr>
            </a:lvl1pPr>
          </a:lstStyle>
          <a:p>
            <a:pPr lvl="0"/>
            <a:r>
              <a:rPr lang="nl-NL"/>
              <a:t>Titel (</a:t>
            </a:r>
            <a:r>
              <a:rPr lang="nl-NL" err="1"/>
              <a:t>Arial</a:t>
            </a:r>
            <a:r>
              <a:rPr lang="nl-NL"/>
              <a:t> 30)</a:t>
            </a:r>
          </a:p>
          <a:p>
            <a:pPr lvl="0"/>
            <a:endParaRPr lang="nl-NL"/>
          </a:p>
          <a:p>
            <a:pPr marL="457189" marR="0" lvl="0" indent="-457189" algn="l" defTabSz="457189"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nl-NL"/>
              <a:t>Titel (</a:t>
            </a:r>
            <a:r>
              <a:rPr lang="nl-NL" err="1"/>
              <a:t>Arial</a:t>
            </a:r>
            <a:r>
              <a:rPr lang="nl-NL"/>
              <a:t> 30)</a:t>
            </a:r>
          </a:p>
          <a:p>
            <a:pPr lvl="0"/>
            <a:endParaRPr lang="nl-NL"/>
          </a:p>
          <a:p>
            <a:pPr marL="457189" marR="0" lvl="0" indent="-457189" algn="l" defTabSz="457189"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nl-NL"/>
              <a:t>Titel (</a:t>
            </a:r>
            <a:r>
              <a:rPr lang="nl-NL" err="1"/>
              <a:t>Arial</a:t>
            </a:r>
            <a:r>
              <a:rPr lang="nl-NL"/>
              <a:t> 30)</a:t>
            </a:r>
          </a:p>
          <a:p>
            <a:pPr lvl="0"/>
            <a:endParaRPr lang="nl-NL"/>
          </a:p>
          <a:p>
            <a:pPr lvl="0"/>
            <a:endParaRPr lang="nl-NL"/>
          </a:p>
          <a:p>
            <a:pPr lvl="0"/>
            <a:endParaRPr lang="nl-NL"/>
          </a:p>
          <a:p>
            <a:pPr lvl="0"/>
            <a:endParaRPr lang="nl-NL"/>
          </a:p>
          <a:p>
            <a:pPr lvl="0"/>
            <a:endParaRPr lang="nl-NL"/>
          </a:p>
        </p:txBody>
      </p:sp>
      <p:pic>
        <p:nvPicPr>
          <p:cNvPr id="7" name="Afbeelding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58940" y="608875"/>
            <a:ext cx="2268280" cy="705571"/>
          </a:xfrm>
          <a:prstGeom prst="rect">
            <a:avLst/>
          </a:prstGeom>
        </p:spPr>
      </p:pic>
      <p:sp>
        <p:nvSpPr>
          <p:cNvPr id="8" name="Rechthoek 7"/>
          <p:cNvSpPr/>
          <p:nvPr userDrawn="1"/>
        </p:nvSpPr>
        <p:spPr>
          <a:xfrm>
            <a:off x="10561675" y="6230680"/>
            <a:ext cx="1275907" cy="49079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l-NL" sz="1600"/>
          </a:p>
        </p:txBody>
      </p:sp>
    </p:spTree>
    <p:extLst>
      <p:ext uri="{BB962C8B-B14F-4D97-AF65-F5344CB8AC3E}">
        <p14:creationId xmlns:p14="http://schemas.microsoft.com/office/powerpoint/2010/main" val="4309569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ussenslide C">
    <p:bg>
      <p:bgPr>
        <a:solidFill>
          <a:srgbClr val="C7E8F1"/>
        </a:solidFill>
        <a:effectLst/>
      </p:bgPr>
    </p:bg>
    <p:spTree>
      <p:nvGrpSpPr>
        <p:cNvPr id="1" name=""/>
        <p:cNvGrpSpPr/>
        <p:nvPr/>
      </p:nvGrpSpPr>
      <p:grpSpPr>
        <a:xfrm>
          <a:off x="0" y="0"/>
          <a:ext cx="0" cy="0"/>
          <a:chOff x="0" y="0"/>
          <a:chExt cx="0" cy="0"/>
        </a:xfrm>
      </p:grpSpPr>
      <p:sp>
        <p:nvSpPr>
          <p:cNvPr id="9" name="Tijdelijke aanduiding voor afbeelding 8">
            <a:extLst>
              <a:ext uri="{FF2B5EF4-FFF2-40B4-BE49-F238E27FC236}">
                <a16:creationId xmlns:a16="http://schemas.microsoft.com/office/drawing/2014/main" id="{FA42F229-9366-9D65-AACA-D12796C0F505}"/>
              </a:ext>
            </a:extLst>
          </p:cNvPr>
          <p:cNvSpPr>
            <a:spLocks noGrp="1"/>
          </p:cNvSpPr>
          <p:nvPr>
            <p:ph type="pic" sz="quarter" idx="13" hasCustomPrompt="1"/>
          </p:nvPr>
        </p:nvSpPr>
        <p:spPr>
          <a:xfrm>
            <a:off x="0" y="-1"/>
            <a:ext cx="5648824" cy="6858001"/>
          </a:xfrm>
          <a:custGeom>
            <a:avLst/>
            <a:gdLst>
              <a:gd name="connsiteX0" fmla="*/ 6928 w 5648824"/>
              <a:gd name="connsiteY0" fmla="*/ 0 h 6858001"/>
              <a:gd name="connsiteX1" fmla="*/ 2526164 w 5648824"/>
              <a:gd name="connsiteY1" fmla="*/ 0 h 6858001"/>
              <a:gd name="connsiteX2" fmla="*/ 3456708 w 5648824"/>
              <a:gd name="connsiteY2" fmla="*/ 0 h 6858001"/>
              <a:gd name="connsiteX3" fmla="*/ 5640965 w 5648824"/>
              <a:gd name="connsiteY3" fmla="*/ 0 h 6858001"/>
              <a:gd name="connsiteX4" fmla="*/ 5645728 w 5648824"/>
              <a:gd name="connsiteY4" fmla="*/ 0 h 6858001"/>
              <a:gd name="connsiteX5" fmla="*/ 5648824 w 5648824"/>
              <a:gd name="connsiteY5" fmla="*/ 0 h 6858001"/>
              <a:gd name="connsiteX6" fmla="*/ 5648824 w 5648824"/>
              <a:gd name="connsiteY6" fmla="*/ 1 h 6858001"/>
              <a:gd name="connsiteX7" fmla="*/ 5648824 w 5648824"/>
              <a:gd name="connsiteY7" fmla="*/ 2216728 h 6858001"/>
              <a:gd name="connsiteX8" fmla="*/ 5648824 w 5648824"/>
              <a:gd name="connsiteY8" fmla="*/ 3246121 h 6858001"/>
              <a:gd name="connsiteX9" fmla="*/ 5645728 w 5648824"/>
              <a:gd name="connsiteY9" fmla="*/ 3246121 h 6858001"/>
              <a:gd name="connsiteX10" fmla="*/ 5645728 w 5648824"/>
              <a:gd name="connsiteY10" fmla="*/ 6858001 h 6858001"/>
              <a:gd name="connsiteX11" fmla="*/ 6928 w 5648824"/>
              <a:gd name="connsiteY11" fmla="*/ 6858001 h 6858001"/>
              <a:gd name="connsiteX12" fmla="*/ 6928 w 5648824"/>
              <a:gd name="connsiteY12" fmla="*/ 3692679 h 6858001"/>
              <a:gd name="connsiteX13" fmla="*/ 0 w 5648824"/>
              <a:gd name="connsiteY13" fmla="*/ 3672638 h 6858001"/>
              <a:gd name="connsiteX14" fmla="*/ 0 w 5648824"/>
              <a:gd name="connsiteY14" fmla="*/ 1 h 6858001"/>
              <a:gd name="connsiteX15" fmla="*/ 6928 w 5648824"/>
              <a:gd name="connsiteY15" fmla="*/ 1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48824" h="6858001">
                <a:moveTo>
                  <a:pt x="6928" y="0"/>
                </a:moveTo>
                <a:lnTo>
                  <a:pt x="2526164" y="0"/>
                </a:lnTo>
                <a:lnTo>
                  <a:pt x="3456708" y="0"/>
                </a:lnTo>
                <a:lnTo>
                  <a:pt x="5640965" y="0"/>
                </a:lnTo>
                <a:lnTo>
                  <a:pt x="5645728" y="0"/>
                </a:lnTo>
                <a:lnTo>
                  <a:pt x="5648824" y="0"/>
                </a:lnTo>
                <a:lnTo>
                  <a:pt x="5648824" y="1"/>
                </a:lnTo>
                <a:lnTo>
                  <a:pt x="5648824" y="2216728"/>
                </a:lnTo>
                <a:lnTo>
                  <a:pt x="5648824" y="3246121"/>
                </a:lnTo>
                <a:lnTo>
                  <a:pt x="5645728" y="3246121"/>
                </a:lnTo>
                <a:lnTo>
                  <a:pt x="5645728" y="6858001"/>
                </a:lnTo>
                <a:lnTo>
                  <a:pt x="6928" y="6858001"/>
                </a:lnTo>
                <a:lnTo>
                  <a:pt x="6928" y="3692679"/>
                </a:lnTo>
                <a:lnTo>
                  <a:pt x="0" y="3672638"/>
                </a:lnTo>
                <a:lnTo>
                  <a:pt x="0" y="1"/>
                </a:lnTo>
                <a:lnTo>
                  <a:pt x="6928" y="1"/>
                </a:lnTo>
                <a:close/>
              </a:path>
            </a:pathLst>
          </a:custGeom>
          <a:solidFill>
            <a:srgbClr val="EFF2F5"/>
          </a:solidFill>
        </p:spPr>
        <p:txBody>
          <a:bodyPr wrap="square" anchor="ctr">
            <a:noAutofit/>
          </a:bodyPr>
          <a:lstStyle>
            <a:lvl1pPr marL="0" indent="0" algn="ctr">
              <a:buNone/>
              <a:defRPr sz="1400">
                <a:solidFill>
                  <a:schemeClr val="bg1"/>
                </a:solidFill>
              </a:defRPr>
            </a:lvl1pPr>
          </a:lstStyle>
          <a:p>
            <a:r>
              <a:rPr lang="nl-NL"/>
              <a:t>Voeg hier een afbeelding toe</a:t>
            </a:r>
          </a:p>
        </p:txBody>
      </p:sp>
      <p:sp>
        <p:nvSpPr>
          <p:cNvPr id="101" name="Vrije vorm 100">
            <a:extLst>
              <a:ext uri="{FF2B5EF4-FFF2-40B4-BE49-F238E27FC236}">
                <a16:creationId xmlns:a16="http://schemas.microsoft.com/office/drawing/2014/main" id="{E9FDC7F3-4971-DD2A-9A83-8816475A4011}"/>
              </a:ext>
            </a:extLst>
          </p:cNvPr>
          <p:cNvSpPr/>
          <p:nvPr userDrawn="1"/>
        </p:nvSpPr>
        <p:spPr>
          <a:xfrm>
            <a:off x="10327738" y="4353791"/>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03" name="Vrije vorm 102">
            <a:extLst>
              <a:ext uri="{FF2B5EF4-FFF2-40B4-BE49-F238E27FC236}">
                <a16:creationId xmlns:a16="http://schemas.microsoft.com/office/drawing/2014/main" id="{29C92FC2-60FE-AC07-73E0-F055F9CE34A7}"/>
              </a:ext>
            </a:extLst>
          </p:cNvPr>
          <p:cNvSpPr/>
          <p:nvPr userDrawn="1"/>
        </p:nvSpPr>
        <p:spPr>
          <a:xfrm>
            <a:off x="5021770" y="-878032"/>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2" name="Titel 1">
            <a:extLst>
              <a:ext uri="{FF2B5EF4-FFF2-40B4-BE49-F238E27FC236}">
                <a16:creationId xmlns:a16="http://schemas.microsoft.com/office/drawing/2014/main" id="{1A778181-93C2-9CC1-E4A8-620ECDFC325B}"/>
              </a:ext>
            </a:extLst>
          </p:cNvPr>
          <p:cNvSpPr>
            <a:spLocks noGrp="1"/>
          </p:cNvSpPr>
          <p:nvPr>
            <p:ph type="title"/>
          </p:nvPr>
        </p:nvSpPr>
        <p:spPr>
          <a:xfrm>
            <a:off x="6296836" y="1493535"/>
            <a:ext cx="5178492" cy="2852737"/>
          </a:xfrm>
        </p:spPr>
        <p:txBody>
          <a:bodyPr anchor="b">
            <a:normAutofit/>
          </a:bodyPr>
          <a:lstStyle>
            <a:lvl1pPr>
              <a:defRPr sz="4000" b="1">
                <a:solidFill>
                  <a:srgbClr val="002B5F"/>
                </a:solidFill>
              </a:defRPr>
            </a:lvl1pPr>
          </a:lstStyle>
          <a:p>
            <a:r>
              <a:rPr lang="nl-NL"/>
              <a:t>Klik om stijl te bewerken</a:t>
            </a:r>
          </a:p>
        </p:txBody>
      </p:sp>
      <p:sp>
        <p:nvSpPr>
          <p:cNvPr id="18" name="Vrije vorm 17">
            <a:extLst>
              <a:ext uri="{FF2B5EF4-FFF2-40B4-BE49-F238E27FC236}">
                <a16:creationId xmlns:a16="http://schemas.microsoft.com/office/drawing/2014/main" id="{B9A92781-B55B-0568-28EA-55FF84ABF570}"/>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19" name="Graphic 10">
            <a:extLst>
              <a:ext uri="{FF2B5EF4-FFF2-40B4-BE49-F238E27FC236}">
                <a16:creationId xmlns:a16="http://schemas.microsoft.com/office/drawing/2014/main" id="{6B48AA29-6F14-9468-58FB-8A1DC7752F09}"/>
              </a:ext>
            </a:extLst>
          </p:cNvPr>
          <p:cNvGrpSpPr/>
          <p:nvPr userDrawn="1"/>
        </p:nvGrpSpPr>
        <p:grpSpPr>
          <a:xfrm>
            <a:off x="10903435" y="299495"/>
            <a:ext cx="1082602" cy="448481"/>
            <a:chOff x="10903435" y="299495"/>
            <a:chExt cx="1082602" cy="448481"/>
          </a:xfrm>
        </p:grpSpPr>
        <p:sp>
          <p:nvSpPr>
            <p:cNvPr id="20" name="Vrije vorm 19">
              <a:extLst>
                <a:ext uri="{FF2B5EF4-FFF2-40B4-BE49-F238E27FC236}">
                  <a16:creationId xmlns:a16="http://schemas.microsoft.com/office/drawing/2014/main" id="{B0FA0ABA-401C-1262-1476-3F69A0FBAC67}"/>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3D4B67F8-E43A-EB9A-F8B7-EC0D01523F33}"/>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799556FB-39E9-E716-421E-0BFED438A939}"/>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1FEDC2BB-DECF-DC26-0931-A4AB99906073}"/>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24" name="Vrije vorm 23">
              <a:extLst>
                <a:ext uri="{FF2B5EF4-FFF2-40B4-BE49-F238E27FC236}">
                  <a16:creationId xmlns:a16="http://schemas.microsoft.com/office/drawing/2014/main" id="{8662FC6F-7402-6C29-A78B-2F05ABC729B1}"/>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25" name="Vrije vorm 24">
              <a:extLst>
                <a:ext uri="{FF2B5EF4-FFF2-40B4-BE49-F238E27FC236}">
                  <a16:creationId xmlns:a16="http://schemas.microsoft.com/office/drawing/2014/main" id="{CBC9DA2A-25BF-BD45-2E4D-8AE1B934DA8B}"/>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26" name="Vrije vorm 25">
              <a:extLst>
                <a:ext uri="{FF2B5EF4-FFF2-40B4-BE49-F238E27FC236}">
                  <a16:creationId xmlns:a16="http://schemas.microsoft.com/office/drawing/2014/main" id="{E7DCFE4E-2B80-00FE-0665-61B21469E774}"/>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27" name="Vrije vorm 26">
              <a:extLst>
                <a:ext uri="{FF2B5EF4-FFF2-40B4-BE49-F238E27FC236}">
                  <a16:creationId xmlns:a16="http://schemas.microsoft.com/office/drawing/2014/main" id="{17195996-6C2E-404C-7B0F-213A1B198764}"/>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9" name="Vrije vorm 28">
              <a:extLst>
                <a:ext uri="{FF2B5EF4-FFF2-40B4-BE49-F238E27FC236}">
                  <a16:creationId xmlns:a16="http://schemas.microsoft.com/office/drawing/2014/main" id="{508B69D5-8FD2-50F2-EC18-EDA27644095A}"/>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30" name="Vrije vorm 29">
              <a:extLst>
                <a:ext uri="{FF2B5EF4-FFF2-40B4-BE49-F238E27FC236}">
                  <a16:creationId xmlns:a16="http://schemas.microsoft.com/office/drawing/2014/main" id="{B94B8D48-1E2F-8A5E-EDEF-D8D2FE301D2E}"/>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31" name="Vrije vorm 30">
              <a:extLst>
                <a:ext uri="{FF2B5EF4-FFF2-40B4-BE49-F238E27FC236}">
                  <a16:creationId xmlns:a16="http://schemas.microsoft.com/office/drawing/2014/main" id="{A48992AA-CF96-E566-339E-77F55D481345}"/>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32" name="Vrije vorm 31">
              <a:extLst>
                <a:ext uri="{FF2B5EF4-FFF2-40B4-BE49-F238E27FC236}">
                  <a16:creationId xmlns:a16="http://schemas.microsoft.com/office/drawing/2014/main" id="{C2D4DCCC-C837-63DE-6B12-B1DA01668262}"/>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3119326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slide A">
    <p:bg>
      <p:bgPr>
        <a:solidFill>
          <a:srgbClr val="C7E8F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F0ED79D4-77A5-1140-05B7-DA9AF2FD66D3}"/>
              </a:ext>
            </a:extLst>
          </p:cNvPr>
          <p:cNvSpPr>
            <a:spLocks noGrp="1"/>
          </p:cNvSpPr>
          <p:nvPr>
            <p:ph sz="half" idx="1"/>
          </p:nvPr>
        </p:nvSpPr>
        <p:spPr>
          <a:xfrm>
            <a:off x="1330036" y="1664066"/>
            <a:ext cx="9227126"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2" name="Vrije vorm 51">
            <a:extLst>
              <a:ext uri="{FF2B5EF4-FFF2-40B4-BE49-F238E27FC236}">
                <a16:creationId xmlns:a16="http://schemas.microsoft.com/office/drawing/2014/main" id="{120C594B-6FD2-FEBA-0375-A6794B209E07}"/>
              </a:ext>
            </a:extLst>
          </p:cNvPr>
          <p:cNvSpPr/>
          <p:nvPr userDrawn="1"/>
        </p:nvSpPr>
        <p:spPr>
          <a:xfrm>
            <a:off x="-1309255" y="4353791"/>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53" name="Vrije vorm 52">
            <a:extLst>
              <a:ext uri="{FF2B5EF4-FFF2-40B4-BE49-F238E27FC236}">
                <a16:creationId xmlns:a16="http://schemas.microsoft.com/office/drawing/2014/main" id="{204A7805-3977-2F5A-638C-77BB4E4897DE}"/>
              </a:ext>
            </a:extLst>
          </p:cNvPr>
          <p:cNvSpPr/>
          <p:nvPr userDrawn="1"/>
        </p:nvSpPr>
        <p:spPr>
          <a:xfrm>
            <a:off x="6422928" y="-96353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54" name="Vrije vorm 53">
            <a:extLst>
              <a:ext uri="{FF2B5EF4-FFF2-40B4-BE49-F238E27FC236}">
                <a16:creationId xmlns:a16="http://schemas.microsoft.com/office/drawing/2014/main" id="{1B492E35-D28C-985C-38F3-E1870B4F86C9}"/>
              </a:ext>
            </a:extLst>
          </p:cNvPr>
          <p:cNvSpPr/>
          <p:nvPr userDrawn="1"/>
        </p:nvSpPr>
        <p:spPr>
          <a:xfrm>
            <a:off x="11647954" y="2596163"/>
            <a:ext cx="941662" cy="941662"/>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0" name="Vrije vorm 9">
            <a:extLst>
              <a:ext uri="{FF2B5EF4-FFF2-40B4-BE49-F238E27FC236}">
                <a16:creationId xmlns:a16="http://schemas.microsoft.com/office/drawing/2014/main" id="{F0FA83AF-412E-9772-6BA4-065ED45FB7A1}"/>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11" name="Graphic 10">
            <a:extLst>
              <a:ext uri="{FF2B5EF4-FFF2-40B4-BE49-F238E27FC236}">
                <a16:creationId xmlns:a16="http://schemas.microsoft.com/office/drawing/2014/main" id="{591C3761-CC56-DEB5-AE0F-10DDED2FE30D}"/>
              </a:ext>
            </a:extLst>
          </p:cNvPr>
          <p:cNvGrpSpPr/>
          <p:nvPr userDrawn="1"/>
        </p:nvGrpSpPr>
        <p:grpSpPr>
          <a:xfrm>
            <a:off x="10903435" y="299495"/>
            <a:ext cx="1082602" cy="448481"/>
            <a:chOff x="10903435" y="299495"/>
            <a:chExt cx="1082602" cy="448481"/>
          </a:xfrm>
        </p:grpSpPr>
        <p:sp>
          <p:nvSpPr>
            <p:cNvPr id="12" name="Vrije vorm 11">
              <a:extLst>
                <a:ext uri="{FF2B5EF4-FFF2-40B4-BE49-F238E27FC236}">
                  <a16:creationId xmlns:a16="http://schemas.microsoft.com/office/drawing/2014/main" id="{B01E3154-9DC1-DBE9-CF25-E3ADC35D0B58}"/>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0A3C060D-A780-1AA1-C1AA-3BE4A984F28E}"/>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6CC1126E-2B5B-681F-4BDC-0891B8E71CE6}"/>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3B875E08-F39D-8793-8F8F-A159C7F3F9E7}"/>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B796E026-22DD-DAE2-D085-EB6345479C23}"/>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7C411075-8619-3FF3-09C1-C54021EED96D}"/>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8BC1FF97-57E6-8546-49D8-2E6DB1F25227}"/>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A91A0714-446F-A3EE-32AE-0F61CABEC241}"/>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2EA8A590-D87F-1ED3-E230-135E2ABEDA1A}"/>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88E62CF1-AB3B-8575-DDBA-FAE1D764844C}"/>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E3218335-1661-757D-62A4-F93413755422}"/>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6EE09AEA-FCD2-C726-9D9B-B0A25E47E8AE}"/>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1836352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slide B">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3" name="Tijdelijke aanduiding voor inhoud 2">
            <a:extLst>
              <a:ext uri="{FF2B5EF4-FFF2-40B4-BE49-F238E27FC236}">
                <a16:creationId xmlns:a16="http://schemas.microsoft.com/office/drawing/2014/main" id="{F0ED79D4-77A5-1140-05B7-DA9AF2FD66D3}"/>
              </a:ext>
            </a:extLst>
          </p:cNvPr>
          <p:cNvSpPr>
            <a:spLocks noGrp="1"/>
          </p:cNvSpPr>
          <p:nvPr>
            <p:ph sz="half" idx="1"/>
          </p:nvPr>
        </p:nvSpPr>
        <p:spPr>
          <a:xfrm>
            <a:off x="1330036" y="1664066"/>
            <a:ext cx="9227126"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2" name="Vrije vorm 51">
            <a:extLst>
              <a:ext uri="{FF2B5EF4-FFF2-40B4-BE49-F238E27FC236}">
                <a16:creationId xmlns:a16="http://schemas.microsoft.com/office/drawing/2014/main" id="{120C594B-6FD2-FEBA-0375-A6794B209E07}"/>
              </a:ext>
            </a:extLst>
          </p:cNvPr>
          <p:cNvSpPr/>
          <p:nvPr userDrawn="1"/>
        </p:nvSpPr>
        <p:spPr>
          <a:xfrm>
            <a:off x="-1309255" y="4353791"/>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53" name="Vrije vorm 52">
            <a:extLst>
              <a:ext uri="{FF2B5EF4-FFF2-40B4-BE49-F238E27FC236}">
                <a16:creationId xmlns:a16="http://schemas.microsoft.com/office/drawing/2014/main" id="{204A7805-3977-2F5A-638C-77BB4E4897DE}"/>
              </a:ext>
            </a:extLst>
          </p:cNvPr>
          <p:cNvSpPr/>
          <p:nvPr userDrawn="1"/>
        </p:nvSpPr>
        <p:spPr>
          <a:xfrm>
            <a:off x="6422928" y="-96353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54" name="Vrije vorm 53">
            <a:extLst>
              <a:ext uri="{FF2B5EF4-FFF2-40B4-BE49-F238E27FC236}">
                <a16:creationId xmlns:a16="http://schemas.microsoft.com/office/drawing/2014/main" id="{1B492E35-D28C-985C-38F3-E1870B4F86C9}"/>
              </a:ext>
            </a:extLst>
          </p:cNvPr>
          <p:cNvSpPr/>
          <p:nvPr userDrawn="1"/>
        </p:nvSpPr>
        <p:spPr>
          <a:xfrm>
            <a:off x="11647954" y="2596163"/>
            <a:ext cx="941662" cy="941662"/>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10" name="Vrije vorm 9">
            <a:extLst>
              <a:ext uri="{FF2B5EF4-FFF2-40B4-BE49-F238E27FC236}">
                <a16:creationId xmlns:a16="http://schemas.microsoft.com/office/drawing/2014/main" id="{F0FA83AF-412E-9772-6BA4-065ED45FB7A1}"/>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11" name="Graphic 10">
            <a:extLst>
              <a:ext uri="{FF2B5EF4-FFF2-40B4-BE49-F238E27FC236}">
                <a16:creationId xmlns:a16="http://schemas.microsoft.com/office/drawing/2014/main" id="{591C3761-CC56-DEB5-AE0F-10DDED2FE30D}"/>
              </a:ext>
            </a:extLst>
          </p:cNvPr>
          <p:cNvGrpSpPr/>
          <p:nvPr userDrawn="1"/>
        </p:nvGrpSpPr>
        <p:grpSpPr>
          <a:xfrm>
            <a:off x="10903435" y="299495"/>
            <a:ext cx="1082602" cy="448481"/>
            <a:chOff x="10903435" y="299495"/>
            <a:chExt cx="1082602" cy="448481"/>
          </a:xfrm>
        </p:grpSpPr>
        <p:sp>
          <p:nvSpPr>
            <p:cNvPr id="12" name="Vrije vorm 11">
              <a:extLst>
                <a:ext uri="{FF2B5EF4-FFF2-40B4-BE49-F238E27FC236}">
                  <a16:creationId xmlns:a16="http://schemas.microsoft.com/office/drawing/2014/main" id="{B01E3154-9DC1-DBE9-CF25-E3ADC35D0B58}"/>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0A3C060D-A780-1AA1-C1AA-3BE4A984F28E}"/>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6CC1126E-2B5B-681F-4BDC-0891B8E71CE6}"/>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3B875E08-F39D-8793-8F8F-A159C7F3F9E7}"/>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B796E026-22DD-DAE2-D085-EB6345479C23}"/>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7C411075-8619-3FF3-09C1-C54021EED96D}"/>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8BC1FF97-57E6-8546-49D8-2E6DB1F25227}"/>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A91A0714-446F-A3EE-32AE-0F61CABEC241}"/>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2EA8A590-D87F-1ED3-E230-135E2ABEDA1A}"/>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88E62CF1-AB3B-8575-DDBA-FAE1D764844C}"/>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2" name="Vrije vorm 21">
              <a:extLst>
                <a:ext uri="{FF2B5EF4-FFF2-40B4-BE49-F238E27FC236}">
                  <a16:creationId xmlns:a16="http://schemas.microsoft.com/office/drawing/2014/main" id="{E3218335-1661-757D-62A4-F93413755422}"/>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3" name="Vrije vorm 22">
              <a:extLst>
                <a:ext uri="{FF2B5EF4-FFF2-40B4-BE49-F238E27FC236}">
                  <a16:creationId xmlns:a16="http://schemas.microsoft.com/office/drawing/2014/main" id="{6EE09AEA-FCD2-C726-9D9B-B0A25E47E8AE}"/>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grpSp>
        <p:nvGrpSpPr>
          <p:cNvPr id="4" name="Graphic 4">
            <a:extLst>
              <a:ext uri="{FF2B5EF4-FFF2-40B4-BE49-F238E27FC236}">
                <a16:creationId xmlns:a16="http://schemas.microsoft.com/office/drawing/2014/main" id="{25887FAB-A22A-4666-A96D-25378D72C9F8}"/>
              </a:ext>
            </a:extLst>
          </p:cNvPr>
          <p:cNvGrpSpPr/>
          <p:nvPr userDrawn="1"/>
        </p:nvGrpSpPr>
        <p:grpSpPr>
          <a:xfrm>
            <a:off x="9254386" y="3936106"/>
            <a:ext cx="2937613" cy="2921888"/>
            <a:chOff x="4627033" y="3936106"/>
            <a:chExt cx="2937613" cy="2921888"/>
          </a:xfrm>
        </p:grpSpPr>
        <p:sp>
          <p:nvSpPr>
            <p:cNvPr id="5" name="Vrije vorm 4">
              <a:extLst>
                <a:ext uri="{FF2B5EF4-FFF2-40B4-BE49-F238E27FC236}">
                  <a16:creationId xmlns:a16="http://schemas.microsoft.com/office/drawing/2014/main" id="{0B016A92-D1B5-0A0E-0FDD-BB07B921DD56}"/>
                </a:ext>
              </a:extLst>
            </p:cNvPr>
            <p:cNvSpPr/>
            <p:nvPr/>
          </p:nvSpPr>
          <p:spPr>
            <a:xfrm>
              <a:off x="5517041" y="3936106"/>
              <a:ext cx="2047605" cy="2921888"/>
            </a:xfrm>
            <a:custGeom>
              <a:avLst/>
              <a:gdLst>
                <a:gd name="connsiteX0" fmla="*/ 2047606 w 2047605"/>
                <a:gd name="connsiteY0" fmla="*/ 0 h 2921888"/>
                <a:gd name="connsiteX1" fmla="*/ 2047606 w 2047605"/>
                <a:gd name="connsiteY1" fmla="*/ 2921889 h 2921888"/>
                <a:gd name="connsiteX2" fmla="*/ 0 w 2047605"/>
                <a:gd name="connsiteY2" fmla="*/ 2921889 h 2921888"/>
                <a:gd name="connsiteX3" fmla="*/ 1258808 w 2047605"/>
                <a:gd name="connsiteY3" fmla="*/ 2069084 h 2921888"/>
                <a:gd name="connsiteX4" fmla="*/ 2047606 w 2047605"/>
                <a:gd name="connsiteY4" fmla="*/ 0 h 2921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7605" h="2921888">
                  <a:moveTo>
                    <a:pt x="2047606" y="0"/>
                  </a:moveTo>
                  <a:lnTo>
                    <a:pt x="2047606" y="2921889"/>
                  </a:lnTo>
                  <a:lnTo>
                    <a:pt x="0" y="2921889"/>
                  </a:lnTo>
                  <a:cubicBezTo>
                    <a:pt x="488282" y="2745041"/>
                    <a:pt x="919582" y="2449068"/>
                    <a:pt x="1258808" y="2069084"/>
                  </a:cubicBezTo>
                  <a:cubicBezTo>
                    <a:pt x="1749436" y="1519682"/>
                    <a:pt x="2047606" y="794703"/>
                    <a:pt x="2047606" y="0"/>
                  </a:cubicBezTo>
                  <a:close/>
                </a:path>
              </a:pathLst>
            </a:custGeom>
            <a:solidFill>
              <a:srgbClr val="C7E8F1"/>
            </a:solidFill>
            <a:ln w="6336" cap="flat">
              <a:noFill/>
              <a:prstDash val="solid"/>
              <a:miter/>
            </a:ln>
          </p:spPr>
          <p:txBody>
            <a:bodyPr rtlCol="0" anchor="ctr"/>
            <a:lstStyle/>
            <a:p>
              <a:endParaRPr lang="nl-NL"/>
            </a:p>
          </p:txBody>
        </p:sp>
        <p:sp>
          <p:nvSpPr>
            <p:cNvPr id="9" name="Vrije vorm 8">
              <a:extLst>
                <a:ext uri="{FF2B5EF4-FFF2-40B4-BE49-F238E27FC236}">
                  <a16:creationId xmlns:a16="http://schemas.microsoft.com/office/drawing/2014/main" id="{6000285D-BE25-5F35-B12D-F01999D4A318}"/>
                </a:ext>
              </a:extLst>
            </p:cNvPr>
            <p:cNvSpPr/>
            <p:nvPr/>
          </p:nvSpPr>
          <p:spPr>
            <a:xfrm>
              <a:off x="4627033" y="5955964"/>
              <a:ext cx="2205115" cy="902030"/>
            </a:xfrm>
            <a:custGeom>
              <a:avLst/>
              <a:gdLst>
                <a:gd name="connsiteX0" fmla="*/ 2152243 w 2205115"/>
                <a:gd name="connsiteY0" fmla="*/ 307417 h 902030"/>
                <a:gd name="connsiteX1" fmla="*/ 1338442 w 2205115"/>
                <a:gd name="connsiteY1" fmla="*/ 902031 h 902030"/>
                <a:gd name="connsiteX2" fmla="*/ 0 w 2205115"/>
                <a:gd name="connsiteY2" fmla="*/ 902031 h 902030"/>
                <a:gd name="connsiteX3" fmla="*/ 969645 w 2205115"/>
                <a:gd name="connsiteY3" fmla="*/ 677621 h 902030"/>
                <a:gd name="connsiteX4" fmla="*/ 1898234 w 2205115"/>
                <a:gd name="connsiteY4" fmla="*/ 52528 h 902030"/>
                <a:gd name="connsiteX5" fmla="*/ 2148817 w 2205115"/>
                <a:gd name="connsiteY5" fmla="*/ 49226 h 902030"/>
                <a:gd name="connsiteX6" fmla="*/ 2152621 w 2205115"/>
                <a:gd name="connsiteY6" fmla="*/ 52909 h 902030"/>
                <a:gd name="connsiteX7" fmla="*/ 2152243 w 2205115"/>
                <a:gd name="connsiteY7" fmla="*/ 307417 h 90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115" h="902030">
                  <a:moveTo>
                    <a:pt x="2152243" y="307417"/>
                  </a:moveTo>
                  <a:cubicBezTo>
                    <a:pt x="1910987" y="548209"/>
                    <a:pt x="1638072" y="747535"/>
                    <a:pt x="1338442" y="902031"/>
                  </a:cubicBezTo>
                  <a:lnTo>
                    <a:pt x="0" y="902031"/>
                  </a:lnTo>
                  <a:cubicBezTo>
                    <a:pt x="335291" y="883426"/>
                    <a:pt x="660749" y="808114"/>
                    <a:pt x="969645" y="677621"/>
                  </a:cubicBezTo>
                  <a:cubicBezTo>
                    <a:pt x="1317311" y="530810"/>
                    <a:pt x="1629697" y="320435"/>
                    <a:pt x="1898234" y="52528"/>
                  </a:cubicBezTo>
                  <a:cubicBezTo>
                    <a:pt x="1967337" y="-16369"/>
                    <a:pt x="2078444" y="-17512"/>
                    <a:pt x="2148817" y="49226"/>
                  </a:cubicBezTo>
                  <a:cubicBezTo>
                    <a:pt x="2150084" y="50433"/>
                    <a:pt x="2151354" y="51639"/>
                    <a:pt x="2152621" y="52909"/>
                  </a:cubicBezTo>
                  <a:cubicBezTo>
                    <a:pt x="2222740" y="123267"/>
                    <a:pt x="2222613" y="237250"/>
                    <a:pt x="2152243" y="307417"/>
                  </a:cubicBezTo>
                  <a:close/>
                </a:path>
              </a:pathLst>
            </a:custGeom>
            <a:solidFill>
              <a:srgbClr val="0065B0"/>
            </a:solidFill>
            <a:ln w="6336" cap="flat">
              <a:noFill/>
              <a:prstDash val="solid"/>
              <a:miter/>
            </a:ln>
          </p:spPr>
          <p:txBody>
            <a:bodyPr rtlCol="0" anchor="ctr"/>
            <a:lstStyle/>
            <a:p>
              <a:endParaRPr lang="nl-NL"/>
            </a:p>
          </p:txBody>
        </p:sp>
      </p:grpSp>
    </p:spTree>
    <p:extLst>
      <p:ext uri="{BB962C8B-B14F-4D97-AF65-F5344CB8AC3E}">
        <p14:creationId xmlns:p14="http://schemas.microsoft.com/office/powerpoint/2010/main" val="197466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slide 2 kolom ">
    <p:bg>
      <p:bgPr>
        <a:solidFill>
          <a:srgbClr val="C7E8F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51" name="Tijdelijke aanduiding voor inhoud 2">
            <a:extLst>
              <a:ext uri="{FF2B5EF4-FFF2-40B4-BE49-F238E27FC236}">
                <a16:creationId xmlns:a16="http://schemas.microsoft.com/office/drawing/2014/main" id="{C5A3B367-E0FE-3324-DBFE-06B9D183F247}"/>
              </a:ext>
            </a:extLst>
          </p:cNvPr>
          <p:cNvSpPr>
            <a:spLocks noGrp="1"/>
          </p:cNvSpPr>
          <p:nvPr>
            <p:ph sz="half" idx="10"/>
          </p:nvPr>
        </p:nvSpPr>
        <p:spPr>
          <a:xfrm>
            <a:off x="1330034" y="1664066"/>
            <a:ext cx="4689765"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2" name="Tijdelijke aanduiding voor inhoud 3">
            <a:extLst>
              <a:ext uri="{FF2B5EF4-FFF2-40B4-BE49-F238E27FC236}">
                <a16:creationId xmlns:a16="http://schemas.microsoft.com/office/drawing/2014/main" id="{775FD643-201E-809A-B5D7-B52B09EE5D0D}"/>
              </a:ext>
            </a:extLst>
          </p:cNvPr>
          <p:cNvSpPr>
            <a:spLocks noGrp="1"/>
          </p:cNvSpPr>
          <p:nvPr>
            <p:ph sz="half" idx="11"/>
          </p:nvPr>
        </p:nvSpPr>
        <p:spPr>
          <a:xfrm>
            <a:off x="6219860" y="1664066"/>
            <a:ext cx="4689765"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3" name="Vrije vorm 52">
            <a:extLst>
              <a:ext uri="{FF2B5EF4-FFF2-40B4-BE49-F238E27FC236}">
                <a16:creationId xmlns:a16="http://schemas.microsoft.com/office/drawing/2014/main" id="{978EE13F-EC60-FE09-9D37-98615B9502CD}"/>
              </a:ext>
            </a:extLst>
          </p:cNvPr>
          <p:cNvSpPr/>
          <p:nvPr userDrawn="1"/>
        </p:nvSpPr>
        <p:spPr>
          <a:xfrm>
            <a:off x="-1205346" y="3429000"/>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54" name="Vrije vorm 53">
            <a:extLst>
              <a:ext uri="{FF2B5EF4-FFF2-40B4-BE49-F238E27FC236}">
                <a16:creationId xmlns:a16="http://schemas.microsoft.com/office/drawing/2014/main" id="{81C1940A-AB38-340C-F27A-BBE3E0D8764E}"/>
              </a:ext>
            </a:extLst>
          </p:cNvPr>
          <p:cNvSpPr/>
          <p:nvPr userDrawn="1"/>
        </p:nvSpPr>
        <p:spPr>
          <a:xfrm>
            <a:off x="10971762" y="1699626"/>
            <a:ext cx="1915391" cy="1915391"/>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chemeClr val="bg1">
              <a:alpha val="2342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3" name="Vrije vorm 2">
            <a:extLst>
              <a:ext uri="{FF2B5EF4-FFF2-40B4-BE49-F238E27FC236}">
                <a16:creationId xmlns:a16="http://schemas.microsoft.com/office/drawing/2014/main" id="{64E33D1E-6F08-51BA-D861-4DE39437287C}"/>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4" name="Graphic 10">
            <a:extLst>
              <a:ext uri="{FF2B5EF4-FFF2-40B4-BE49-F238E27FC236}">
                <a16:creationId xmlns:a16="http://schemas.microsoft.com/office/drawing/2014/main" id="{56AE14FF-10AA-2E80-DCC8-92A0580FA745}"/>
              </a:ext>
            </a:extLst>
          </p:cNvPr>
          <p:cNvGrpSpPr/>
          <p:nvPr userDrawn="1"/>
        </p:nvGrpSpPr>
        <p:grpSpPr>
          <a:xfrm>
            <a:off x="10903435" y="299495"/>
            <a:ext cx="1082602" cy="448481"/>
            <a:chOff x="10903435" y="299495"/>
            <a:chExt cx="1082602" cy="448481"/>
          </a:xfrm>
        </p:grpSpPr>
        <p:sp>
          <p:nvSpPr>
            <p:cNvPr id="10" name="Vrije vorm 9">
              <a:extLst>
                <a:ext uri="{FF2B5EF4-FFF2-40B4-BE49-F238E27FC236}">
                  <a16:creationId xmlns:a16="http://schemas.microsoft.com/office/drawing/2014/main" id="{A3275349-7982-D434-18AF-9F949BFB8B5F}"/>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11" name="Vrije vorm 10">
              <a:extLst>
                <a:ext uri="{FF2B5EF4-FFF2-40B4-BE49-F238E27FC236}">
                  <a16:creationId xmlns:a16="http://schemas.microsoft.com/office/drawing/2014/main" id="{AE39C1EF-8D34-8A9E-8696-340EFABD5922}"/>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12" name="Vrije vorm 11">
              <a:extLst>
                <a:ext uri="{FF2B5EF4-FFF2-40B4-BE49-F238E27FC236}">
                  <a16:creationId xmlns:a16="http://schemas.microsoft.com/office/drawing/2014/main" id="{94AE14A7-FE4B-D252-AA8B-17DC532F556D}"/>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13" name="Vrije vorm 12">
              <a:extLst>
                <a:ext uri="{FF2B5EF4-FFF2-40B4-BE49-F238E27FC236}">
                  <a16:creationId xmlns:a16="http://schemas.microsoft.com/office/drawing/2014/main" id="{B3AF113F-B859-16B9-CE68-49ED277D5CA8}"/>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14" name="Vrije vorm 13">
              <a:extLst>
                <a:ext uri="{FF2B5EF4-FFF2-40B4-BE49-F238E27FC236}">
                  <a16:creationId xmlns:a16="http://schemas.microsoft.com/office/drawing/2014/main" id="{A80B8E0D-B339-6635-BCAA-E0D99DB5FA41}"/>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15" name="Vrije vorm 14">
              <a:extLst>
                <a:ext uri="{FF2B5EF4-FFF2-40B4-BE49-F238E27FC236}">
                  <a16:creationId xmlns:a16="http://schemas.microsoft.com/office/drawing/2014/main" id="{6D79BFD9-B173-EEC7-33A3-EACDCB518F32}"/>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16" name="Vrije vorm 15">
              <a:extLst>
                <a:ext uri="{FF2B5EF4-FFF2-40B4-BE49-F238E27FC236}">
                  <a16:creationId xmlns:a16="http://schemas.microsoft.com/office/drawing/2014/main" id="{CD6FD008-FC46-7D6C-3AFD-C8EF1FF40609}"/>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17" name="Vrije vorm 16">
              <a:extLst>
                <a:ext uri="{FF2B5EF4-FFF2-40B4-BE49-F238E27FC236}">
                  <a16:creationId xmlns:a16="http://schemas.microsoft.com/office/drawing/2014/main" id="{CDE52470-66C4-7448-C64A-3D9490DC3F38}"/>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18" name="Vrije vorm 17">
              <a:extLst>
                <a:ext uri="{FF2B5EF4-FFF2-40B4-BE49-F238E27FC236}">
                  <a16:creationId xmlns:a16="http://schemas.microsoft.com/office/drawing/2014/main" id="{4DB8191F-011E-8A6E-3926-5339D4AF2869}"/>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19" name="Vrije vorm 18">
              <a:extLst>
                <a:ext uri="{FF2B5EF4-FFF2-40B4-BE49-F238E27FC236}">
                  <a16:creationId xmlns:a16="http://schemas.microsoft.com/office/drawing/2014/main" id="{AB8A9BA6-5792-4BC4-8CBC-21A3D770D3D6}"/>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20" name="Vrije vorm 19">
              <a:extLst>
                <a:ext uri="{FF2B5EF4-FFF2-40B4-BE49-F238E27FC236}">
                  <a16:creationId xmlns:a16="http://schemas.microsoft.com/office/drawing/2014/main" id="{41797474-084A-88F5-4B96-D668A8FCD174}"/>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21" name="Vrije vorm 20">
              <a:extLst>
                <a:ext uri="{FF2B5EF4-FFF2-40B4-BE49-F238E27FC236}">
                  <a16:creationId xmlns:a16="http://schemas.microsoft.com/office/drawing/2014/main" id="{C7B92E72-ED72-56BC-212A-4F8F54CFB950}"/>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spTree>
    <p:extLst>
      <p:ext uri="{BB962C8B-B14F-4D97-AF65-F5344CB8AC3E}">
        <p14:creationId xmlns:p14="http://schemas.microsoft.com/office/powerpoint/2010/main" val="218409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slide 2 kolom B">
    <p:bg>
      <p:bgPr>
        <a:solidFill>
          <a:schemeClr val="bg1"/>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4EA2A3D-FF91-A292-82EF-7121D1A501C8}"/>
              </a:ext>
            </a:extLst>
          </p:cNvPr>
          <p:cNvSpPr>
            <a:spLocks noGrp="1"/>
          </p:cNvSpPr>
          <p:nvPr>
            <p:ph type="title"/>
          </p:nvPr>
        </p:nvSpPr>
        <p:spPr>
          <a:xfrm>
            <a:off x="1353000" y="792530"/>
            <a:ext cx="9204164" cy="555068"/>
          </a:xfrm>
        </p:spPr>
        <p:txBody>
          <a:bodyPr>
            <a:normAutofit/>
          </a:bodyPr>
          <a:lstStyle>
            <a:lvl1pPr>
              <a:defRPr sz="2800" b="1">
                <a:solidFill>
                  <a:srgbClr val="002B5F"/>
                </a:solidFill>
              </a:defRPr>
            </a:lvl1pPr>
          </a:lstStyle>
          <a:p>
            <a:r>
              <a:rPr lang="nl-NL"/>
              <a:t>Klik om stijl te bewerken</a:t>
            </a:r>
          </a:p>
        </p:txBody>
      </p:sp>
      <p:sp>
        <p:nvSpPr>
          <p:cNvPr id="51" name="Tijdelijke aanduiding voor inhoud 2">
            <a:extLst>
              <a:ext uri="{FF2B5EF4-FFF2-40B4-BE49-F238E27FC236}">
                <a16:creationId xmlns:a16="http://schemas.microsoft.com/office/drawing/2014/main" id="{C5A3B367-E0FE-3324-DBFE-06B9D183F247}"/>
              </a:ext>
            </a:extLst>
          </p:cNvPr>
          <p:cNvSpPr>
            <a:spLocks noGrp="1"/>
          </p:cNvSpPr>
          <p:nvPr>
            <p:ph sz="half" idx="10"/>
          </p:nvPr>
        </p:nvSpPr>
        <p:spPr>
          <a:xfrm>
            <a:off x="1330034" y="1664066"/>
            <a:ext cx="4689765"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2" name="Tijdelijke aanduiding voor inhoud 3">
            <a:extLst>
              <a:ext uri="{FF2B5EF4-FFF2-40B4-BE49-F238E27FC236}">
                <a16:creationId xmlns:a16="http://schemas.microsoft.com/office/drawing/2014/main" id="{775FD643-201E-809A-B5D7-B52B09EE5D0D}"/>
              </a:ext>
            </a:extLst>
          </p:cNvPr>
          <p:cNvSpPr>
            <a:spLocks noGrp="1"/>
          </p:cNvSpPr>
          <p:nvPr>
            <p:ph sz="half" idx="11"/>
          </p:nvPr>
        </p:nvSpPr>
        <p:spPr>
          <a:xfrm>
            <a:off x="6219860" y="1664066"/>
            <a:ext cx="4689765" cy="3747519"/>
          </a:xfrm>
        </p:spPr>
        <p:txBody>
          <a:bodyPr/>
          <a:lstStyle>
            <a:lvl1pPr>
              <a:buClr>
                <a:srgbClr val="DC2215"/>
              </a:buClr>
              <a:defRPr sz="1600">
                <a:solidFill>
                  <a:schemeClr val="bg2">
                    <a:lumMod val="25000"/>
                  </a:schemeClr>
                </a:solidFill>
              </a:defRPr>
            </a:lvl1pPr>
            <a:lvl2pPr>
              <a:buClr>
                <a:srgbClr val="DC2215"/>
              </a:buClr>
              <a:defRPr sz="1400">
                <a:solidFill>
                  <a:schemeClr val="bg2">
                    <a:lumMod val="25000"/>
                  </a:schemeClr>
                </a:solidFill>
              </a:defRPr>
            </a:lvl2pPr>
            <a:lvl3pPr>
              <a:buClr>
                <a:srgbClr val="DC2215"/>
              </a:buClr>
              <a:defRPr sz="1200">
                <a:solidFill>
                  <a:schemeClr val="bg2">
                    <a:lumMod val="25000"/>
                  </a:schemeClr>
                </a:solidFill>
              </a:defRPr>
            </a:lvl3pPr>
            <a:lvl4pPr>
              <a:buClr>
                <a:srgbClr val="DC2215"/>
              </a:buClr>
              <a:defRPr sz="1000">
                <a:solidFill>
                  <a:schemeClr val="bg2">
                    <a:lumMod val="25000"/>
                  </a:schemeClr>
                </a:solidFill>
              </a:defRPr>
            </a:lvl4pPr>
            <a:lvl5pPr>
              <a:buClr>
                <a:srgbClr val="DC2215"/>
              </a:buClr>
              <a:defRPr sz="800">
                <a:solidFill>
                  <a:schemeClr val="bg2">
                    <a:lumMod val="25000"/>
                  </a:schemeClr>
                </a:solidFill>
              </a:defRPr>
            </a:lvl5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5" name="Vrije vorm 64">
            <a:extLst>
              <a:ext uri="{FF2B5EF4-FFF2-40B4-BE49-F238E27FC236}">
                <a16:creationId xmlns:a16="http://schemas.microsoft.com/office/drawing/2014/main" id="{69231D45-EC2E-371A-B186-58B466B280FD}"/>
              </a:ext>
            </a:extLst>
          </p:cNvPr>
          <p:cNvSpPr/>
          <p:nvPr userDrawn="1"/>
        </p:nvSpPr>
        <p:spPr>
          <a:xfrm>
            <a:off x="10593658" y="0"/>
            <a:ext cx="1598341" cy="1182989"/>
          </a:xfrm>
          <a:custGeom>
            <a:avLst/>
            <a:gdLst>
              <a:gd name="connsiteX0" fmla="*/ 19608 w 1598341"/>
              <a:gd name="connsiteY0" fmla="*/ 0 h 1182989"/>
              <a:gd name="connsiteX1" fmla="*/ 1598341 w 1598341"/>
              <a:gd name="connsiteY1" fmla="*/ 0 h 1182989"/>
              <a:gd name="connsiteX2" fmla="*/ 1598341 w 1598341"/>
              <a:gd name="connsiteY2" fmla="*/ 978235 h 1182989"/>
              <a:gd name="connsiteX3" fmla="*/ 1466094 w 1598341"/>
              <a:gd name="connsiteY3" fmla="*/ 1064024 h 1182989"/>
              <a:gd name="connsiteX4" fmla="*/ 994357 w 1598341"/>
              <a:gd name="connsiteY4" fmla="*/ 1182989 h 1182989"/>
              <a:gd name="connsiteX5" fmla="*/ 0 w 1598341"/>
              <a:gd name="connsiteY5" fmla="*/ 187851 h 1182989"/>
              <a:gd name="connsiteX6" fmla="*/ 12835 w 1598341"/>
              <a:gd name="connsiteY6" fmla="*/ 27737 h 1182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598341" h="1182989">
                <a:moveTo>
                  <a:pt x="19608" y="0"/>
                </a:moveTo>
                <a:lnTo>
                  <a:pt x="1598341" y="0"/>
                </a:lnTo>
                <a:lnTo>
                  <a:pt x="1598341" y="978235"/>
                </a:lnTo>
                <a:lnTo>
                  <a:pt x="1466094" y="1064024"/>
                </a:lnTo>
                <a:cubicBezTo>
                  <a:pt x="1325732" y="1139899"/>
                  <a:pt x="1165082" y="1182989"/>
                  <a:pt x="994357" y="1182989"/>
                </a:cubicBezTo>
                <a:cubicBezTo>
                  <a:pt x="445189" y="1182989"/>
                  <a:pt x="0" y="737451"/>
                  <a:pt x="0" y="187851"/>
                </a:cubicBezTo>
                <a:cubicBezTo>
                  <a:pt x="0" y="133341"/>
                  <a:pt x="4394" y="79860"/>
                  <a:pt x="12835" y="27737"/>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grpSp>
        <p:nvGrpSpPr>
          <p:cNvPr id="66" name="Graphic 10">
            <a:extLst>
              <a:ext uri="{FF2B5EF4-FFF2-40B4-BE49-F238E27FC236}">
                <a16:creationId xmlns:a16="http://schemas.microsoft.com/office/drawing/2014/main" id="{1392B202-5B73-6FD9-2845-BCE663F7241C}"/>
              </a:ext>
            </a:extLst>
          </p:cNvPr>
          <p:cNvGrpSpPr/>
          <p:nvPr userDrawn="1"/>
        </p:nvGrpSpPr>
        <p:grpSpPr>
          <a:xfrm>
            <a:off x="10903435" y="299495"/>
            <a:ext cx="1082602" cy="448481"/>
            <a:chOff x="10903435" y="299495"/>
            <a:chExt cx="1082602" cy="448481"/>
          </a:xfrm>
        </p:grpSpPr>
        <p:sp>
          <p:nvSpPr>
            <p:cNvPr id="67" name="Vrije vorm 66">
              <a:extLst>
                <a:ext uri="{FF2B5EF4-FFF2-40B4-BE49-F238E27FC236}">
                  <a16:creationId xmlns:a16="http://schemas.microsoft.com/office/drawing/2014/main" id="{77F10074-F283-2E2D-01B4-3368836E3F16}"/>
                </a:ext>
              </a:extLst>
            </p:cNvPr>
            <p:cNvSpPr/>
            <p:nvPr/>
          </p:nvSpPr>
          <p:spPr>
            <a:xfrm>
              <a:off x="11649744" y="629321"/>
              <a:ext cx="95695" cy="90704"/>
            </a:xfrm>
            <a:custGeom>
              <a:avLst/>
              <a:gdLst>
                <a:gd name="connsiteX0" fmla="*/ 14662 w 95695"/>
                <a:gd name="connsiteY0" fmla="*/ 77688 h 90704"/>
                <a:gd name="connsiteX1" fmla="*/ 48121 w 95695"/>
                <a:gd name="connsiteY1" fmla="*/ 90693 h 90704"/>
                <a:gd name="connsiteX2" fmla="*/ 48121 w 95695"/>
                <a:gd name="connsiteY2" fmla="*/ 90693 h 90704"/>
                <a:gd name="connsiteX3" fmla="*/ 95696 w 95695"/>
                <a:gd name="connsiteY3" fmla="*/ 45174 h 90704"/>
                <a:gd name="connsiteX4" fmla="*/ 81356 w 95695"/>
                <a:gd name="connsiteY4" fmla="*/ 13109 h 90704"/>
                <a:gd name="connsiteX5" fmla="*/ 14139 w 95695"/>
                <a:gd name="connsiteY5" fmla="*/ 13109 h 90704"/>
                <a:gd name="connsiteX6" fmla="*/ 11427 w 95695"/>
                <a:gd name="connsiteY6" fmla="*/ 74675 h 90704"/>
                <a:gd name="connsiteX7" fmla="*/ 14139 w 95695"/>
                <a:gd name="connsiteY7" fmla="*/ 77389 h 90704"/>
                <a:gd name="connsiteX8" fmla="*/ 14662 w 95695"/>
                <a:gd name="connsiteY8" fmla="*/ 77688 h 90704"/>
                <a:gd name="connsiteX9" fmla="*/ 48046 w 95695"/>
                <a:gd name="connsiteY9" fmla="*/ 22452 h 90704"/>
                <a:gd name="connsiteX10" fmla="*/ 48046 w 95695"/>
                <a:gd name="connsiteY10" fmla="*/ 22452 h 90704"/>
                <a:gd name="connsiteX11" fmla="*/ 66120 w 95695"/>
                <a:gd name="connsiteY11" fmla="*/ 29254 h 90704"/>
                <a:gd name="connsiteX12" fmla="*/ 68125 w 95695"/>
                <a:gd name="connsiteY12" fmla="*/ 59312 h 90704"/>
                <a:gd name="connsiteX13" fmla="*/ 66120 w 95695"/>
                <a:gd name="connsiteY13" fmla="*/ 61319 h 90704"/>
                <a:gd name="connsiteX14" fmla="*/ 29823 w 95695"/>
                <a:gd name="connsiteY14" fmla="*/ 61319 h 90704"/>
                <a:gd name="connsiteX15" fmla="*/ 22355 w 95695"/>
                <a:gd name="connsiteY15" fmla="*/ 45324 h 90704"/>
                <a:gd name="connsiteX16" fmla="*/ 47964 w 95695"/>
                <a:gd name="connsiteY16" fmla="*/ 22447 h 90704"/>
                <a:gd name="connsiteX17" fmla="*/ 48046 w 95695"/>
                <a:gd name="connsiteY17" fmla="*/ 22452 h 907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95" h="90704">
                  <a:moveTo>
                    <a:pt x="14662" y="77688"/>
                  </a:moveTo>
                  <a:cubicBezTo>
                    <a:pt x="23761" y="86116"/>
                    <a:pt x="35723" y="90765"/>
                    <a:pt x="48121" y="90693"/>
                  </a:cubicBezTo>
                  <a:lnTo>
                    <a:pt x="48121" y="90693"/>
                  </a:lnTo>
                  <a:cubicBezTo>
                    <a:pt x="73805" y="91236"/>
                    <a:pt x="95084" y="70877"/>
                    <a:pt x="95696" y="45174"/>
                  </a:cubicBezTo>
                  <a:cubicBezTo>
                    <a:pt x="95596" y="32952"/>
                    <a:pt x="90397" y="21327"/>
                    <a:pt x="81356" y="13109"/>
                  </a:cubicBezTo>
                  <a:cubicBezTo>
                    <a:pt x="62354" y="-4370"/>
                    <a:pt x="33142" y="-4370"/>
                    <a:pt x="14139" y="13109"/>
                  </a:cubicBezTo>
                  <a:cubicBezTo>
                    <a:pt x="-3597" y="29360"/>
                    <a:pt x="-4812" y="56924"/>
                    <a:pt x="11427" y="74675"/>
                  </a:cubicBezTo>
                  <a:cubicBezTo>
                    <a:pt x="12291" y="75619"/>
                    <a:pt x="13196" y="76524"/>
                    <a:pt x="14139" y="77389"/>
                  </a:cubicBezTo>
                  <a:lnTo>
                    <a:pt x="14662" y="77688"/>
                  </a:lnTo>
                  <a:close/>
                  <a:moveTo>
                    <a:pt x="48046" y="22452"/>
                  </a:moveTo>
                  <a:lnTo>
                    <a:pt x="48046" y="22452"/>
                  </a:lnTo>
                  <a:cubicBezTo>
                    <a:pt x="54709" y="22380"/>
                    <a:pt x="61156" y="24806"/>
                    <a:pt x="66120" y="29254"/>
                  </a:cubicBezTo>
                  <a:cubicBezTo>
                    <a:pt x="74968" y="37000"/>
                    <a:pt x="75866" y="50458"/>
                    <a:pt x="68125" y="59312"/>
                  </a:cubicBezTo>
                  <a:cubicBezTo>
                    <a:pt x="67502" y="60025"/>
                    <a:pt x="66832" y="60695"/>
                    <a:pt x="66120" y="61319"/>
                  </a:cubicBezTo>
                  <a:cubicBezTo>
                    <a:pt x="55767" y="70518"/>
                    <a:pt x="40176" y="70518"/>
                    <a:pt x="29823" y="61319"/>
                  </a:cubicBezTo>
                  <a:cubicBezTo>
                    <a:pt x="25178" y="57289"/>
                    <a:pt x="22463" y="51475"/>
                    <a:pt x="22355" y="45324"/>
                  </a:cubicBezTo>
                  <a:cubicBezTo>
                    <a:pt x="23114" y="31929"/>
                    <a:pt x="34579" y="21687"/>
                    <a:pt x="47964" y="22447"/>
                  </a:cubicBezTo>
                  <a:lnTo>
                    <a:pt x="48046" y="22452"/>
                  </a:lnTo>
                  <a:close/>
                </a:path>
              </a:pathLst>
            </a:custGeom>
            <a:solidFill>
              <a:srgbClr val="0065B0"/>
            </a:solidFill>
            <a:ln w="6712" cap="flat">
              <a:noFill/>
              <a:prstDash val="solid"/>
              <a:miter/>
            </a:ln>
          </p:spPr>
          <p:txBody>
            <a:bodyPr rtlCol="0" anchor="ctr"/>
            <a:lstStyle/>
            <a:p>
              <a:endParaRPr lang="nl-NL"/>
            </a:p>
          </p:txBody>
        </p:sp>
        <p:sp>
          <p:nvSpPr>
            <p:cNvPr id="68" name="Vrije vorm 67">
              <a:extLst>
                <a:ext uri="{FF2B5EF4-FFF2-40B4-BE49-F238E27FC236}">
                  <a16:creationId xmlns:a16="http://schemas.microsoft.com/office/drawing/2014/main" id="{4FB51988-4B45-F782-4E09-B2CAF628DED6}"/>
                </a:ext>
              </a:extLst>
            </p:cNvPr>
            <p:cNvSpPr/>
            <p:nvPr/>
          </p:nvSpPr>
          <p:spPr>
            <a:xfrm>
              <a:off x="11516187" y="640412"/>
              <a:ext cx="362330" cy="107565"/>
            </a:xfrm>
            <a:custGeom>
              <a:avLst/>
              <a:gdLst>
                <a:gd name="connsiteX0" fmla="*/ 357338 w 362330"/>
                <a:gd name="connsiteY0" fmla="*/ 2093 h 107565"/>
                <a:gd name="connsiteX1" fmla="*/ 350766 w 362330"/>
                <a:gd name="connsiteY1" fmla="*/ 0 h 107565"/>
                <a:gd name="connsiteX2" fmla="*/ 350766 w 362330"/>
                <a:gd name="connsiteY2" fmla="*/ 0 h 107565"/>
                <a:gd name="connsiteX3" fmla="*/ 341729 w 362330"/>
                <a:gd name="connsiteY3" fmla="*/ 4635 h 107565"/>
                <a:gd name="connsiteX4" fmla="*/ 180931 w 362330"/>
                <a:gd name="connsiteY4" fmla="*/ 85134 h 107565"/>
                <a:gd name="connsiteX5" fmla="*/ 179885 w 362330"/>
                <a:gd name="connsiteY5" fmla="*/ 85134 h 107565"/>
                <a:gd name="connsiteX6" fmla="*/ 20133 w 362330"/>
                <a:gd name="connsiteY6" fmla="*/ 7400 h 107565"/>
                <a:gd name="connsiteX7" fmla="*/ 4524 w 362330"/>
                <a:gd name="connsiteY7" fmla="*/ 5083 h 107565"/>
                <a:gd name="connsiteX8" fmla="*/ 2173 w 362330"/>
                <a:gd name="connsiteY8" fmla="*/ 20656 h 107565"/>
                <a:gd name="connsiteX9" fmla="*/ 2209 w 362330"/>
                <a:gd name="connsiteY9" fmla="*/ 20705 h 107565"/>
                <a:gd name="connsiteX10" fmla="*/ 179811 w 362330"/>
                <a:gd name="connsiteY10" fmla="*/ 107557 h 107565"/>
                <a:gd name="connsiteX11" fmla="*/ 181006 w 362330"/>
                <a:gd name="connsiteY11" fmla="*/ 107557 h 107565"/>
                <a:gd name="connsiteX12" fmla="*/ 360251 w 362330"/>
                <a:gd name="connsiteY12" fmla="*/ 17864 h 107565"/>
                <a:gd name="connsiteX13" fmla="*/ 357677 w 362330"/>
                <a:gd name="connsiteY13" fmla="*/ 2326 h 107565"/>
                <a:gd name="connsiteX14" fmla="*/ 357338 w 362330"/>
                <a:gd name="connsiteY14" fmla="*/ 2093 h 107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2330" h="107565">
                  <a:moveTo>
                    <a:pt x="357338" y="2093"/>
                  </a:moveTo>
                  <a:cubicBezTo>
                    <a:pt x="355427" y="712"/>
                    <a:pt x="353124" y="-21"/>
                    <a:pt x="350766" y="0"/>
                  </a:cubicBezTo>
                  <a:lnTo>
                    <a:pt x="350766" y="0"/>
                  </a:lnTo>
                  <a:cubicBezTo>
                    <a:pt x="347187" y="12"/>
                    <a:pt x="343829" y="1734"/>
                    <a:pt x="341729" y="4635"/>
                  </a:cubicBezTo>
                  <a:cubicBezTo>
                    <a:pt x="304023" y="55595"/>
                    <a:pt x="244291" y="85498"/>
                    <a:pt x="180931" y="85134"/>
                  </a:cubicBezTo>
                  <a:lnTo>
                    <a:pt x="179885" y="85134"/>
                  </a:lnTo>
                  <a:cubicBezTo>
                    <a:pt x="117391" y="85771"/>
                    <a:pt x="58229" y="56984"/>
                    <a:pt x="20133" y="7400"/>
                  </a:cubicBezTo>
                  <a:cubicBezTo>
                    <a:pt x="16449" y="2469"/>
                    <a:pt x="9480" y="1435"/>
                    <a:pt x="4524" y="5083"/>
                  </a:cubicBezTo>
                  <a:cubicBezTo>
                    <a:pt x="-422" y="8734"/>
                    <a:pt x="-1475" y="15706"/>
                    <a:pt x="2173" y="20656"/>
                  </a:cubicBezTo>
                  <a:lnTo>
                    <a:pt x="2209" y="20705"/>
                  </a:lnTo>
                  <a:cubicBezTo>
                    <a:pt x="44489" y="75969"/>
                    <a:pt x="110264" y="108135"/>
                    <a:pt x="179811" y="107557"/>
                  </a:cubicBezTo>
                  <a:lnTo>
                    <a:pt x="181006" y="107557"/>
                  </a:lnTo>
                  <a:cubicBezTo>
                    <a:pt x="251641" y="108036"/>
                    <a:pt x="318252" y="74704"/>
                    <a:pt x="360251" y="17864"/>
                  </a:cubicBezTo>
                  <a:cubicBezTo>
                    <a:pt x="363827" y="12862"/>
                    <a:pt x="362675" y="5906"/>
                    <a:pt x="357677" y="2326"/>
                  </a:cubicBezTo>
                  <a:cubicBezTo>
                    <a:pt x="357566" y="2247"/>
                    <a:pt x="357453" y="2169"/>
                    <a:pt x="357338" y="2093"/>
                  </a:cubicBezTo>
                  <a:close/>
                </a:path>
              </a:pathLst>
            </a:custGeom>
            <a:solidFill>
              <a:srgbClr val="0065B0"/>
            </a:solidFill>
            <a:ln w="6712" cap="flat">
              <a:noFill/>
              <a:prstDash val="solid"/>
              <a:miter/>
            </a:ln>
          </p:spPr>
          <p:txBody>
            <a:bodyPr rtlCol="0" anchor="ctr"/>
            <a:lstStyle/>
            <a:p>
              <a:endParaRPr lang="nl-NL"/>
            </a:p>
          </p:txBody>
        </p:sp>
        <p:sp>
          <p:nvSpPr>
            <p:cNvPr id="69" name="Vrije vorm 68">
              <a:extLst>
                <a:ext uri="{FF2B5EF4-FFF2-40B4-BE49-F238E27FC236}">
                  <a16:creationId xmlns:a16="http://schemas.microsoft.com/office/drawing/2014/main" id="{100E7932-3A30-842A-EBAE-3ECA1BC3FF30}"/>
                </a:ext>
              </a:extLst>
            </p:cNvPr>
            <p:cNvSpPr/>
            <p:nvPr/>
          </p:nvSpPr>
          <p:spPr>
            <a:xfrm>
              <a:off x="11174520" y="327457"/>
              <a:ext cx="95346" cy="90591"/>
            </a:xfrm>
            <a:custGeom>
              <a:avLst/>
              <a:gdLst>
                <a:gd name="connsiteX0" fmla="*/ 81207 w 95346"/>
                <a:gd name="connsiteY0" fmla="*/ 13006 h 90591"/>
                <a:gd name="connsiteX1" fmla="*/ 47748 w 95346"/>
                <a:gd name="connsiteY1" fmla="*/ 1 h 90591"/>
                <a:gd name="connsiteX2" fmla="*/ 47748 w 95346"/>
                <a:gd name="connsiteY2" fmla="*/ 1 h 90591"/>
                <a:gd name="connsiteX3" fmla="*/ 14139 w 95346"/>
                <a:gd name="connsiteY3" fmla="*/ 13305 h 90591"/>
                <a:gd name="connsiteX4" fmla="*/ 11427 w 95346"/>
                <a:gd name="connsiteY4" fmla="*/ 74871 h 90591"/>
                <a:gd name="connsiteX5" fmla="*/ 14139 w 95346"/>
                <a:gd name="connsiteY5" fmla="*/ 77585 h 90591"/>
                <a:gd name="connsiteX6" fmla="*/ 47598 w 95346"/>
                <a:gd name="connsiteY6" fmla="*/ 90591 h 90591"/>
                <a:gd name="connsiteX7" fmla="*/ 47598 w 95346"/>
                <a:gd name="connsiteY7" fmla="*/ 90591 h 90591"/>
                <a:gd name="connsiteX8" fmla="*/ 81207 w 95346"/>
                <a:gd name="connsiteY8" fmla="*/ 77286 h 90591"/>
                <a:gd name="connsiteX9" fmla="*/ 83919 w 95346"/>
                <a:gd name="connsiteY9" fmla="*/ 15721 h 90591"/>
                <a:gd name="connsiteX10" fmla="*/ 81207 w 95346"/>
                <a:gd name="connsiteY10" fmla="*/ 13006 h 90591"/>
                <a:gd name="connsiteX11" fmla="*/ 29674 w 95346"/>
                <a:gd name="connsiteY11" fmla="*/ 61740 h 90591"/>
                <a:gd name="connsiteX12" fmla="*/ 22205 w 95346"/>
                <a:gd name="connsiteY12" fmla="*/ 45744 h 90591"/>
                <a:gd name="connsiteX13" fmla="*/ 47524 w 95346"/>
                <a:gd name="connsiteY13" fmla="*/ 22648 h 90591"/>
                <a:gd name="connsiteX14" fmla="*/ 47524 w 95346"/>
                <a:gd name="connsiteY14" fmla="*/ 22648 h 90591"/>
                <a:gd name="connsiteX15" fmla="*/ 65598 w 95346"/>
                <a:gd name="connsiteY15" fmla="*/ 29450 h 90591"/>
                <a:gd name="connsiteX16" fmla="*/ 73066 w 95346"/>
                <a:gd name="connsiteY16" fmla="*/ 45445 h 90591"/>
                <a:gd name="connsiteX17" fmla="*/ 47748 w 95346"/>
                <a:gd name="connsiteY17" fmla="*/ 68541 h 90591"/>
                <a:gd name="connsiteX18" fmla="*/ 29674 w 95346"/>
                <a:gd name="connsiteY18" fmla="*/ 61740 h 9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5346" h="90591">
                  <a:moveTo>
                    <a:pt x="81207" y="13006"/>
                  </a:moveTo>
                  <a:cubicBezTo>
                    <a:pt x="72107" y="4578"/>
                    <a:pt x="60146" y="-71"/>
                    <a:pt x="47748" y="1"/>
                  </a:cubicBezTo>
                  <a:lnTo>
                    <a:pt x="47748" y="1"/>
                  </a:lnTo>
                  <a:cubicBezTo>
                    <a:pt x="35259" y="-20"/>
                    <a:pt x="23234" y="4740"/>
                    <a:pt x="14139" y="13305"/>
                  </a:cubicBezTo>
                  <a:cubicBezTo>
                    <a:pt x="-3597" y="29557"/>
                    <a:pt x="-4811" y="57121"/>
                    <a:pt x="11427" y="74871"/>
                  </a:cubicBezTo>
                  <a:cubicBezTo>
                    <a:pt x="12291" y="75815"/>
                    <a:pt x="13196" y="76721"/>
                    <a:pt x="14139" y="77585"/>
                  </a:cubicBezTo>
                  <a:cubicBezTo>
                    <a:pt x="23239" y="86013"/>
                    <a:pt x="35200" y="90663"/>
                    <a:pt x="47598" y="90591"/>
                  </a:cubicBezTo>
                  <a:lnTo>
                    <a:pt x="47598" y="90591"/>
                  </a:lnTo>
                  <a:cubicBezTo>
                    <a:pt x="60088" y="90612"/>
                    <a:pt x="72112" y="85852"/>
                    <a:pt x="81207" y="77286"/>
                  </a:cubicBezTo>
                  <a:cubicBezTo>
                    <a:pt x="98943" y="61035"/>
                    <a:pt x="100158" y="33471"/>
                    <a:pt x="83919" y="15721"/>
                  </a:cubicBezTo>
                  <a:cubicBezTo>
                    <a:pt x="83055" y="14776"/>
                    <a:pt x="82150" y="13871"/>
                    <a:pt x="81207" y="13006"/>
                  </a:cubicBezTo>
                  <a:close/>
                  <a:moveTo>
                    <a:pt x="29674" y="61740"/>
                  </a:moveTo>
                  <a:cubicBezTo>
                    <a:pt x="25029" y="57710"/>
                    <a:pt x="22314" y="51895"/>
                    <a:pt x="22205" y="45744"/>
                  </a:cubicBezTo>
                  <a:cubicBezTo>
                    <a:pt x="22850" y="32382"/>
                    <a:pt x="34169" y="22056"/>
                    <a:pt x="47524" y="22648"/>
                  </a:cubicBezTo>
                  <a:lnTo>
                    <a:pt x="47524" y="22648"/>
                  </a:lnTo>
                  <a:cubicBezTo>
                    <a:pt x="54186" y="22576"/>
                    <a:pt x="60634" y="25002"/>
                    <a:pt x="65598" y="29450"/>
                  </a:cubicBezTo>
                  <a:cubicBezTo>
                    <a:pt x="70242" y="33480"/>
                    <a:pt x="72957" y="39294"/>
                    <a:pt x="73066" y="45445"/>
                  </a:cubicBezTo>
                  <a:cubicBezTo>
                    <a:pt x="72421" y="58808"/>
                    <a:pt x="61102" y="69133"/>
                    <a:pt x="47748" y="68541"/>
                  </a:cubicBezTo>
                  <a:cubicBezTo>
                    <a:pt x="41083" y="68628"/>
                    <a:pt x="34630" y="66200"/>
                    <a:pt x="29674" y="61740"/>
                  </a:cubicBezTo>
                  <a:close/>
                </a:path>
              </a:pathLst>
            </a:custGeom>
            <a:solidFill>
              <a:srgbClr val="DC2215"/>
            </a:solidFill>
            <a:ln w="6712" cap="flat">
              <a:noFill/>
              <a:prstDash val="solid"/>
              <a:miter/>
            </a:ln>
          </p:spPr>
          <p:txBody>
            <a:bodyPr rtlCol="0" anchor="ctr"/>
            <a:lstStyle/>
            <a:p>
              <a:endParaRPr lang="nl-NL"/>
            </a:p>
          </p:txBody>
        </p:sp>
        <p:sp>
          <p:nvSpPr>
            <p:cNvPr id="70" name="Vrije vorm 69">
              <a:extLst>
                <a:ext uri="{FF2B5EF4-FFF2-40B4-BE49-F238E27FC236}">
                  <a16:creationId xmlns:a16="http://schemas.microsoft.com/office/drawing/2014/main" id="{86B2FE1E-32A9-33AE-68F9-6CA5638F5486}"/>
                </a:ext>
              </a:extLst>
            </p:cNvPr>
            <p:cNvSpPr/>
            <p:nvPr/>
          </p:nvSpPr>
          <p:spPr>
            <a:xfrm>
              <a:off x="11041432" y="299495"/>
              <a:ext cx="362025" cy="107568"/>
            </a:xfrm>
            <a:custGeom>
              <a:avLst/>
              <a:gdLst>
                <a:gd name="connsiteX0" fmla="*/ 360379 w 362025"/>
                <a:gd name="connsiteY0" fmla="*/ 86787 h 107568"/>
                <a:gd name="connsiteX1" fmla="*/ 182702 w 362025"/>
                <a:gd name="connsiteY1" fmla="*/ 9 h 107568"/>
                <a:gd name="connsiteX2" fmla="*/ 181507 w 362025"/>
                <a:gd name="connsiteY2" fmla="*/ 9 h 107568"/>
                <a:gd name="connsiteX3" fmla="*/ 2262 w 362025"/>
                <a:gd name="connsiteY3" fmla="*/ 89702 h 107568"/>
                <a:gd name="connsiteX4" fmla="*/ 4404 w 362025"/>
                <a:gd name="connsiteY4" fmla="*/ 105305 h 107568"/>
                <a:gd name="connsiteX5" fmla="*/ 11374 w 362025"/>
                <a:gd name="connsiteY5" fmla="*/ 107566 h 107568"/>
                <a:gd name="connsiteX6" fmla="*/ 11374 w 362025"/>
                <a:gd name="connsiteY6" fmla="*/ 107566 h 107568"/>
                <a:gd name="connsiteX7" fmla="*/ 20411 w 362025"/>
                <a:gd name="connsiteY7" fmla="*/ 102932 h 107568"/>
                <a:gd name="connsiteX8" fmla="*/ 181657 w 362025"/>
                <a:gd name="connsiteY8" fmla="*/ 22432 h 107568"/>
                <a:gd name="connsiteX9" fmla="*/ 182702 w 362025"/>
                <a:gd name="connsiteY9" fmla="*/ 22432 h 107568"/>
                <a:gd name="connsiteX10" fmla="*/ 342455 w 362025"/>
                <a:gd name="connsiteY10" fmla="*/ 100166 h 107568"/>
                <a:gd name="connsiteX11" fmla="*/ 358271 w 362025"/>
                <a:gd name="connsiteY11" fmla="*/ 101084 h 107568"/>
                <a:gd name="connsiteX12" fmla="*/ 360379 w 362025"/>
                <a:gd name="connsiteY12" fmla="*/ 86862 h 107568"/>
                <a:gd name="connsiteX13" fmla="*/ 360379 w 362025"/>
                <a:gd name="connsiteY13" fmla="*/ 86787 h 1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62025" h="107568">
                  <a:moveTo>
                    <a:pt x="360379" y="86787"/>
                  </a:moveTo>
                  <a:cubicBezTo>
                    <a:pt x="318067" y="31529"/>
                    <a:pt x="252262" y="-610"/>
                    <a:pt x="182702" y="9"/>
                  </a:cubicBezTo>
                  <a:lnTo>
                    <a:pt x="181507" y="9"/>
                  </a:lnTo>
                  <a:cubicBezTo>
                    <a:pt x="110872" y="-470"/>
                    <a:pt x="44261" y="32862"/>
                    <a:pt x="2262" y="89702"/>
                  </a:cubicBezTo>
                  <a:cubicBezTo>
                    <a:pt x="-1452" y="94603"/>
                    <a:pt x="-493" y="101588"/>
                    <a:pt x="4404" y="105305"/>
                  </a:cubicBezTo>
                  <a:cubicBezTo>
                    <a:pt x="6406" y="106824"/>
                    <a:pt x="8862" y="107621"/>
                    <a:pt x="11374" y="107566"/>
                  </a:cubicBezTo>
                  <a:lnTo>
                    <a:pt x="11374" y="107566"/>
                  </a:lnTo>
                  <a:cubicBezTo>
                    <a:pt x="14953" y="107554"/>
                    <a:pt x="18311" y="105832"/>
                    <a:pt x="20411" y="102932"/>
                  </a:cubicBezTo>
                  <a:cubicBezTo>
                    <a:pt x="58210" y="51843"/>
                    <a:pt x="118140" y="21924"/>
                    <a:pt x="181657" y="22432"/>
                  </a:cubicBezTo>
                  <a:lnTo>
                    <a:pt x="182702" y="22432"/>
                  </a:lnTo>
                  <a:cubicBezTo>
                    <a:pt x="245200" y="21783"/>
                    <a:pt x="304366" y="50573"/>
                    <a:pt x="342455" y="100166"/>
                  </a:cubicBezTo>
                  <a:cubicBezTo>
                    <a:pt x="346569" y="104791"/>
                    <a:pt x="353650" y="105202"/>
                    <a:pt x="358271" y="101084"/>
                  </a:cubicBezTo>
                  <a:cubicBezTo>
                    <a:pt x="362319" y="97478"/>
                    <a:pt x="363207" y="91489"/>
                    <a:pt x="360379" y="86862"/>
                  </a:cubicBezTo>
                  <a:lnTo>
                    <a:pt x="360379" y="86787"/>
                  </a:lnTo>
                  <a:close/>
                </a:path>
              </a:pathLst>
            </a:custGeom>
            <a:solidFill>
              <a:srgbClr val="DC2215"/>
            </a:solidFill>
            <a:ln w="6712" cap="flat">
              <a:noFill/>
              <a:prstDash val="solid"/>
              <a:miter/>
            </a:ln>
          </p:spPr>
          <p:txBody>
            <a:bodyPr rtlCol="0" anchor="ctr"/>
            <a:lstStyle/>
            <a:p>
              <a:endParaRPr lang="nl-NL"/>
            </a:p>
          </p:txBody>
        </p:sp>
        <p:sp>
          <p:nvSpPr>
            <p:cNvPr id="71" name="Vrije vorm 70">
              <a:extLst>
                <a:ext uri="{FF2B5EF4-FFF2-40B4-BE49-F238E27FC236}">
                  <a16:creationId xmlns:a16="http://schemas.microsoft.com/office/drawing/2014/main" id="{614CE72F-1CD5-F002-8420-034EA87D43BD}"/>
                </a:ext>
              </a:extLst>
            </p:cNvPr>
            <p:cNvSpPr/>
            <p:nvPr/>
          </p:nvSpPr>
          <p:spPr>
            <a:xfrm>
              <a:off x="11045106" y="466553"/>
              <a:ext cx="119734" cy="128196"/>
            </a:xfrm>
            <a:custGeom>
              <a:avLst/>
              <a:gdLst>
                <a:gd name="connsiteX0" fmla="*/ 119728 w 119734"/>
                <a:gd name="connsiteY0" fmla="*/ 63910 h 128196"/>
                <a:gd name="connsiteX1" fmla="*/ 115546 w 119734"/>
                <a:gd name="connsiteY1" fmla="*/ 90145 h 128196"/>
                <a:gd name="connsiteX2" fmla="*/ 103521 w 119734"/>
                <a:gd name="connsiteY2" fmla="*/ 110476 h 128196"/>
                <a:gd name="connsiteX3" fmla="*/ 84626 w 119734"/>
                <a:gd name="connsiteY3" fmla="*/ 123556 h 128196"/>
                <a:gd name="connsiteX4" fmla="*/ 59980 w 119734"/>
                <a:gd name="connsiteY4" fmla="*/ 128190 h 128196"/>
                <a:gd name="connsiteX5" fmla="*/ 35557 w 119734"/>
                <a:gd name="connsiteY5" fmla="*/ 123556 h 128196"/>
                <a:gd name="connsiteX6" fmla="*/ 16662 w 119734"/>
                <a:gd name="connsiteY6" fmla="*/ 110476 h 128196"/>
                <a:gd name="connsiteX7" fmla="*/ 4414 w 119734"/>
                <a:gd name="connsiteY7" fmla="*/ 90145 h 128196"/>
                <a:gd name="connsiteX8" fmla="*/ 7 w 119734"/>
                <a:gd name="connsiteY8" fmla="*/ 63910 h 128196"/>
                <a:gd name="connsiteX9" fmla="*/ 4488 w 119734"/>
                <a:gd name="connsiteY9" fmla="*/ 37750 h 128196"/>
                <a:gd name="connsiteX10" fmla="*/ 16961 w 119734"/>
                <a:gd name="connsiteY10" fmla="*/ 17644 h 128196"/>
                <a:gd name="connsiteX11" fmla="*/ 35632 w 119734"/>
                <a:gd name="connsiteY11" fmla="*/ 4862 h 128196"/>
                <a:gd name="connsiteX12" fmla="*/ 59980 w 119734"/>
                <a:gd name="connsiteY12" fmla="*/ 4 h 128196"/>
                <a:gd name="connsiteX13" fmla="*/ 84178 w 119734"/>
                <a:gd name="connsiteY13" fmla="*/ 4638 h 128196"/>
                <a:gd name="connsiteX14" fmla="*/ 103073 w 119734"/>
                <a:gd name="connsiteY14" fmla="*/ 17569 h 128196"/>
                <a:gd name="connsiteX15" fmla="*/ 115322 w 119734"/>
                <a:gd name="connsiteY15" fmla="*/ 37675 h 128196"/>
                <a:gd name="connsiteX16" fmla="*/ 119728 w 119734"/>
                <a:gd name="connsiteY16" fmla="*/ 63910 h 128196"/>
                <a:gd name="connsiteX17" fmla="*/ 84551 w 119734"/>
                <a:gd name="connsiteY17" fmla="*/ 63910 h 128196"/>
                <a:gd name="connsiteX18" fmla="*/ 78203 w 119734"/>
                <a:gd name="connsiteY18" fmla="*/ 38796 h 128196"/>
                <a:gd name="connsiteX19" fmla="*/ 59980 w 119734"/>
                <a:gd name="connsiteY19" fmla="*/ 29677 h 128196"/>
                <a:gd name="connsiteX20" fmla="*/ 41682 w 119734"/>
                <a:gd name="connsiteY20" fmla="*/ 38796 h 128196"/>
                <a:gd name="connsiteX21" fmla="*/ 35184 w 119734"/>
                <a:gd name="connsiteY21" fmla="*/ 63910 h 128196"/>
                <a:gd name="connsiteX22" fmla="*/ 41682 w 119734"/>
                <a:gd name="connsiteY22" fmla="*/ 89249 h 128196"/>
                <a:gd name="connsiteX23" fmla="*/ 59980 w 119734"/>
                <a:gd name="connsiteY23" fmla="*/ 98592 h 128196"/>
                <a:gd name="connsiteX24" fmla="*/ 78128 w 119734"/>
                <a:gd name="connsiteY24" fmla="*/ 89249 h 128196"/>
                <a:gd name="connsiteX25" fmla="*/ 84178 w 119734"/>
                <a:gd name="connsiteY25" fmla="*/ 63910 h 128196"/>
                <a:gd name="connsiteX26" fmla="*/ 84551 w 119734"/>
                <a:gd name="connsiteY26" fmla="*/ 63910 h 1281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9734" h="128196">
                  <a:moveTo>
                    <a:pt x="119728" y="63910"/>
                  </a:moveTo>
                  <a:cubicBezTo>
                    <a:pt x="119824" y="72829"/>
                    <a:pt x="118410" y="81699"/>
                    <a:pt x="115546" y="90145"/>
                  </a:cubicBezTo>
                  <a:cubicBezTo>
                    <a:pt x="112999" y="97688"/>
                    <a:pt x="108903" y="104613"/>
                    <a:pt x="103521" y="110476"/>
                  </a:cubicBezTo>
                  <a:cubicBezTo>
                    <a:pt x="98230" y="116138"/>
                    <a:pt x="91787" y="120599"/>
                    <a:pt x="84626" y="123556"/>
                  </a:cubicBezTo>
                  <a:cubicBezTo>
                    <a:pt x="76803" y="126735"/>
                    <a:pt x="68422" y="128311"/>
                    <a:pt x="59980" y="128190"/>
                  </a:cubicBezTo>
                  <a:cubicBezTo>
                    <a:pt x="51611" y="128299"/>
                    <a:pt x="43306" y="126723"/>
                    <a:pt x="35557" y="123556"/>
                  </a:cubicBezTo>
                  <a:cubicBezTo>
                    <a:pt x="28396" y="120601"/>
                    <a:pt x="21952" y="116140"/>
                    <a:pt x="16662" y="110476"/>
                  </a:cubicBezTo>
                  <a:cubicBezTo>
                    <a:pt x="11263" y="104586"/>
                    <a:pt x="7098" y="97673"/>
                    <a:pt x="4414" y="90145"/>
                  </a:cubicBezTo>
                  <a:cubicBezTo>
                    <a:pt x="1398" y="81732"/>
                    <a:pt x="-94" y="72848"/>
                    <a:pt x="7" y="63910"/>
                  </a:cubicBezTo>
                  <a:cubicBezTo>
                    <a:pt x="-119" y="54989"/>
                    <a:pt x="1401" y="46120"/>
                    <a:pt x="4488" y="37750"/>
                  </a:cubicBezTo>
                  <a:cubicBezTo>
                    <a:pt x="7253" y="30277"/>
                    <a:pt x="11495" y="23438"/>
                    <a:pt x="16961" y="17644"/>
                  </a:cubicBezTo>
                  <a:cubicBezTo>
                    <a:pt x="22254" y="12160"/>
                    <a:pt x="28607" y="7811"/>
                    <a:pt x="35632" y="4862"/>
                  </a:cubicBezTo>
                  <a:cubicBezTo>
                    <a:pt x="43331" y="1596"/>
                    <a:pt x="51618" y="-57"/>
                    <a:pt x="59980" y="4"/>
                  </a:cubicBezTo>
                  <a:cubicBezTo>
                    <a:pt x="68274" y="-89"/>
                    <a:pt x="76503" y="1487"/>
                    <a:pt x="84178" y="4638"/>
                  </a:cubicBezTo>
                  <a:cubicBezTo>
                    <a:pt x="91312" y="7576"/>
                    <a:pt x="97750" y="11981"/>
                    <a:pt x="103073" y="17569"/>
                  </a:cubicBezTo>
                  <a:cubicBezTo>
                    <a:pt x="108468" y="23376"/>
                    <a:pt x="112635" y="30215"/>
                    <a:pt x="115322" y="37675"/>
                  </a:cubicBezTo>
                  <a:cubicBezTo>
                    <a:pt x="118356" y="46084"/>
                    <a:pt x="119848" y="54971"/>
                    <a:pt x="119728" y="63910"/>
                  </a:cubicBezTo>
                  <a:close/>
                  <a:moveTo>
                    <a:pt x="84551" y="63910"/>
                  </a:moveTo>
                  <a:cubicBezTo>
                    <a:pt x="85047" y="55087"/>
                    <a:pt x="82832" y="46322"/>
                    <a:pt x="78203" y="38796"/>
                  </a:cubicBezTo>
                  <a:cubicBezTo>
                    <a:pt x="74129" y="32789"/>
                    <a:pt x="67226" y="29335"/>
                    <a:pt x="59980" y="29677"/>
                  </a:cubicBezTo>
                  <a:cubicBezTo>
                    <a:pt x="52720" y="29367"/>
                    <a:pt x="45809" y="32811"/>
                    <a:pt x="41682" y="38796"/>
                  </a:cubicBezTo>
                  <a:cubicBezTo>
                    <a:pt x="36965" y="46290"/>
                    <a:pt x="34694" y="55067"/>
                    <a:pt x="35184" y="63910"/>
                  </a:cubicBezTo>
                  <a:cubicBezTo>
                    <a:pt x="34720" y="72822"/>
                    <a:pt x="36987" y="81662"/>
                    <a:pt x="41682" y="89249"/>
                  </a:cubicBezTo>
                  <a:cubicBezTo>
                    <a:pt x="45737" y="95342"/>
                    <a:pt x="52670" y="98882"/>
                    <a:pt x="59980" y="98592"/>
                  </a:cubicBezTo>
                  <a:cubicBezTo>
                    <a:pt x="67250" y="98888"/>
                    <a:pt x="74142" y="95340"/>
                    <a:pt x="78128" y="89249"/>
                  </a:cubicBezTo>
                  <a:cubicBezTo>
                    <a:pt x="82631" y="81598"/>
                    <a:pt x="84738" y="72772"/>
                    <a:pt x="84178" y="63910"/>
                  </a:cubicBezTo>
                  <a:lnTo>
                    <a:pt x="84551" y="63910"/>
                  </a:lnTo>
                  <a:close/>
                </a:path>
              </a:pathLst>
            </a:custGeom>
            <a:solidFill>
              <a:srgbClr val="0065B0"/>
            </a:solidFill>
            <a:ln w="6712" cap="flat">
              <a:noFill/>
              <a:prstDash val="solid"/>
              <a:miter/>
            </a:ln>
          </p:spPr>
          <p:txBody>
            <a:bodyPr rtlCol="0" anchor="ctr"/>
            <a:lstStyle/>
            <a:p>
              <a:endParaRPr lang="nl-NL"/>
            </a:p>
          </p:txBody>
        </p:sp>
        <p:sp>
          <p:nvSpPr>
            <p:cNvPr id="72" name="Vrije vorm 71">
              <a:extLst>
                <a:ext uri="{FF2B5EF4-FFF2-40B4-BE49-F238E27FC236}">
                  <a16:creationId xmlns:a16="http://schemas.microsoft.com/office/drawing/2014/main" id="{31DD794D-72A2-CECF-2647-8A5FF085C0ED}"/>
                </a:ext>
              </a:extLst>
            </p:cNvPr>
            <p:cNvSpPr/>
            <p:nvPr/>
          </p:nvSpPr>
          <p:spPr>
            <a:xfrm>
              <a:off x="11191123" y="467224"/>
              <a:ext cx="79166" cy="124304"/>
            </a:xfrm>
            <a:custGeom>
              <a:avLst/>
              <a:gdLst>
                <a:gd name="connsiteX0" fmla="*/ 73416 w 79166"/>
                <a:gd name="connsiteY0" fmla="*/ 33117 h 124304"/>
                <a:gd name="connsiteX1" fmla="*/ 62512 w 79166"/>
                <a:gd name="connsiteY1" fmla="*/ 30725 h 124304"/>
                <a:gd name="connsiteX2" fmla="*/ 49068 w 79166"/>
                <a:gd name="connsiteY2" fmla="*/ 29454 h 124304"/>
                <a:gd name="connsiteX3" fmla="*/ 41600 w 79166"/>
                <a:gd name="connsiteY3" fmla="*/ 30052 h 124304"/>
                <a:gd name="connsiteX4" fmla="*/ 34729 w 79166"/>
                <a:gd name="connsiteY4" fmla="*/ 31323 h 124304"/>
                <a:gd name="connsiteX5" fmla="*/ 34729 w 79166"/>
                <a:gd name="connsiteY5" fmla="*/ 124305 h 124304"/>
                <a:gd name="connsiteX6" fmla="*/ 0 w 79166"/>
                <a:gd name="connsiteY6" fmla="*/ 124305 h 124304"/>
                <a:gd name="connsiteX7" fmla="*/ 0 w 79166"/>
                <a:gd name="connsiteY7" fmla="*/ 9049 h 124304"/>
                <a:gd name="connsiteX8" fmla="*/ 21883 w 79166"/>
                <a:gd name="connsiteY8" fmla="*/ 2920 h 124304"/>
                <a:gd name="connsiteX9" fmla="*/ 50039 w 79166"/>
                <a:gd name="connsiteY9" fmla="*/ 5 h 124304"/>
                <a:gd name="connsiteX10" fmla="*/ 56761 w 79166"/>
                <a:gd name="connsiteY10" fmla="*/ 5 h 124304"/>
                <a:gd name="connsiteX11" fmla="*/ 64603 w 79166"/>
                <a:gd name="connsiteY11" fmla="*/ 902 h 124304"/>
                <a:gd name="connsiteX12" fmla="*/ 72445 w 79166"/>
                <a:gd name="connsiteY12" fmla="*/ 2322 h 124304"/>
                <a:gd name="connsiteX13" fmla="*/ 79167 w 79166"/>
                <a:gd name="connsiteY13" fmla="*/ 4266 h 124304"/>
                <a:gd name="connsiteX14" fmla="*/ 73416 w 79166"/>
                <a:gd name="connsiteY14" fmla="*/ 33117 h 124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166" h="124304">
                  <a:moveTo>
                    <a:pt x="73416" y="33117"/>
                  </a:moveTo>
                  <a:cubicBezTo>
                    <a:pt x="70329" y="32370"/>
                    <a:pt x="66694" y="31572"/>
                    <a:pt x="62512" y="30725"/>
                  </a:cubicBezTo>
                  <a:cubicBezTo>
                    <a:pt x="58085" y="29851"/>
                    <a:pt x="53581" y="29425"/>
                    <a:pt x="49068" y="29454"/>
                  </a:cubicBezTo>
                  <a:cubicBezTo>
                    <a:pt x="46569" y="29505"/>
                    <a:pt x="44075" y="29705"/>
                    <a:pt x="41600" y="30052"/>
                  </a:cubicBezTo>
                  <a:cubicBezTo>
                    <a:pt x="39281" y="30302"/>
                    <a:pt x="36984" y="30726"/>
                    <a:pt x="34729" y="31323"/>
                  </a:cubicBezTo>
                  <a:lnTo>
                    <a:pt x="34729" y="124305"/>
                  </a:lnTo>
                  <a:lnTo>
                    <a:pt x="0" y="124305"/>
                  </a:lnTo>
                  <a:lnTo>
                    <a:pt x="0" y="9049"/>
                  </a:lnTo>
                  <a:cubicBezTo>
                    <a:pt x="7178" y="6610"/>
                    <a:pt x="14483" y="4564"/>
                    <a:pt x="21883" y="2920"/>
                  </a:cubicBezTo>
                  <a:cubicBezTo>
                    <a:pt x="31130" y="897"/>
                    <a:pt x="40574" y="-80"/>
                    <a:pt x="50039" y="5"/>
                  </a:cubicBezTo>
                  <a:lnTo>
                    <a:pt x="56761" y="5"/>
                  </a:lnTo>
                  <a:cubicBezTo>
                    <a:pt x="59400" y="5"/>
                    <a:pt x="62014" y="304"/>
                    <a:pt x="64603" y="902"/>
                  </a:cubicBezTo>
                  <a:cubicBezTo>
                    <a:pt x="67242" y="1301"/>
                    <a:pt x="69856" y="1774"/>
                    <a:pt x="72445" y="2322"/>
                  </a:cubicBezTo>
                  <a:cubicBezTo>
                    <a:pt x="74741" y="2758"/>
                    <a:pt x="76992" y="3409"/>
                    <a:pt x="79167" y="4266"/>
                  </a:cubicBezTo>
                  <a:lnTo>
                    <a:pt x="73416" y="33117"/>
                  </a:lnTo>
                  <a:close/>
                </a:path>
              </a:pathLst>
            </a:custGeom>
            <a:solidFill>
              <a:srgbClr val="0065B0"/>
            </a:solidFill>
            <a:ln w="6712" cap="flat">
              <a:noFill/>
              <a:prstDash val="solid"/>
              <a:miter/>
            </a:ln>
          </p:spPr>
          <p:txBody>
            <a:bodyPr rtlCol="0" anchor="ctr"/>
            <a:lstStyle/>
            <a:p>
              <a:endParaRPr lang="nl-NL"/>
            </a:p>
          </p:txBody>
        </p:sp>
        <p:sp>
          <p:nvSpPr>
            <p:cNvPr id="73" name="Vrije vorm 72">
              <a:extLst>
                <a:ext uri="{FF2B5EF4-FFF2-40B4-BE49-F238E27FC236}">
                  <a16:creationId xmlns:a16="http://schemas.microsoft.com/office/drawing/2014/main" id="{0E7619D8-29EF-F80A-B86A-A89DF7A2B1B6}"/>
                </a:ext>
              </a:extLst>
            </p:cNvPr>
            <p:cNvSpPr/>
            <p:nvPr/>
          </p:nvSpPr>
          <p:spPr>
            <a:xfrm>
              <a:off x="11280631" y="467146"/>
              <a:ext cx="111097" cy="167660"/>
            </a:xfrm>
            <a:custGeom>
              <a:avLst/>
              <a:gdLst>
                <a:gd name="connsiteX0" fmla="*/ 111098 w 111097"/>
                <a:gd name="connsiteY0" fmla="*/ 108911 h 167660"/>
                <a:gd name="connsiteX1" fmla="*/ 96161 w 111097"/>
                <a:gd name="connsiteY1" fmla="*/ 153235 h 167660"/>
                <a:gd name="connsiteX2" fmla="*/ 49258 w 111097"/>
                <a:gd name="connsiteY2" fmla="*/ 167660 h 167660"/>
                <a:gd name="connsiteX3" fmla="*/ 26853 w 111097"/>
                <a:gd name="connsiteY3" fmla="*/ 165717 h 167660"/>
                <a:gd name="connsiteX4" fmla="*/ 6239 w 111097"/>
                <a:gd name="connsiteY4" fmla="*/ 160485 h 167660"/>
                <a:gd name="connsiteX5" fmla="*/ 12289 w 111097"/>
                <a:gd name="connsiteY5" fmla="*/ 131559 h 167660"/>
                <a:gd name="connsiteX6" fmla="*/ 29317 w 111097"/>
                <a:gd name="connsiteY6" fmla="*/ 136642 h 167660"/>
                <a:gd name="connsiteX7" fmla="*/ 49557 w 111097"/>
                <a:gd name="connsiteY7" fmla="*/ 138510 h 167660"/>
                <a:gd name="connsiteX8" fmla="*/ 70544 w 111097"/>
                <a:gd name="connsiteY8" fmla="*/ 132007 h 167660"/>
                <a:gd name="connsiteX9" fmla="*/ 76668 w 111097"/>
                <a:gd name="connsiteY9" fmla="*/ 115339 h 167660"/>
                <a:gd name="connsiteX10" fmla="*/ 76668 w 111097"/>
                <a:gd name="connsiteY10" fmla="*/ 110930 h 167660"/>
                <a:gd name="connsiteX11" fmla="*/ 65166 w 111097"/>
                <a:gd name="connsiteY11" fmla="*/ 114742 h 167660"/>
                <a:gd name="connsiteX12" fmla="*/ 52246 w 111097"/>
                <a:gd name="connsiteY12" fmla="*/ 116386 h 167660"/>
                <a:gd name="connsiteX13" fmla="*/ 13558 w 111097"/>
                <a:gd name="connsiteY13" fmla="*/ 101437 h 167660"/>
                <a:gd name="connsiteX14" fmla="*/ 115 w 111097"/>
                <a:gd name="connsiteY14" fmla="*/ 59655 h 167660"/>
                <a:gd name="connsiteX15" fmla="*/ 4297 w 111097"/>
                <a:gd name="connsiteY15" fmla="*/ 35214 h 167660"/>
                <a:gd name="connsiteX16" fmla="*/ 16471 w 111097"/>
                <a:gd name="connsiteY16" fmla="*/ 16378 h 167660"/>
                <a:gd name="connsiteX17" fmla="*/ 36039 w 111097"/>
                <a:gd name="connsiteY17" fmla="*/ 4270 h 167660"/>
                <a:gd name="connsiteX18" fmla="*/ 62179 w 111097"/>
                <a:gd name="connsiteY18" fmla="*/ 9 h 167660"/>
                <a:gd name="connsiteX19" fmla="*/ 75025 w 111097"/>
                <a:gd name="connsiteY19" fmla="*/ 607 h 167660"/>
                <a:gd name="connsiteX20" fmla="*/ 88095 w 111097"/>
                <a:gd name="connsiteY20" fmla="*/ 2102 h 167660"/>
                <a:gd name="connsiteX21" fmla="*/ 100493 w 111097"/>
                <a:gd name="connsiteY21" fmla="*/ 4270 h 167660"/>
                <a:gd name="connsiteX22" fmla="*/ 111023 w 111097"/>
                <a:gd name="connsiteY22" fmla="*/ 6960 h 167660"/>
                <a:gd name="connsiteX23" fmla="*/ 111098 w 111097"/>
                <a:gd name="connsiteY23" fmla="*/ 108911 h 167660"/>
                <a:gd name="connsiteX24" fmla="*/ 35367 w 111097"/>
                <a:gd name="connsiteY24" fmla="*/ 59580 h 167660"/>
                <a:gd name="connsiteX25" fmla="*/ 58743 w 111097"/>
                <a:gd name="connsiteY25" fmla="*/ 88506 h 167660"/>
                <a:gd name="connsiteX26" fmla="*/ 68676 w 111097"/>
                <a:gd name="connsiteY26" fmla="*/ 87086 h 167660"/>
                <a:gd name="connsiteX27" fmla="*/ 76518 w 111097"/>
                <a:gd name="connsiteY27" fmla="*/ 83872 h 167660"/>
                <a:gd name="connsiteX28" fmla="*/ 76518 w 111097"/>
                <a:gd name="connsiteY28" fmla="*/ 28860 h 167660"/>
                <a:gd name="connsiteX29" fmla="*/ 70469 w 111097"/>
                <a:gd name="connsiteY29" fmla="*/ 28038 h 167660"/>
                <a:gd name="connsiteX30" fmla="*/ 62328 w 111097"/>
                <a:gd name="connsiteY30" fmla="*/ 28038 h 167660"/>
                <a:gd name="connsiteX31" fmla="*/ 41939 w 111097"/>
                <a:gd name="connsiteY31" fmla="*/ 37082 h 167660"/>
                <a:gd name="connsiteX32" fmla="*/ 35367 w 111097"/>
                <a:gd name="connsiteY32" fmla="*/ 59580 h 167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1097" h="167660">
                  <a:moveTo>
                    <a:pt x="111098" y="108911"/>
                  </a:moveTo>
                  <a:cubicBezTo>
                    <a:pt x="111098" y="128843"/>
                    <a:pt x="106119" y="143618"/>
                    <a:pt x="96161" y="153235"/>
                  </a:cubicBezTo>
                  <a:cubicBezTo>
                    <a:pt x="86203" y="162852"/>
                    <a:pt x="70568" y="167660"/>
                    <a:pt x="49258" y="167660"/>
                  </a:cubicBezTo>
                  <a:cubicBezTo>
                    <a:pt x="41747" y="167672"/>
                    <a:pt x="34250" y="167022"/>
                    <a:pt x="26853" y="165717"/>
                  </a:cubicBezTo>
                  <a:cubicBezTo>
                    <a:pt x="19858" y="164502"/>
                    <a:pt x="12967" y="162753"/>
                    <a:pt x="6239" y="160485"/>
                  </a:cubicBezTo>
                  <a:lnTo>
                    <a:pt x="12289" y="131559"/>
                  </a:lnTo>
                  <a:cubicBezTo>
                    <a:pt x="17806" y="133747"/>
                    <a:pt x="23504" y="135448"/>
                    <a:pt x="29317" y="136642"/>
                  </a:cubicBezTo>
                  <a:cubicBezTo>
                    <a:pt x="35983" y="137948"/>
                    <a:pt x="42765" y="138574"/>
                    <a:pt x="49557" y="138510"/>
                  </a:cubicBezTo>
                  <a:cubicBezTo>
                    <a:pt x="57145" y="139285"/>
                    <a:pt x="64721" y="136937"/>
                    <a:pt x="70544" y="132007"/>
                  </a:cubicBezTo>
                  <a:cubicBezTo>
                    <a:pt x="74709" y="127482"/>
                    <a:pt x="76911" y="121488"/>
                    <a:pt x="76668" y="115339"/>
                  </a:cubicBezTo>
                  <a:lnTo>
                    <a:pt x="76668" y="110930"/>
                  </a:lnTo>
                  <a:cubicBezTo>
                    <a:pt x="72985" y="112618"/>
                    <a:pt x="69128" y="113896"/>
                    <a:pt x="65166" y="114742"/>
                  </a:cubicBezTo>
                  <a:cubicBezTo>
                    <a:pt x="60930" y="115749"/>
                    <a:pt x="56599" y="116301"/>
                    <a:pt x="52246" y="116386"/>
                  </a:cubicBezTo>
                  <a:cubicBezTo>
                    <a:pt x="37782" y="117328"/>
                    <a:pt x="23636" y="111862"/>
                    <a:pt x="13558" y="101437"/>
                  </a:cubicBezTo>
                  <a:cubicBezTo>
                    <a:pt x="3980" y="89701"/>
                    <a:pt x="-821" y="74780"/>
                    <a:pt x="115" y="59655"/>
                  </a:cubicBezTo>
                  <a:cubicBezTo>
                    <a:pt x="8" y="51321"/>
                    <a:pt x="1425" y="43037"/>
                    <a:pt x="4297" y="35214"/>
                  </a:cubicBezTo>
                  <a:cubicBezTo>
                    <a:pt x="6947" y="28128"/>
                    <a:pt x="11100" y="21702"/>
                    <a:pt x="16471" y="16378"/>
                  </a:cubicBezTo>
                  <a:cubicBezTo>
                    <a:pt x="22056" y="10991"/>
                    <a:pt x="28728" y="6863"/>
                    <a:pt x="36039" y="4270"/>
                  </a:cubicBezTo>
                  <a:cubicBezTo>
                    <a:pt x="44432" y="1313"/>
                    <a:pt x="53282" y="-129"/>
                    <a:pt x="62179" y="9"/>
                  </a:cubicBezTo>
                  <a:cubicBezTo>
                    <a:pt x="66361" y="9"/>
                    <a:pt x="70643" y="208"/>
                    <a:pt x="75025" y="607"/>
                  </a:cubicBezTo>
                  <a:cubicBezTo>
                    <a:pt x="79406" y="1006"/>
                    <a:pt x="83763" y="1504"/>
                    <a:pt x="88095" y="2102"/>
                  </a:cubicBezTo>
                  <a:cubicBezTo>
                    <a:pt x="92426" y="2700"/>
                    <a:pt x="96559" y="3422"/>
                    <a:pt x="100493" y="4270"/>
                  </a:cubicBezTo>
                  <a:cubicBezTo>
                    <a:pt x="104426" y="5117"/>
                    <a:pt x="107936" y="6014"/>
                    <a:pt x="111023" y="6960"/>
                  </a:cubicBezTo>
                  <a:lnTo>
                    <a:pt x="111098" y="108911"/>
                  </a:lnTo>
                  <a:close/>
                  <a:moveTo>
                    <a:pt x="35367" y="59580"/>
                  </a:moveTo>
                  <a:cubicBezTo>
                    <a:pt x="35367" y="78864"/>
                    <a:pt x="43159" y="88506"/>
                    <a:pt x="58743" y="88506"/>
                  </a:cubicBezTo>
                  <a:cubicBezTo>
                    <a:pt x="62106" y="88519"/>
                    <a:pt x="65452" y="88040"/>
                    <a:pt x="68676" y="87086"/>
                  </a:cubicBezTo>
                  <a:cubicBezTo>
                    <a:pt x="71402" y="86312"/>
                    <a:pt x="74033" y="85234"/>
                    <a:pt x="76518" y="83872"/>
                  </a:cubicBezTo>
                  <a:lnTo>
                    <a:pt x="76518" y="28860"/>
                  </a:lnTo>
                  <a:cubicBezTo>
                    <a:pt x="74826" y="28561"/>
                    <a:pt x="72809" y="28287"/>
                    <a:pt x="70469" y="28038"/>
                  </a:cubicBezTo>
                  <a:cubicBezTo>
                    <a:pt x="68129" y="27789"/>
                    <a:pt x="65415" y="27789"/>
                    <a:pt x="62328" y="28038"/>
                  </a:cubicBezTo>
                  <a:cubicBezTo>
                    <a:pt x="54452" y="27473"/>
                    <a:pt x="46811" y="30863"/>
                    <a:pt x="41939" y="37082"/>
                  </a:cubicBezTo>
                  <a:cubicBezTo>
                    <a:pt x="37394" y="43682"/>
                    <a:pt x="35090" y="51570"/>
                    <a:pt x="35367" y="59580"/>
                  </a:cubicBezTo>
                  <a:close/>
                </a:path>
              </a:pathLst>
            </a:custGeom>
            <a:solidFill>
              <a:srgbClr val="0065B0"/>
            </a:solidFill>
            <a:ln w="6712" cap="flat">
              <a:noFill/>
              <a:prstDash val="solid"/>
              <a:miter/>
            </a:ln>
          </p:spPr>
          <p:txBody>
            <a:bodyPr rtlCol="0" anchor="ctr"/>
            <a:lstStyle/>
            <a:p>
              <a:endParaRPr lang="nl-NL"/>
            </a:p>
          </p:txBody>
        </p:sp>
        <p:sp>
          <p:nvSpPr>
            <p:cNvPr id="74" name="Vrije vorm 73">
              <a:extLst>
                <a:ext uri="{FF2B5EF4-FFF2-40B4-BE49-F238E27FC236}">
                  <a16:creationId xmlns:a16="http://schemas.microsoft.com/office/drawing/2014/main" id="{751DC35C-8D07-5636-99E2-D163B27C21CA}"/>
                </a:ext>
              </a:extLst>
            </p:cNvPr>
            <p:cNvSpPr/>
            <p:nvPr/>
          </p:nvSpPr>
          <p:spPr>
            <a:xfrm>
              <a:off x="11416823" y="427445"/>
              <a:ext cx="117011" cy="167301"/>
            </a:xfrm>
            <a:custGeom>
              <a:avLst/>
              <a:gdLst>
                <a:gd name="connsiteX0" fmla="*/ 53475 w 117011"/>
                <a:gd name="connsiteY0" fmla="*/ 136578 h 167301"/>
                <a:gd name="connsiteX1" fmla="*/ 66097 w 117011"/>
                <a:gd name="connsiteY1" fmla="*/ 135308 h 167301"/>
                <a:gd name="connsiteX2" fmla="*/ 74088 w 117011"/>
                <a:gd name="connsiteY2" fmla="*/ 131870 h 167301"/>
                <a:gd name="connsiteX3" fmla="*/ 78270 w 117011"/>
                <a:gd name="connsiteY3" fmla="*/ 126638 h 167301"/>
                <a:gd name="connsiteX4" fmla="*/ 79465 w 117011"/>
                <a:gd name="connsiteY4" fmla="*/ 119910 h 167301"/>
                <a:gd name="connsiteX5" fmla="*/ 71997 w 117011"/>
                <a:gd name="connsiteY5" fmla="*/ 106830 h 167301"/>
                <a:gd name="connsiteX6" fmla="*/ 46753 w 117011"/>
                <a:gd name="connsiteY6" fmla="*/ 95619 h 167301"/>
                <a:gd name="connsiteX7" fmla="*/ 30994 w 117011"/>
                <a:gd name="connsiteY7" fmla="*/ 89265 h 167301"/>
                <a:gd name="connsiteX8" fmla="*/ 16879 w 117011"/>
                <a:gd name="connsiteY8" fmla="*/ 80221 h 167301"/>
                <a:gd name="connsiteX9" fmla="*/ 6722 w 117011"/>
                <a:gd name="connsiteY9" fmla="*/ 67066 h 167301"/>
                <a:gd name="connsiteX10" fmla="*/ 2763 w 117011"/>
                <a:gd name="connsiteY10" fmla="*/ 48231 h 167301"/>
                <a:gd name="connsiteX11" fmla="*/ 6946 w 117011"/>
                <a:gd name="connsiteY11" fmla="*/ 28199 h 167301"/>
                <a:gd name="connsiteX12" fmla="*/ 18746 w 117011"/>
                <a:gd name="connsiteY12" fmla="*/ 13250 h 167301"/>
                <a:gd name="connsiteX13" fmla="*/ 37268 w 117011"/>
                <a:gd name="connsiteY13" fmla="*/ 3683 h 167301"/>
                <a:gd name="connsiteX14" fmla="*/ 61690 w 117011"/>
                <a:gd name="connsiteY14" fmla="*/ 21 h 167301"/>
                <a:gd name="connsiteX15" fmla="*/ 109190 w 117011"/>
                <a:gd name="connsiteY15" fmla="*/ 11158 h 167301"/>
                <a:gd name="connsiteX16" fmla="*/ 98734 w 117011"/>
                <a:gd name="connsiteY16" fmla="*/ 39635 h 167301"/>
                <a:gd name="connsiteX17" fmla="*/ 83797 w 117011"/>
                <a:gd name="connsiteY17" fmla="*/ 33506 h 167301"/>
                <a:gd name="connsiteX18" fmla="*/ 64005 w 117011"/>
                <a:gd name="connsiteY18" fmla="*/ 30815 h 167301"/>
                <a:gd name="connsiteX19" fmla="*/ 45334 w 117011"/>
                <a:gd name="connsiteY19" fmla="*/ 34403 h 167301"/>
                <a:gd name="connsiteX20" fmla="*/ 39285 w 117011"/>
                <a:gd name="connsiteY20" fmla="*/ 45390 h 167301"/>
                <a:gd name="connsiteX21" fmla="*/ 41376 w 117011"/>
                <a:gd name="connsiteY21" fmla="*/ 52865 h 167301"/>
                <a:gd name="connsiteX22" fmla="*/ 47276 w 117011"/>
                <a:gd name="connsiteY22" fmla="*/ 58321 h 167301"/>
                <a:gd name="connsiteX23" fmla="*/ 56089 w 117011"/>
                <a:gd name="connsiteY23" fmla="*/ 62731 h 167301"/>
                <a:gd name="connsiteX24" fmla="*/ 67068 w 117011"/>
                <a:gd name="connsiteY24" fmla="*/ 66767 h 167301"/>
                <a:gd name="connsiteX25" fmla="*/ 88876 w 117011"/>
                <a:gd name="connsiteY25" fmla="*/ 75886 h 167301"/>
                <a:gd name="connsiteX26" fmla="*/ 104261 w 117011"/>
                <a:gd name="connsiteY26" fmla="*/ 86425 h 167301"/>
                <a:gd name="connsiteX27" fmla="*/ 113970 w 117011"/>
                <a:gd name="connsiteY27" fmla="*/ 100477 h 167301"/>
                <a:gd name="connsiteX28" fmla="*/ 116958 w 117011"/>
                <a:gd name="connsiteY28" fmla="*/ 120135 h 167301"/>
                <a:gd name="connsiteX29" fmla="*/ 101199 w 117011"/>
                <a:gd name="connsiteY29" fmla="*/ 154965 h 167301"/>
                <a:gd name="connsiteX30" fmla="*/ 53475 w 117011"/>
                <a:gd name="connsiteY30" fmla="*/ 167298 h 167301"/>
                <a:gd name="connsiteX31" fmla="*/ 34281 w 117011"/>
                <a:gd name="connsiteY31" fmla="*/ 166028 h 167301"/>
                <a:gd name="connsiteX32" fmla="*/ 19344 w 117011"/>
                <a:gd name="connsiteY32" fmla="*/ 162888 h 167301"/>
                <a:gd name="connsiteX33" fmla="*/ 7991 w 117011"/>
                <a:gd name="connsiteY33" fmla="*/ 158927 h 167301"/>
                <a:gd name="connsiteX34" fmla="*/ 0 w 117011"/>
                <a:gd name="connsiteY34" fmla="*/ 154965 h 167301"/>
                <a:gd name="connsiteX35" fmla="*/ 9933 w 117011"/>
                <a:gd name="connsiteY35" fmla="*/ 126189 h 167301"/>
                <a:gd name="connsiteX36" fmla="*/ 27634 w 117011"/>
                <a:gd name="connsiteY36" fmla="*/ 133215 h 167301"/>
                <a:gd name="connsiteX37" fmla="*/ 53475 w 117011"/>
                <a:gd name="connsiteY37" fmla="*/ 136578 h 1673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7011" h="167301">
                  <a:moveTo>
                    <a:pt x="53475" y="136578"/>
                  </a:moveTo>
                  <a:cubicBezTo>
                    <a:pt x="57718" y="136669"/>
                    <a:pt x="61956" y="136243"/>
                    <a:pt x="66097" y="135308"/>
                  </a:cubicBezTo>
                  <a:cubicBezTo>
                    <a:pt x="68953" y="134676"/>
                    <a:pt x="71664" y="133509"/>
                    <a:pt x="74088" y="131870"/>
                  </a:cubicBezTo>
                  <a:cubicBezTo>
                    <a:pt x="75964" y="130573"/>
                    <a:pt x="77418" y="128753"/>
                    <a:pt x="78270" y="126638"/>
                  </a:cubicBezTo>
                  <a:cubicBezTo>
                    <a:pt x="79082" y="124489"/>
                    <a:pt x="79487" y="122208"/>
                    <a:pt x="79465" y="119910"/>
                  </a:cubicBezTo>
                  <a:cubicBezTo>
                    <a:pt x="79408" y="114550"/>
                    <a:pt x="76583" y="109601"/>
                    <a:pt x="71997" y="106830"/>
                  </a:cubicBezTo>
                  <a:cubicBezTo>
                    <a:pt x="64106" y="102009"/>
                    <a:pt x="55619" y="98240"/>
                    <a:pt x="46753" y="95619"/>
                  </a:cubicBezTo>
                  <a:cubicBezTo>
                    <a:pt x="41525" y="93775"/>
                    <a:pt x="36272" y="91657"/>
                    <a:pt x="30994" y="89265"/>
                  </a:cubicBezTo>
                  <a:cubicBezTo>
                    <a:pt x="25876" y="86951"/>
                    <a:pt x="21121" y="83905"/>
                    <a:pt x="16879" y="80221"/>
                  </a:cubicBezTo>
                  <a:cubicBezTo>
                    <a:pt x="12671" y="76538"/>
                    <a:pt x="9221" y="72070"/>
                    <a:pt x="6722" y="67066"/>
                  </a:cubicBezTo>
                  <a:cubicBezTo>
                    <a:pt x="3934" y="61189"/>
                    <a:pt x="2578" y="54734"/>
                    <a:pt x="2763" y="48231"/>
                  </a:cubicBezTo>
                  <a:cubicBezTo>
                    <a:pt x="2658" y="41326"/>
                    <a:pt x="4087" y="34484"/>
                    <a:pt x="6946" y="28199"/>
                  </a:cubicBezTo>
                  <a:cubicBezTo>
                    <a:pt x="9706" y="22392"/>
                    <a:pt x="13739" y="17282"/>
                    <a:pt x="18746" y="13250"/>
                  </a:cubicBezTo>
                  <a:cubicBezTo>
                    <a:pt x="24242" y="8889"/>
                    <a:pt x="30532" y="5640"/>
                    <a:pt x="37268" y="3683"/>
                  </a:cubicBezTo>
                  <a:cubicBezTo>
                    <a:pt x="45182" y="1257"/>
                    <a:pt x="53413" y="22"/>
                    <a:pt x="61690" y="21"/>
                  </a:cubicBezTo>
                  <a:cubicBezTo>
                    <a:pt x="78207" y="-318"/>
                    <a:pt x="94543" y="3512"/>
                    <a:pt x="109190" y="11158"/>
                  </a:cubicBezTo>
                  <a:lnTo>
                    <a:pt x="98734" y="39635"/>
                  </a:lnTo>
                  <a:cubicBezTo>
                    <a:pt x="93930" y="37190"/>
                    <a:pt x="88934" y="35140"/>
                    <a:pt x="83797" y="33506"/>
                  </a:cubicBezTo>
                  <a:cubicBezTo>
                    <a:pt x="77378" y="31593"/>
                    <a:pt x="70702" y="30685"/>
                    <a:pt x="64005" y="30815"/>
                  </a:cubicBezTo>
                  <a:cubicBezTo>
                    <a:pt x="57574" y="30333"/>
                    <a:pt x="51130" y="31572"/>
                    <a:pt x="45334" y="34403"/>
                  </a:cubicBezTo>
                  <a:cubicBezTo>
                    <a:pt x="41431" y="36653"/>
                    <a:pt x="39100" y="40887"/>
                    <a:pt x="39285" y="45390"/>
                  </a:cubicBezTo>
                  <a:cubicBezTo>
                    <a:pt x="39186" y="48039"/>
                    <a:pt x="39917" y="50653"/>
                    <a:pt x="41376" y="52865"/>
                  </a:cubicBezTo>
                  <a:cubicBezTo>
                    <a:pt x="42960" y="55059"/>
                    <a:pt x="44966" y="56914"/>
                    <a:pt x="47276" y="58321"/>
                  </a:cubicBezTo>
                  <a:cubicBezTo>
                    <a:pt x="50067" y="60069"/>
                    <a:pt x="53018" y="61545"/>
                    <a:pt x="56089" y="62731"/>
                  </a:cubicBezTo>
                  <a:cubicBezTo>
                    <a:pt x="59425" y="64027"/>
                    <a:pt x="63084" y="65372"/>
                    <a:pt x="67068" y="66767"/>
                  </a:cubicBezTo>
                  <a:cubicBezTo>
                    <a:pt x="75383" y="69857"/>
                    <a:pt x="82652" y="72896"/>
                    <a:pt x="88876" y="75886"/>
                  </a:cubicBezTo>
                  <a:cubicBezTo>
                    <a:pt x="94536" y="78550"/>
                    <a:pt x="99731" y="82108"/>
                    <a:pt x="104261" y="86425"/>
                  </a:cubicBezTo>
                  <a:cubicBezTo>
                    <a:pt x="108516" y="90315"/>
                    <a:pt x="111835" y="95119"/>
                    <a:pt x="113970" y="100477"/>
                  </a:cubicBezTo>
                  <a:cubicBezTo>
                    <a:pt x="116115" y="106802"/>
                    <a:pt x="117126" y="113457"/>
                    <a:pt x="116958" y="120135"/>
                  </a:cubicBezTo>
                  <a:cubicBezTo>
                    <a:pt x="117645" y="133613"/>
                    <a:pt x="111773" y="146590"/>
                    <a:pt x="101199" y="154965"/>
                  </a:cubicBezTo>
                  <a:cubicBezTo>
                    <a:pt x="90544" y="163187"/>
                    <a:pt x="74636" y="167298"/>
                    <a:pt x="53475" y="167298"/>
                  </a:cubicBezTo>
                  <a:cubicBezTo>
                    <a:pt x="47054" y="167342"/>
                    <a:pt x="40639" y="166917"/>
                    <a:pt x="34281" y="166028"/>
                  </a:cubicBezTo>
                  <a:cubicBezTo>
                    <a:pt x="29242" y="165287"/>
                    <a:pt x="24254" y="164239"/>
                    <a:pt x="19344" y="162888"/>
                  </a:cubicBezTo>
                  <a:cubicBezTo>
                    <a:pt x="15473" y="161832"/>
                    <a:pt x="11679" y="160508"/>
                    <a:pt x="7991" y="158927"/>
                  </a:cubicBezTo>
                  <a:cubicBezTo>
                    <a:pt x="5260" y="157747"/>
                    <a:pt x="2593" y="156425"/>
                    <a:pt x="0" y="154965"/>
                  </a:cubicBezTo>
                  <a:lnTo>
                    <a:pt x="9933" y="126189"/>
                  </a:lnTo>
                  <a:cubicBezTo>
                    <a:pt x="15570" y="129146"/>
                    <a:pt x="21503" y="131501"/>
                    <a:pt x="27634" y="133215"/>
                  </a:cubicBezTo>
                  <a:cubicBezTo>
                    <a:pt x="36045" y="135555"/>
                    <a:pt x="44745" y="136688"/>
                    <a:pt x="53475" y="136578"/>
                  </a:cubicBezTo>
                  <a:close/>
                </a:path>
              </a:pathLst>
            </a:custGeom>
            <a:solidFill>
              <a:srgbClr val="DC2215"/>
            </a:solidFill>
            <a:ln w="6712" cap="flat">
              <a:noFill/>
              <a:prstDash val="solid"/>
              <a:miter/>
            </a:ln>
          </p:spPr>
          <p:txBody>
            <a:bodyPr rtlCol="0" anchor="ctr"/>
            <a:lstStyle/>
            <a:p>
              <a:endParaRPr lang="nl-NL"/>
            </a:p>
          </p:txBody>
        </p:sp>
        <p:sp>
          <p:nvSpPr>
            <p:cNvPr id="75" name="Vrije vorm 74">
              <a:extLst>
                <a:ext uri="{FF2B5EF4-FFF2-40B4-BE49-F238E27FC236}">
                  <a16:creationId xmlns:a16="http://schemas.microsoft.com/office/drawing/2014/main" id="{16E5A13E-ED84-F78B-1827-7544210C326C}"/>
                </a:ext>
              </a:extLst>
            </p:cNvPr>
            <p:cNvSpPr/>
            <p:nvPr/>
          </p:nvSpPr>
          <p:spPr>
            <a:xfrm>
              <a:off x="11553703" y="466528"/>
              <a:ext cx="104807" cy="127410"/>
            </a:xfrm>
            <a:custGeom>
              <a:avLst/>
              <a:gdLst>
                <a:gd name="connsiteX0" fmla="*/ 51776 w 104807"/>
                <a:gd name="connsiteY0" fmla="*/ 29 h 127410"/>
                <a:gd name="connsiteX1" fmla="*/ 77244 w 104807"/>
                <a:gd name="connsiteY1" fmla="*/ 3467 h 127410"/>
                <a:gd name="connsiteX2" fmla="*/ 93600 w 104807"/>
                <a:gd name="connsiteY2" fmla="*/ 13408 h 127410"/>
                <a:gd name="connsiteX3" fmla="*/ 102263 w 104807"/>
                <a:gd name="connsiteY3" fmla="*/ 29105 h 127410"/>
                <a:gd name="connsiteX4" fmla="*/ 104803 w 104807"/>
                <a:gd name="connsiteY4" fmla="*/ 49659 h 127410"/>
                <a:gd name="connsiteX5" fmla="*/ 104803 w 104807"/>
                <a:gd name="connsiteY5" fmla="*/ 121414 h 127410"/>
                <a:gd name="connsiteX6" fmla="*/ 84190 w 104807"/>
                <a:gd name="connsiteY6" fmla="*/ 125226 h 127410"/>
                <a:gd name="connsiteX7" fmla="*/ 52224 w 104807"/>
                <a:gd name="connsiteY7" fmla="*/ 127393 h 127410"/>
                <a:gd name="connsiteX8" fmla="*/ 30789 w 104807"/>
                <a:gd name="connsiteY8" fmla="*/ 125301 h 127410"/>
                <a:gd name="connsiteX9" fmla="*/ 14433 w 104807"/>
                <a:gd name="connsiteY9" fmla="*/ 118648 h 127410"/>
                <a:gd name="connsiteX10" fmla="*/ 3753 w 104807"/>
                <a:gd name="connsiteY10" fmla="*/ 106241 h 127410"/>
                <a:gd name="connsiteX11" fmla="*/ 19 w 104807"/>
                <a:gd name="connsiteY11" fmla="*/ 87480 h 127410"/>
                <a:gd name="connsiteX12" fmla="*/ 4276 w 104807"/>
                <a:gd name="connsiteY12" fmla="*/ 69467 h 127410"/>
                <a:gd name="connsiteX13" fmla="*/ 15778 w 104807"/>
                <a:gd name="connsiteY13" fmla="*/ 57657 h 127410"/>
                <a:gd name="connsiteX14" fmla="*/ 32208 w 104807"/>
                <a:gd name="connsiteY14" fmla="*/ 51304 h 127410"/>
                <a:gd name="connsiteX15" fmla="*/ 51403 w 104807"/>
                <a:gd name="connsiteY15" fmla="*/ 49360 h 127410"/>
                <a:gd name="connsiteX16" fmla="*/ 63352 w 104807"/>
                <a:gd name="connsiteY16" fmla="*/ 49958 h 127410"/>
                <a:gd name="connsiteX17" fmla="*/ 71792 w 104807"/>
                <a:gd name="connsiteY17" fmla="*/ 51453 h 127410"/>
                <a:gd name="connsiteX18" fmla="*/ 71792 w 104807"/>
                <a:gd name="connsiteY18" fmla="*/ 48239 h 127410"/>
                <a:gd name="connsiteX19" fmla="*/ 66713 w 104807"/>
                <a:gd name="connsiteY19" fmla="*/ 34038 h 127410"/>
                <a:gd name="connsiteX20" fmla="*/ 48191 w 104807"/>
                <a:gd name="connsiteY20" fmla="*/ 28731 h 127410"/>
                <a:gd name="connsiteX21" fmla="*/ 30789 w 104807"/>
                <a:gd name="connsiteY21" fmla="*/ 30002 h 127410"/>
                <a:gd name="connsiteX22" fmla="*/ 15852 w 104807"/>
                <a:gd name="connsiteY22" fmla="*/ 33589 h 127410"/>
                <a:gd name="connsiteX23" fmla="*/ 11446 w 104807"/>
                <a:gd name="connsiteY23" fmla="*/ 5859 h 127410"/>
                <a:gd name="connsiteX24" fmla="*/ 18914 w 104807"/>
                <a:gd name="connsiteY24" fmla="*/ 3916 h 127410"/>
                <a:gd name="connsiteX25" fmla="*/ 28773 w 104807"/>
                <a:gd name="connsiteY25" fmla="*/ 2047 h 127410"/>
                <a:gd name="connsiteX26" fmla="*/ 39976 w 104807"/>
                <a:gd name="connsiteY26" fmla="*/ 627 h 127410"/>
                <a:gd name="connsiteX27" fmla="*/ 51776 w 104807"/>
                <a:gd name="connsiteY27" fmla="*/ 29 h 127410"/>
                <a:gd name="connsiteX28" fmla="*/ 54539 w 104807"/>
                <a:gd name="connsiteY28" fmla="*/ 100934 h 127410"/>
                <a:gd name="connsiteX29" fmla="*/ 64248 w 104807"/>
                <a:gd name="connsiteY29" fmla="*/ 100934 h 127410"/>
                <a:gd name="connsiteX30" fmla="*/ 71717 w 104807"/>
                <a:gd name="connsiteY30" fmla="*/ 100261 h 127410"/>
                <a:gd name="connsiteX31" fmla="*/ 71717 w 104807"/>
                <a:gd name="connsiteY31" fmla="*/ 74101 h 127410"/>
                <a:gd name="connsiteX32" fmla="*/ 65444 w 104807"/>
                <a:gd name="connsiteY32" fmla="*/ 73204 h 127410"/>
                <a:gd name="connsiteX33" fmla="*/ 57975 w 104807"/>
                <a:gd name="connsiteY33" fmla="*/ 72755 h 127410"/>
                <a:gd name="connsiteX34" fmla="*/ 48789 w 104807"/>
                <a:gd name="connsiteY34" fmla="*/ 73353 h 127410"/>
                <a:gd name="connsiteX35" fmla="*/ 41320 w 104807"/>
                <a:gd name="connsiteY35" fmla="*/ 75521 h 127410"/>
                <a:gd name="connsiteX36" fmla="*/ 36241 w 104807"/>
                <a:gd name="connsiteY36" fmla="*/ 79931 h 127410"/>
                <a:gd name="connsiteX37" fmla="*/ 34374 w 104807"/>
                <a:gd name="connsiteY37" fmla="*/ 86882 h 127410"/>
                <a:gd name="connsiteX38" fmla="*/ 39826 w 104807"/>
                <a:gd name="connsiteY38" fmla="*/ 98094 h 127410"/>
                <a:gd name="connsiteX39" fmla="*/ 54614 w 104807"/>
                <a:gd name="connsiteY39" fmla="*/ 100934 h 127410"/>
                <a:gd name="connsiteX40" fmla="*/ 54539 w 104807"/>
                <a:gd name="connsiteY40"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4807" h="127410">
                  <a:moveTo>
                    <a:pt x="51776" y="29"/>
                  </a:moveTo>
                  <a:cubicBezTo>
                    <a:pt x="60395" y="-203"/>
                    <a:pt x="68995" y="958"/>
                    <a:pt x="77244" y="3467"/>
                  </a:cubicBezTo>
                  <a:cubicBezTo>
                    <a:pt x="83425" y="5395"/>
                    <a:pt x="89040" y="8808"/>
                    <a:pt x="93600" y="13408"/>
                  </a:cubicBezTo>
                  <a:cubicBezTo>
                    <a:pt x="97743" y="17841"/>
                    <a:pt x="100720" y="23235"/>
                    <a:pt x="102263" y="29105"/>
                  </a:cubicBezTo>
                  <a:cubicBezTo>
                    <a:pt x="104025" y="35812"/>
                    <a:pt x="104879" y="42725"/>
                    <a:pt x="104803" y="49659"/>
                  </a:cubicBezTo>
                  <a:lnTo>
                    <a:pt x="104803" y="121414"/>
                  </a:lnTo>
                  <a:cubicBezTo>
                    <a:pt x="99824" y="122510"/>
                    <a:pt x="92953" y="123781"/>
                    <a:pt x="84190" y="125226"/>
                  </a:cubicBezTo>
                  <a:cubicBezTo>
                    <a:pt x="73610" y="126808"/>
                    <a:pt x="62920" y="127533"/>
                    <a:pt x="52224" y="127393"/>
                  </a:cubicBezTo>
                  <a:cubicBezTo>
                    <a:pt x="45025" y="127458"/>
                    <a:pt x="37840" y="126756"/>
                    <a:pt x="30789" y="125301"/>
                  </a:cubicBezTo>
                  <a:cubicBezTo>
                    <a:pt x="24963" y="124148"/>
                    <a:pt x="19411" y="121890"/>
                    <a:pt x="14433" y="118648"/>
                  </a:cubicBezTo>
                  <a:cubicBezTo>
                    <a:pt x="9834" y="115536"/>
                    <a:pt x="6147" y="111253"/>
                    <a:pt x="3753" y="106241"/>
                  </a:cubicBezTo>
                  <a:cubicBezTo>
                    <a:pt x="1104" y="100351"/>
                    <a:pt x="-173" y="93936"/>
                    <a:pt x="19" y="87480"/>
                  </a:cubicBezTo>
                  <a:cubicBezTo>
                    <a:pt x="-182" y="81204"/>
                    <a:pt x="1287" y="74988"/>
                    <a:pt x="4276" y="69467"/>
                  </a:cubicBezTo>
                  <a:cubicBezTo>
                    <a:pt x="7048" y="64618"/>
                    <a:pt x="11006" y="60555"/>
                    <a:pt x="15778" y="57657"/>
                  </a:cubicBezTo>
                  <a:cubicBezTo>
                    <a:pt x="20856" y="54624"/>
                    <a:pt x="26412" y="52476"/>
                    <a:pt x="32208" y="51304"/>
                  </a:cubicBezTo>
                  <a:cubicBezTo>
                    <a:pt x="38521" y="49988"/>
                    <a:pt x="44954" y="49337"/>
                    <a:pt x="51403" y="49360"/>
                  </a:cubicBezTo>
                  <a:cubicBezTo>
                    <a:pt x="55394" y="49343"/>
                    <a:pt x="59383" y="49543"/>
                    <a:pt x="63352" y="49958"/>
                  </a:cubicBezTo>
                  <a:cubicBezTo>
                    <a:pt x="66201" y="50231"/>
                    <a:pt x="69023" y="50730"/>
                    <a:pt x="71792" y="51453"/>
                  </a:cubicBezTo>
                  <a:lnTo>
                    <a:pt x="71792" y="48239"/>
                  </a:lnTo>
                  <a:cubicBezTo>
                    <a:pt x="72122" y="43008"/>
                    <a:pt x="70285" y="37871"/>
                    <a:pt x="66713" y="34038"/>
                  </a:cubicBezTo>
                  <a:cubicBezTo>
                    <a:pt x="61453" y="29946"/>
                    <a:pt x="54818" y="28044"/>
                    <a:pt x="48191" y="28731"/>
                  </a:cubicBezTo>
                  <a:cubicBezTo>
                    <a:pt x="42367" y="28726"/>
                    <a:pt x="36551" y="29151"/>
                    <a:pt x="30789" y="30002"/>
                  </a:cubicBezTo>
                  <a:cubicBezTo>
                    <a:pt x="25700" y="30681"/>
                    <a:pt x="20695" y="31883"/>
                    <a:pt x="15852" y="33589"/>
                  </a:cubicBezTo>
                  <a:lnTo>
                    <a:pt x="11446" y="5859"/>
                  </a:lnTo>
                  <a:cubicBezTo>
                    <a:pt x="13437" y="5261"/>
                    <a:pt x="15927" y="4614"/>
                    <a:pt x="18914" y="3916"/>
                  </a:cubicBezTo>
                  <a:cubicBezTo>
                    <a:pt x="21902" y="3218"/>
                    <a:pt x="25188" y="2595"/>
                    <a:pt x="28773" y="2047"/>
                  </a:cubicBezTo>
                  <a:cubicBezTo>
                    <a:pt x="32308" y="1499"/>
                    <a:pt x="36042" y="1026"/>
                    <a:pt x="39976" y="627"/>
                  </a:cubicBezTo>
                  <a:cubicBezTo>
                    <a:pt x="43909" y="229"/>
                    <a:pt x="47842" y="29"/>
                    <a:pt x="51776" y="29"/>
                  </a:cubicBezTo>
                  <a:close/>
                  <a:moveTo>
                    <a:pt x="54539" y="100934"/>
                  </a:moveTo>
                  <a:lnTo>
                    <a:pt x="64248" y="100934"/>
                  </a:lnTo>
                  <a:cubicBezTo>
                    <a:pt x="66749" y="100849"/>
                    <a:pt x="69242" y="100624"/>
                    <a:pt x="71717" y="100261"/>
                  </a:cubicBezTo>
                  <a:lnTo>
                    <a:pt x="71717" y="74101"/>
                  </a:lnTo>
                  <a:cubicBezTo>
                    <a:pt x="70323" y="73802"/>
                    <a:pt x="68232" y="73503"/>
                    <a:pt x="65444" y="73204"/>
                  </a:cubicBezTo>
                  <a:cubicBezTo>
                    <a:pt x="62964" y="72921"/>
                    <a:pt x="60471" y="72772"/>
                    <a:pt x="57975" y="72755"/>
                  </a:cubicBezTo>
                  <a:cubicBezTo>
                    <a:pt x="54903" y="72750"/>
                    <a:pt x="51834" y="72950"/>
                    <a:pt x="48789" y="73353"/>
                  </a:cubicBezTo>
                  <a:cubicBezTo>
                    <a:pt x="46198" y="73665"/>
                    <a:pt x="43676" y="74398"/>
                    <a:pt x="41320" y="75521"/>
                  </a:cubicBezTo>
                  <a:cubicBezTo>
                    <a:pt x="39266" y="76513"/>
                    <a:pt x="37513" y="78036"/>
                    <a:pt x="36241" y="79931"/>
                  </a:cubicBezTo>
                  <a:cubicBezTo>
                    <a:pt x="34934" y="82007"/>
                    <a:pt x="34283" y="84430"/>
                    <a:pt x="34374" y="86882"/>
                  </a:cubicBezTo>
                  <a:cubicBezTo>
                    <a:pt x="33912" y="91353"/>
                    <a:pt x="36025" y="95699"/>
                    <a:pt x="39826" y="98094"/>
                  </a:cubicBezTo>
                  <a:cubicBezTo>
                    <a:pt x="44432" y="100288"/>
                    <a:pt x="49523" y="101266"/>
                    <a:pt x="54614" y="100934"/>
                  </a:cubicBezTo>
                  <a:lnTo>
                    <a:pt x="54539" y="100934"/>
                  </a:lnTo>
                  <a:close/>
                </a:path>
              </a:pathLst>
            </a:custGeom>
            <a:solidFill>
              <a:srgbClr val="DC2215"/>
            </a:solidFill>
            <a:ln w="6712" cap="flat">
              <a:noFill/>
              <a:prstDash val="solid"/>
              <a:miter/>
            </a:ln>
          </p:spPr>
          <p:txBody>
            <a:bodyPr rtlCol="0" anchor="ctr"/>
            <a:lstStyle/>
            <a:p>
              <a:endParaRPr lang="nl-NL"/>
            </a:p>
          </p:txBody>
        </p:sp>
        <p:sp>
          <p:nvSpPr>
            <p:cNvPr id="76" name="Vrije vorm 75">
              <a:extLst>
                <a:ext uri="{FF2B5EF4-FFF2-40B4-BE49-F238E27FC236}">
                  <a16:creationId xmlns:a16="http://schemas.microsoft.com/office/drawing/2014/main" id="{0749ABF5-3413-228D-5DFB-825A572CF088}"/>
                </a:ext>
              </a:extLst>
            </p:cNvPr>
            <p:cNvSpPr/>
            <p:nvPr/>
          </p:nvSpPr>
          <p:spPr>
            <a:xfrm>
              <a:off x="11681639" y="466528"/>
              <a:ext cx="105031" cy="127410"/>
            </a:xfrm>
            <a:custGeom>
              <a:avLst/>
              <a:gdLst>
                <a:gd name="connsiteX0" fmla="*/ 52000 w 105031"/>
                <a:gd name="connsiteY0" fmla="*/ 29 h 127410"/>
                <a:gd name="connsiteX1" fmla="*/ 77468 w 105031"/>
                <a:gd name="connsiteY1" fmla="*/ 3467 h 127410"/>
                <a:gd name="connsiteX2" fmla="*/ 93824 w 105031"/>
                <a:gd name="connsiteY2" fmla="*/ 13408 h 127410"/>
                <a:gd name="connsiteX3" fmla="*/ 102487 w 105031"/>
                <a:gd name="connsiteY3" fmla="*/ 29105 h 127410"/>
                <a:gd name="connsiteX4" fmla="*/ 105027 w 105031"/>
                <a:gd name="connsiteY4" fmla="*/ 49659 h 127410"/>
                <a:gd name="connsiteX5" fmla="*/ 105027 w 105031"/>
                <a:gd name="connsiteY5" fmla="*/ 121414 h 127410"/>
                <a:gd name="connsiteX6" fmla="*/ 84414 w 105031"/>
                <a:gd name="connsiteY6" fmla="*/ 125226 h 127410"/>
                <a:gd name="connsiteX7" fmla="*/ 52448 w 105031"/>
                <a:gd name="connsiteY7" fmla="*/ 127393 h 127410"/>
                <a:gd name="connsiteX8" fmla="*/ 31013 w 105031"/>
                <a:gd name="connsiteY8" fmla="*/ 125301 h 127410"/>
                <a:gd name="connsiteX9" fmla="*/ 14433 w 105031"/>
                <a:gd name="connsiteY9" fmla="*/ 118499 h 127410"/>
                <a:gd name="connsiteX10" fmla="*/ 3753 w 105031"/>
                <a:gd name="connsiteY10" fmla="*/ 106091 h 127410"/>
                <a:gd name="connsiteX11" fmla="*/ 19 w 105031"/>
                <a:gd name="connsiteY11" fmla="*/ 87331 h 127410"/>
                <a:gd name="connsiteX12" fmla="*/ 4276 w 105031"/>
                <a:gd name="connsiteY12" fmla="*/ 69317 h 127410"/>
                <a:gd name="connsiteX13" fmla="*/ 15778 w 105031"/>
                <a:gd name="connsiteY13" fmla="*/ 57508 h 127410"/>
                <a:gd name="connsiteX14" fmla="*/ 32208 w 105031"/>
                <a:gd name="connsiteY14" fmla="*/ 51154 h 127410"/>
                <a:gd name="connsiteX15" fmla="*/ 51403 w 105031"/>
                <a:gd name="connsiteY15" fmla="*/ 49211 h 127410"/>
                <a:gd name="connsiteX16" fmla="*/ 63352 w 105031"/>
                <a:gd name="connsiteY16" fmla="*/ 49809 h 127410"/>
                <a:gd name="connsiteX17" fmla="*/ 71792 w 105031"/>
                <a:gd name="connsiteY17" fmla="*/ 51304 h 127410"/>
                <a:gd name="connsiteX18" fmla="*/ 71792 w 105031"/>
                <a:gd name="connsiteY18" fmla="*/ 48090 h 127410"/>
                <a:gd name="connsiteX19" fmla="*/ 66489 w 105031"/>
                <a:gd name="connsiteY19" fmla="*/ 33963 h 127410"/>
                <a:gd name="connsiteX20" fmla="*/ 47967 w 105031"/>
                <a:gd name="connsiteY20" fmla="*/ 28656 h 127410"/>
                <a:gd name="connsiteX21" fmla="*/ 30565 w 105031"/>
                <a:gd name="connsiteY21" fmla="*/ 29927 h 127410"/>
                <a:gd name="connsiteX22" fmla="*/ 15628 w 105031"/>
                <a:gd name="connsiteY22" fmla="*/ 33515 h 127410"/>
                <a:gd name="connsiteX23" fmla="*/ 11222 w 105031"/>
                <a:gd name="connsiteY23" fmla="*/ 5785 h 127410"/>
                <a:gd name="connsiteX24" fmla="*/ 18690 w 105031"/>
                <a:gd name="connsiteY24" fmla="*/ 3841 h 127410"/>
                <a:gd name="connsiteX25" fmla="*/ 28549 w 105031"/>
                <a:gd name="connsiteY25" fmla="*/ 1973 h 127410"/>
                <a:gd name="connsiteX26" fmla="*/ 39751 w 105031"/>
                <a:gd name="connsiteY26" fmla="*/ 552 h 127410"/>
                <a:gd name="connsiteX27" fmla="*/ 52000 w 105031"/>
                <a:gd name="connsiteY27" fmla="*/ 29 h 127410"/>
                <a:gd name="connsiteX28" fmla="*/ 54763 w 105031"/>
                <a:gd name="connsiteY28" fmla="*/ 100934 h 127410"/>
                <a:gd name="connsiteX29" fmla="*/ 64473 w 105031"/>
                <a:gd name="connsiteY29" fmla="*/ 100934 h 127410"/>
                <a:gd name="connsiteX30" fmla="*/ 71941 w 105031"/>
                <a:gd name="connsiteY30" fmla="*/ 100261 h 127410"/>
                <a:gd name="connsiteX31" fmla="*/ 71941 w 105031"/>
                <a:gd name="connsiteY31" fmla="*/ 74101 h 127410"/>
                <a:gd name="connsiteX32" fmla="*/ 65667 w 105031"/>
                <a:gd name="connsiteY32" fmla="*/ 73204 h 127410"/>
                <a:gd name="connsiteX33" fmla="*/ 58199 w 105031"/>
                <a:gd name="connsiteY33" fmla="*/ 72755 h 127410"/>
                <a:gd name="connsiteX34" fmla="*/ 49013 w 105031"/>
                <a:gd name="connsiteY34" fmla="*/ 73353 h 127410"/>
                <a:gd name="connsiteX35" fmla="*/ 41544 w 105031"/>
                <a:gd name="connsiteY35" fmla="*/ 75521 h 127410"/>
                <a:gd name="connsiteX36" fmla="*/ 36465 w 105031"/>
                <a:gd name="connsiteY36" fmla="*/ 79931 h 127410"/>
                <a:gd name="connsiteX37" fmla="*/ 34598 w 105031"/>
                <a:gd name="connsiteY37" fmla="*/ 86882 h 127410"/>
                <a:gd name="connsiteX38" fmla="*/ 40050 w 105031"/>
                <a:gd name="connsiteY38" fmla="*/ 98094 h 127410"/>
                <a:gd name="connsiteX39" fmla="*/ 54763 w 105031"/>
                <a:gd name="connsiteY39" fmla="*/ 100934 h 127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5031" h="127410">
                  <a:moveTo>
                    <a:pt x="52000" y="29"/>
                  </a:moveTo>
                  <a:cubicBezTo>
                    <a:pt x="60619" y="-203"/>
                    <a:pt x="69219" y="958"/>
                    <a:pt x="77468" y="3467"/>
                  </a:cubicBezTo>
                  <a:cubicBezTo>
                    <a:pt x="83649" y="5395"/>
                    <a:pt x="89264" y="8808"/>
                    <a:pt x="93824" y="13408"/>
                  </a:cubicBezTo>
                  <a:cubicBezTo>
                    <a:pt x="97967" y="17841"/>
                    <a:pt x="100944" y="23235"/>
                    <a:pt x="102487" y="29105"/>
                  </a:cubicBezTo>
                  <a:cubicBezTo>
                    <a:pt x="104249" y="35812"/>
                    <a:pt x="105103" y="42725"/>
                    <a:pt x="105027" y="49659"/>
                  </a:cubicBezTo>
                  <a:lnTo>
                    <a:pt x="105027" y="121414"/>
                  </a:lnTo>
                  <a:cubicBezTo>
                    <a:pt x="100048" y="122510"/>
                    <a:pt x="93177" y="123781"/>
                    <a:pt x="84414" y="125226"/>
                  </a:cubicBezTo>
                  <a:cubicBezTo>
                    <a:pt x="73834" y="126808"/>
                    <a:pt x="63144" y="127533"/>
                    <a:pt x="52448" y="127393"/>
                  </a:cubicBezTo>
                  <a:cubicBezTo>
                    <a:pt x="45249" y="127458"/>
                    <a:pt x="38064" y="126756"/>
                    <a:pt x="31013" y="125301"/>
                  </a:cubicBezTo>
                  <a:cubicBezTo>
                    <a:pt x="25098" y="124130"/>
                    <a:pt x="19467" y="121820"/>
                    <a:pt x="14433" y="118499"/>
                  </a:cubicBezTo>
                  <a:cubicBezTo>
                    <a:pt x="9834" y="115387"/>
                    <a:pt x="6147" y="111104"/>
                    <a:pt x="3753" y="106091"/>
                  </a:cubicBezTo>
                  <a:cubicBezTo>
                    <a:pt x="1103" y="100202"/>
                    <a:pt x="-173" y="93787"/>
                    <a:pt x="19" y="87331"/>
                  </a:cubicBezTo>
                  <a:cubicBezTo>
                    <a:pt x="-182" y="81055"/>
                    <a:pt x="1287" y="74838"/>
                    <a:pt x="4276" y="69317"/>
                  </a:cubicBezTo>
                  <a:cubicBezTo>
                    <a:pt x="7048" y="64469"/>
                    <a:pt x="11006" y="60405"/>
                    <a:pt x="15778" y="57508"/>
                  </a:cubicBezTo>
                  <a:cubicBezTo>
                    <a:pt x="20856" y="54475"/>
                    <a:pt x="26412" y="52327"/>
                    <a:pt x="32208" y="51154"/>
                  </a:cubicBezTo>
                  <a:cubicBezTo>
                    <a:pt x="38521" y="49838"/>
                    <a:pt x="44954" y="49187"/>
                    <a:pt x="51403" y="49211"/>
                  </a:cubicBezTo>
                  <a:cubicBezTo>
                    <a:pt x="55394" y="49194"/>
                    <a:pt x="59383" y="49393"/>
                    <a:pt x="63352" y="49809"/>
                  </a:cubicBezTo>
                  <a:cubicBezTo>
                    <a:pt x="66201" y="50081"/>
                    <a:pt x="69023" y="50581"/>
                    <a:pt x="71792" y="51304"/>
                  </a:cubicBezTo>
                  <a:lnTo>
                    <a:pt x="71792" y="48090"/>
                  </a:lnTo>
                  <a:cubicBezTo>
                    <a:pt x="72041" y="42851"/>
                    <a:pt x="70123" y="37741"/>
                    <a:pt x="66489" y="33963"/>
                  </a:cubicBezTo>
                  <a:cubicBezTo>
                    <a:pt x="61229" y="29871"/>
                    <a:pt x="54594" y="27970"/>
                    <a:pt x="47967" y="28656"/>
                  </a:cubicBezTo>
                  <a:cubicBezTo>
                    <a:pt x="42143" y="28651"/>
                    <a:pt x="36327" y="29076"/>
                    <a:pt x="30565" y="29927"/>
                  </a:cubicBezTo>
                  <a:cubicBezTo>
                    <a:pt x="25476" y="30606"/>
                    <a:pt x="20471" y="31808"/>
                    <a:pt x="15628" y="33515"/>
                  </a:cubicBezTo>
                  <a:lnTo>
                    <a:pt x="11222" y="5785"/>
                  </a:lnTo>
                  <a:cubicBezTo>
                    <a:pt x="13213" y="5187"/>
                    <a:pt x="15703" y="4539"/>
                    <a:pt x="18690" y="3841"/>
                  </a:cubicBezTo>
                  <a:cubicBezTo>
                    <a:pt x="21678" y="3144"/>
                    <a:pt x="24964" y="2521"/>
                    <a:pt x="28549" y="1973"/>
                  </a:cubicBezTo>
                  <a:cubicBezTo>
                    <a:pt x="32084" y="1424"/>
                    <a:pt x="35818" y="951"/>
                    <a:pt x="39751" y="552"/>
                  </a:cubicBezTo>
                  <a:cubicBezTo>
                    <a:pt x="43685" y="154"/>
                    <a:pt x="47768" y="-21"/>
                    <a:pt x="52000" y="29"/>
                  </a:cubicBezTo>
                  <a:close/>
                  <a:moveTo>
                    <a:pt x="54763" y="100934"/>
                  </a:moveTo>
                  <a:lnTo>
                    <a:pt x="64473" y="100934"/>
                  </a:lnTo>
                  <a:cubicBezTo>
                    <a:pt x="66973" y="100849"/>
                    <a:pt x="69466" y="100624"/>
                    <a:pt x="71941" y="100261"/>
                  </a:cubicBezTo>
                  <a:lnTo>
                    <a:pt x="71941" y="74101"/>
                  </a:lnTo>
                  <a:cubicBezTo>
                    <a:pt x="70547" y="73802"/>
                    <a:pt x="68456" y="73503"/>
                    <a:pt x="65667" y="73204"/>
                  </a:cubicBezTo>
                  <a:cubicBezTo>
                    <a:pt x="63188" y="72921"/>
                    <a:pt x="60695" y="72772"/>
                    <a:pt x="58199" y="72755"/>
                  </a:cubicBezTo>
                  <a:cubicBezTo>
                    <a:pt x="55127" y="72750"/>
                    <a:pt x="52058" y="72950"/>
                    <a:pt x="49013" y="73353"/>
                  </a:cubicBezTo>
                  <a:cubicBezTo>
                    <a:pt x="46422" y="73665"/>
                    <a:pt x="43900" y="74398"/>
                    <a:pt x="41544" y="75521"/>
                  </a:cubicBezTo>
                  <a:cubicBezTo>
                    <a:pt x="39490" y="76513"/>
                    <a:pt x="37737" y="78036"/>
                    <a:pt x="36465" y="79931"/>
                  </a:cubicBezTo>
                  <a:cubicBezTo>
                    <a:pt x="35158" y="82007"/>
                    <a:pt x="34507" y="84430"/>
                    <a:pt x="34598" y="86882"/>
                  </a:cubicBezTo>
                  <a:cubicBezTo>
                    <a:pt x="34135" y="91353"/>
                    <a:pt x="36249" y="95699"/>
                    <a:pt x="40050" y="98094"/>
                  </a:cubicBezTo>
                  <a:cubicBezTo>
                    <a:pt x="44634" y="100276"/>
                    <a:pt x="49697" y="101253"/>
                    <a:pt x="54763" y="100934"/>
                  </a:cubicBezTo>
                  <a:close/>
                </a:path>
              </a:pathLst>
            </a:custGeom>
            <a:solidFill>
              <a:srgbClr val="DC2215"/>
            </a:solidFill>
            <a:ln w="6712" cap="flat">
              <a:noFill/>
              <a:prstDash val="solid"/>
              <a:miter/>
            </a:ln>
          </p:spPr>
          <p:txBody>
            <a:bodyPr rtlCol="0" anchor="ctr"/>
            <a:lstStyle/>
            <a:p>
              <a:endParaRPr lang="nl-NL"/>
            </a:p>
          </p:txBody>
        </p:sp>
        <p:sp>
          <p:nvSpPr>
            <p:cNvPr id="77" name="Vrije vorm 76">
              <a:extLst>
                <a:ext uri="{FF2B5EF4-FFF2-40B4-BE49-F238E27FC236}">
                  <a16:creationId xmlns:a16="http://schemas.microsoft.com/office/drawing/2014/main" id="{E1D1E4EC-40C1-ACC1-6E3C-D8FE51462E95}"/>
                </a:ext>
              </a:extLst>
            </p:cNvPr>
            <p:cNvSpPr/>
            <p:nvPr/>
          </p:nvSpPr>
          <p:spPr>
            <a:xfrm>
              <a:off x="11817885" y="466972"/>
              <a:ext cx="168153" cy="124930"/>
            </a:xfrm>
            <a:custGeom>
              <a:avLst/>
              <a:gdLst>
                <a:gd name="connsiteX0" fmla="*/ 166399 w 168153"/>
                <a:gd name="connsiteY0" fmla="*/ 33145 h 124930"/>
                <a:gd name="connsiteX1" fmla="*/ 158931 w 168153"/>
                <a:gd name="connsiteY1" fmla="*/ 15580 h 124930"/>
                <a:gd name="connsiteX2" fmla="*/ 143994 w 168153"/>
                <a:gd name="connsiteY2" fmla="*/ 4144 h 124930"/>
                <a:gd name="connsiteX3" fmla="*/ 120020 w 168153"/>
                <a:gd name="connsiteY3" fmla="*/ 108 h 124930"/>
                <a:gd name="connsiteX4" fmla="*/ 85291 w 168153"/>
                <a:gd name="connsiteY4" fmla="*/ 11469 h 124930"/>
                <a:gd name="connsiteX5" fmla="*/ 71399 w 168153"/>
                <a:gd name="connsiteY5" fmla="*/ 3397 h 124930"/>
                <a:gd name="connsiteX6" fmla="*/ 49965 w 168153"/>
                <a:gd name="connsiteY6" fmla="*/ 33 h 124930"/>
                <a:gd name="connsiteX7" fmla="*/ 36297 w 168153"/>
                <a:gd name="connsiteY7" fmla="*/ 631 h 124930"/>
                <a:gd name="connsiteX8" fmla="*/ 22779 w 168153"/>
                <a:gd name="connsiteY8" fmla="*/ 2276 h 124930"/>
                <a:gd name="connsiteX9" fmla="*/ 10307 w 168153"/>
                <a:gd name="connsiteY9" fmla="*/ 4593 h 124930"/>
                <a:gd name="connsiteX10" fmla="*/ 0 w 168153"/>
                <a:gd name="connsiteY10" fmla="*/ 6984 h 124930"/>
                <a:gd name="connsiteX11" fmla="*/ 0 w 168153"/>
                <a:gd name="connsiteY11" fmla="*/ 124557 h 124930"/>
                <a:gd name="connsiteX12" fmla="*/ 34505 w 168153"/>
                <a:gd name="connsiteY12" fmla="*/ 124557 h 124930"/>
                <a:gd name="connsiteX13" fmla="*/ 34505 w 168153"/>
                <a:gd name="connsiteY13" fmla="*/ 30604 h 124930"/>
                <a:gd name="connsiteX14" fmla="*/ 41226 w 168153"/>
                <a:gd name="connsiteY14" fmla="*/ 29781 h 124930"/>
                <a:gd name="connsiteX15" fmla="*/ 47948 w 168153"/>
                <a:gd name="connsiteY15" fmla="*/ 29781 h 124930"/>
                <a:gd name="connsiteX16" fmla="*/ 62885 w 168153"/>
                <a:gd name="connsiteY16" fmla="*/ 36733 h 124930"/>
                <a:gd name="connsiteX17" fmla="*/ 67142 w 168153"/>
                <a:gd name="connsiteY17" fmla="*/ 60352 h 124930"/>
                <a:gd name="connsiteX18" fmla="*/ 67142 w 168153"/>
                <a:gd name="connsiteY18" fmla="*/ 124931 h 124930"/>
                <a:gd name="connsiteX19" fmla="*/ 101274 w 168153"/>
                <a:gd name="connsiteY19" fmla="*/ 124931 h 124930"/>
                <a:gd name="connsiteX20" fmla="*/ 101274 w 168153"/>
                <a:gd name="connsiteY20" fmla="*/ 58184 h 124930"/>
                <a:gd name="connsiteX21" fmla="*/ 100825 w 168153"/>
                <a:gd name="connsiteY21" fmla="*/ 45553 h 124930"/>
                <a:gd name="connsiteX22" fmla="*/ 98734 w 168153"/>
                <a:gd name="connsiteY22" fmla="*/ 34341 h 124930"/>
                <a:gd name="connsiteX23" fmla="*/ 106950 w 168153"/>
                <a:gd name="connsiteY23" fmla="*/ 30903 h 124930"/>
                <a:gd name="connsiteX24" fmla="*/ 114418 w 168153"/>
                <a:gd name="connsiteY24" fmla="*/ 29482 h 124930"/>
                <a:gd name="connsiteX25" fmla="*/ 129355 w 168153"/>
                <a:gd name="connsiteY25" fmla="*/ 36434 h 124930"/>
                <a:gd name="connsiteX26" fmla="*/ 133613 w 168153"/>
                <a:gd name="connsiteY26" fmla="*/ 60053 h 124930"/>
                <a:gd name="connsiteX27" fmla="*/ 133613 w 168153"/>
                <a:gd name="connsiteY27" fmla="*/ 104899 h 124930"/>
                <a:gd name="connsiteX28" fmla="*/ 168117 w 168153"/>
                <a:gd name="connsiteY28" fmla="*/ 124632 h 124930"/>
                <a:gd name="connsiteX29" fmla="*/ 168117 w 168153"/>
                <a:gd name="connsiteY29" fmla="*/ 55867 h 124930"/>
                <a:gd name="connsiteX30" fmla="*/ 166399 w 168153"/>
                <a:gd name="connsiteY30" fmla="*/ 33145 h 124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68153" h="124930">
                  <a:moveTo>
                    <a:pt x="166399" y="33145"/>
                  </a:moveTo>
                  <a:cubicBezTo>
                    <a:pt x="165245" y="26807"/>
                    <a:pt x="162693" y="20807"/>
                    <a:pt x="158931" y="15580"/>
                  </a:cubicBezTo>
                  <a:cubicBezTo>
                    <a:pt x="155047" y="10516"/>
                    <a:pt x="149894" y="6570"/>
                    <a:pt x="143994" y="4144"/>
                  </a:cubicBezTo>
                  <a:cubicBezTo>
                    <a:pt x="136354" y="1203"/>
                    <a:pt x="128200" y="-170"/>
                    <a:pt x="120020" y="108"/>
                  </a:cubicBezTo>
                  <a:cubicBezTo>
                    <a:pt x="107592" y="472"/>
                    <a:pt x="95533" y="4417"/>
                    <a:pt x="85291" y="11469"/>
                  </a:cubicBezTo>
                  <a:cubicBezTo>
                    <a:pt x="81142" y="8023"/>
                    <a:pt x="76447" y="5294"/>
                    <a:pt x="71399" y="3397"/>
                  </a:cubicBezTo>
                  <a:cubicBezTo>
                    <a:pt x="64532" y="926"/>
                    <a:pt x="57258" y="-215"/>
                    <a:pt x="49965" y="33"/>
                  </a:cubicBezTo>
                  <a:cubicBezTo>
                    <a:pt x="45483" y="33"/>
                    <a:pt x="40928" y="233"/>
                    <a:pt x="36297" y="631"/>
                  </a:cubicBezTo>
                  <a:cubicBezTo>
                    <a:pt x="31666" y="1030"/>
                    <a:pt x="27161" y="1578"/>
                    <a:pt x="22779" y="2276"/>
                  </a:cubicBezTo>
                  <a:cubicBezTo>
                    <a:pt x="18397" y="2973"/>
                    <a:pt x="14240" y="3746"/>
                    <a:pt x="10307" y="4593"/>
                  </a:cubicBezTo>
                  <a:cubicBezTo>
                    <a:pt x="6373" y="5440"/>
                    <a:pt x="2938" y="6237"/>
                    <a:pt x="0" y="6984"/>
                  </a:cubicBezTo>
                  <a:lnTo>
                    <a:pt x="0" y="124557"/>
                  </a:lnTo>
                  <a:lnTo>
                    <a:pt x="34505" y="124557"/>
                  </a:lnTo>
                  <a:lnTo>
                    <a:pt x="34505" y="30604"/>
                  </a:lnTo>
                  <a:lnTo>
                    <a:pt x="41226" y="29781"/>
                  </a:lnTo>
                  <a:lnTo>
                    <a:pt x="47948" y="29781"/>
                  </a:lnTo>
                  <a:cubicBezTo>
                    <a:pt x="53832" y="29137"/>
                    <a:pt x="59586" y="31815"/>
                    <a:pt x="62885" y="36733"/>
                  </a:cubicBezTo>
                  <a:cubicBezTo>
                    <a:pt x="66303" y="44111"/>
                    <a:pt x="67769" y="52244"/>
                    <a:pt x="67142" y="60352"/>
                  </a:cubicBezTo>
                  <a:lnTo>
                    <a:pt x="67142" y="124931"/>
                  </a:lnTo>
                  <a:lnTo>
                    <a:pt x="101274" y="124931"/>
                  </a:lnTo>
                  <a:lnTo>
                    <a:pt x="101274" y="58184"/>
                  </a:lnTo>
                  <a:cubicBezTo>
                    <a:pt x="101274" y="53700"/>
                    <a:pt x="101124" y="49489"/>
                    <a:pt x="100825" y="45553"/>
                  </a:cubicBezTo>
                  <a:cubicBezTo>
                    <a:pt x="100535" y="41751"/>
                    <a:pt x="99833" y="37992"/>
                    <a:pt x="98734" y="34341"/>
                  </a:cubicBezTo>
                  <a:cubicBezTo>
                    <a:pt x="101288" y="32795"/>
                    <a:pt x="104057" y="31637"/>
                    <a:pt x="106950" y="30903"/>
                  </a:cubicBezTo>
                  <a:cubicBezTo>
                    <a:pt x="109372" y="30126"/>
                    <a:pt x="111880" y="29649"/>
                    <a:pt x="114418" y="29482"/>
                  </a:cubicBezTo>
                  <a:cubicBezTo>
                    <a:pt x="120302" y="28838"/>
                    <a:pt x="126056" y="31516"/>
                    <a:pt x="129355" y="36434"/>
                  </a:cubicBezTo>
                  <a:cubicBezTo>
                    <a:pt x="132773" y="43812"/>
                    <a:pt x="134239" y="51945"/>
                    <a:pt x="133613" y="60053"/>
                  </a:cubicBezTo>
                  <a:lnTo>
                    <a:pt x="133613" y="104899"/>
                  </a:lnTo>
                  <a:cubicBezTo>
                    <a:pt x="133613" y="115588"/>
                    <a:pt x="148998" y="124258"/>
                    <a:pt x="168117" y="124632"/>
                  </a:cubicBezTo>
                  <a:lnTo>
                    <a:pt x="168117" y="55867"/>
                  </a:lnTo>
                  <a:cubicBezTo>
                    <a:pt x="168309" y="48255"/>
                    <a:pt x="167733" y="40642"/>
                    <a:pt x="166399" y="33145"/>
                  </a:cubicBezTo>
                  <a:close/>
                </a:path>
              </a:pathLst>
            </a:custGeom>
            <a:solidFill>
              <a:srgbClr val="E32013"/>
            </a:solidFill>
            <a:ln w="6712" cap="flat">
              <a:noFill/>
              <a:prstDash val="solid"/>
              <a:miter/>
            </a:ln>
          </p:spPr>
          <p:txBody>
            <a:bodyPr rtlCol="0" anchor="ctr"/>
            <a:lstStyle/>
            <a:p>
              <a:endParaRPr lang="nl-NL"/>
            </a:p>
          </p:txBody>
        </p:sp>
        <p:sp>
          <p:nvSpPr>
            <p:cNvPr id="78" name="Vrije vorm 77">
              <a:extLst>
                <a:ext uri="{FF2B5EF4-FFF2-40B4-BE49-F238E27FC236}">
                  <a16:creationId xmlns:a16="http://schemas.microsoft.com/office/drawing/2014/main" id="{98880A0C-8E0D-0D95-F2E4-CD50609B726E}"/>
                </a:ext>
              </a:extLst>
            </p:cNvPr>
            <p:cNvSpPr/>
            <p:nvPr/>
          </p:nvSpPr>
          <p:spPr>
            <a:xfrm>
              <a:off x="10903435" y="431203"/>
              <a:ext cx="126218" cy="160326"/>
            </a:xfrm>
            <a:custGeom>
              <a:avLst/>
              <a:gdLst>
                <a:gd name="connsiteX0" fmla="*/ 44811 w 126218"/>
                <a:gd name="connsiteY0" fmla="*/ 129905 h 160326"/>
                <a:gd name="connsiteX1" fmla="*/ 63781 w 126218"/>
                <a:gd name="connsiteY1" fmla="*/ 100755 h 160326"/>
                <a:gd name="connsiteX2" fmla="*/ 85366 w 126218"/>
                <a:gd name="connsiteY2" fmla="*/ 70858 h 160326"/>
                <a:gd name="connsiteX3" fmla="*/ 106427 w 126218"/>
                <a:gd name="connsiteY3" fmla="*/ 44398 h 160326"/>
                <a:gd name="connsiteX4" fmla="*/ 123679 w 126218"/>
                <a:gd name="connsiteY4" fmla="*/ 25264 h 160326"/>
                <a:gd name="connsiteX5" fmla="*/ 123679 w 126218"/>
                <a:gd name="connsiteY5" fmla="*/ 0 h 160326"/>
                <a:gd name="connsiteX6" fmla="*/ 3734 w 126218"/>
                <a:gd name="connsiteY6" fmla="*/ 0 h 160326"/>
                <a:gd name="connsiteX7" fmla="*/ 23451 w 126218"/>
                <a:gd name="connsiteY7" fmla="*/ 30346 h 160326"/>
                <a:gd name="connsiteX8" fmla="*/ 75731 w 126218"/>
                <a:gd name="connsiteY8" fmla="*/ 30346 h 160326"/>
                <a:gd name="connsiteX9" fmla="*/ 56163 w 126218"/>
                <a:gd name="connsiteY9" fmla="*/ 55161 h 160326"/>
                <a:gd name="connsiteX10" fmla="*/ 35476 w 126218"/>
                <a:gd name="connsiteY10" fmla="*/ 83415 h 160326"/>
                <a:gd name="connsiteX11" fmla="*/ 15908 w 126218"/>
                <a:gd name="connsiteY11" fmla="*/ 112565 h 160326"/>
                <a:gd name="connsiteX12" fmla="*/ 0 w 126218"/>
                <a:gd name="connsiteY12" fmla="*/ 138800 h 160326"/>
                <a:gd name="connsiteX13" fmla="*/ 0 w 126218"/>
                <a:gd name="connsiteY13" fmla="*/ 160326 h 160326"/>
                <a:gd name="connsiteX14" fmla="*/ 126219 w 126218"/>
                <a:gd name="connsiteY14" fmla="*/ 160326 h 160326"/>
                <a:gd name="connsiteX15" fmla="*/ 126219 w 126218"/>
                <a:gd name="connsiteY15" fmla="*/ 129906 h 160326"/>
                <a:gd name="connsiteX16" fmla="*/ 44811 w 126218"/>
                <a:gd name="connsiteY16" fmla="*/ 129906 h 160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6218" h="160326">
                  <a:moveTo>
                    <a:pt x="44811" y="129905"/>
                  </a:moveTo>
                  <a:cubicBezTo>
                    <a:pt x="50388" y="120637"/>
                    <a:pt x="56711" y="110920"/>
                    <a:pt x="63781" y="100755"/>
                  </a:cubicBezTo>
                  <a:cubicBezTo>
                    <a:pt x="70852" y="90590"/>
                    <a:pt x="78046" y="80624"/>
                    <a:pt x="85366" y="70858"/>
                  </a:cubicBezTo>
                  <a:cubicBezTo>
                    <a:pt x="92635" y="61290"/>
                    <a:pt x="99655" y="52470"/>
                    <a:pt x="106427" y="44398"/>
                  </a:cubicBezTo>
                  <a:cubicBezTo>
                    <a:pt x="113198" y="36326"/>
                    <a:pt x="118949" y="29948"/>
                    <a:pt x="123679" y="25264"/>
                  </a:cubicBezTo>
                  <a:lnTo>
                    <a:pt x="123679" y="0"/>
                  </a:lnTo>
                  <a:lnTo>
                    <a:pt x="3734" y="0"/>
                  </a:lnTo>
                  <a:cubicBezTo>
                    <a:pt x="3734" y="16817"/>
                    <a:pt x="12771" y="30346"/>
                    <a:pt x="23451" y="30346"/>
                  </a:cubicBezTo>
                  <a:lnTo>
                    <a:pt x="75731" y="30346"/>
                  </a:lnTo>
                  <a:cubicBezTo>
                    <a:pt x="69706" y="37571"/>
                    <a:pt x="63184" y="45843"/>
                    <a:pt x="56163" y="55161"/>
                  </a:cubicBezTo>
                  <a:cubicBezTo>
                    <a:pt x="49143" y="64479"/>
                    <a:pt x="42247" y="73897"/>
                    <a:pt x="35476" y="83415"/>
                  </a:cubicBezTo>
                  <a:cubicBezTo>
                    <a:pt x="28654" y="93381"/>
                    <a:pt x="22132" y="103097"/>
                    <a:pt x="15908" y="112565"/>
                  </a:cubicBezTo>
                  <a:cubicBezTo>
                    <a:pt x="9684" y="122032"/>
                    <a:pt x="4382" y="130778"/>
                    <a:pt x="0" y="138800"/>
                  </a:cubicBezTo>
                  <a:lnTo>
                    <a:pt x="0" y="160326"/>
                  </a:lnTo>
                  <a:lnTo>
                    <a:pt x="126219" y="160326"/>
                  </a:lnTo>
                  <a:lnTo>
                    <a:pt x="126219" y="129906"/>
                  </a:lnTo>
                  <a:lnTo>
                    <a:pt x="44811" y="129906"/>
                  </a:lnTo>
                  <a:close/>
                </a:path>
              </a:pathLst>
            </a:custGeom>
            <a:solidFill>
              <a:srgbClr val="0065B0"/>
            </a:solidFill>
            <a:ln w="6712" cap="flat">
              <a:noFill/>
              <a:prstDash val="solid"/>
              <a:miter/>
            </a:ln>
          </p:spPr>
          <p:txBody>
            <a:bodyPr rtlCol="0" anchor="ctr"/>
            <a:lstStyle/>
            <a:p>
              <a:endParaRPr lang="nl-NL"/>
            </a:p>
          </p:txBody>
        </p:sp>
      </p:grpSp>
      <p:grpSp>
        <p:nvGrpSpPr>
          <p:cNvPr id="6" name="Graphic 4">
            <a:extLst>
              <a:ext uri="{FF2B5EF4-FFF2-40B4-BE49-F238E27FC236}">
                <a16:creationId xmlns:a16="http://schemas.microsoft.com/office/drawing/2014/main" id="{31467781-8073-E16D-8B0E-D84025A6E5A6}"/>
              </a:ext>
            </a:extLst>
          </p:cNvPr>
          <p:cNvGrpSpPr/>
          <p:nvPr userDrawn="1"/>
        </p:nvGrpSpPr>
        <p:grpSpPr>
          <a:xfrm>
            <a:off x="9254386" y="3936106"/>
            <a:ext cx="2937613" cy="2921888"/>
            <a:chOff x="4627033" y="3936106"/>
            <a:chExt cx="2937613" cy="2921888"/>
          </a:xfrm>
        </p:grpSpPr>
        <p:sp>
          <p:nvSpPr>
            <p:cNvPr id="7" name="Vrije vorm 6">
              <a:extLst>
                <a:ext uri="{FF2B5EF4-FFF2-40B4-BE49-F238E27FC236}">
                  <a16:creationId xmlns:a16="http://schemas.microsoft.com/office/drawing/2014/main" id="{894941BC-7EB6-E7D3-6C2F-F060B073F99D}"/>
                </a:ext>
              </a:extLst>
            </p:cNvPr>
            <p:cNvSpPr/>
            <p:nvPr/>
          </p:nvSpPr>
          <p:spPr>
            <a:xfrm>
              <a:off x="5517041" y="3936106"/>
              <a:ext cx="2047605" cy="2921888"/>
            </a:xfrm>
            <a:custGeom>
              <a:avLst/>
              <a:gdLst>
                <a:gd name="connsiteX0" fmla="*/ 2047606 w 2047605"/>
                <a:gd name="connsiteY0" fmla="*/ 0 h 2921888"/>
                <a:gd name="connsiteX1" fmla="*/ 2047606 w 2047605"/>
                <a:gd name="connsiteY1" fmla="*/ 2921889 h 2921888"/>
                <a:gd name="connsiteX2" fmla="*/ 0 w 2047605"/>
                <a:gd name="connsiteY2" fmla="*/ 2921889 h 2921888"/>
                <a:gd name="connsiteX3" fmla="*/ 1258808 w 2047605"/>
                <a:gd name="connsiteY3" fmla="*/ 2069084 h 2921888"/>
                <a:gd name="connsiteX4" fmla="*/ 2047606 w 2047605"/>
                <a:gd name="connsiteY4" fmla="*/ 0 h 29218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47605" h="2921888">
                  <a:moveTo>
                    <a:pt x="2047606" y="0"/>
                  </a:moveTo>
                  <a:lnTo>
                    <a:pt x="2047606" y="2921889"/>
                  </a:lnTo>
                  <a:lnTo>
                    <a:pt x="0" y="2921889"/>
                  </a:lnTo>
                  <a:cubicBezTo>
                    <a:pt x="488282" y="2745041"/>
                    <a:pt x="919582" y="2449068"/>
                    <a:pt x="1258808" y="2069084"/>
                  </a:cubicBezTo>
                  <a:cubicBezTo>
                    <a:pt x="1749436" y="1519682"/>
                    <a:pt x="2047606" y="794703"/>
                    <a:pt x="2047606" y="0"/>
                  </a:cubicBezTo>
                  <a:close/>
                </a:path>
              </a:pathLst>
            </a:custGeom>
            <a:solidFill>
              <a:srgbClr val="C7E8F1"/>
            </a:solidFill>
            <a:ln w="6336" cap="flat">
              <a:noFill/>
              <a:prstDash val="solid"/>
              <a:miter/>
            </a:ln>
          </p:spPr>
          <p:txBody>
            <a:bodyPr rtlCol="0" anchor="ctr"/>
            <a:lstStyle/>
            <a:p>
              <a:endParaRPr lang="nl-NL"/>
            </a:p>
          </p:txBody>
        </p:sp>
        <p:sp>
          <p:nvSpPr>
            <p:cNvPr id="8" name="Vrije vorm 7">
              <a:extLst>
                <a:ext uri="{FF2B5EF4-FFF2-40B4-BE49-F238E27FC236}">
                  <a16:creationId xmlns:a16="http://schemas.microsoft.com/office/drawing/2014/main" id="{E164A0E1-9B54-319A-2961-EEF0EF2DF1AB}"/>
                </a:ext>
              </a:extLst>
            </p:cNvPr>
            <p:cNvSpPr/>
            <p:nvPr/>
          </p:nvSpPr>
          <p:spPr>
            <a:xfrm>
              <a:off x="4627033" y="5955964"/>
              <a:ext cx="2205115" cy="902030"/>
            </a:xfrm>
            <a:custGeom>
              <a:avLst/>
              <a:gdLst>
                <a:gd name="connsiteX0" fmla="*/ 2152243 w 2205115"/>
                <a:gd name="connsiteY0" fmla="*/ 307417 h 902030"/>
                <a:gd name="connsiteX1" fmla="*/ 1338442 w 2205115"/>
                <a:gd name="connsiteY1" fmla="*/ 902031 h 902030"/>
                <a:gd name="connsiteX2" fmla="*/ 0 w 2205115"/>
                <a:gd name="connsiteY2" fmla="*/ 902031 h 902030"/>
                <a:gd name="connsiteX3" fmla="*/ 969645 w 2205115"/>
                <a:gd name="connsiteY3" fmla="*/ 677621 h 902030"/>
                <a:gd name="connsiteX4" fmla="*/ 1898234 w 2205115"/>
                <a:gd name="connsiteY4" fmla="*/ 52528 h 902030"/>
                <a:gd name="connsiteX5" fmla="*/ 2148817 w 2205115"/>
                <a:gd name="connsiteY5" fmla="*/ 49226 h 902030"/>
                <a:gd name="connsiteX6" fmla="*/ 2152621 w 2205115"/>
                <a:gd name="connsiteY6" fmla="*/ 52909 h 902030"/>
                <a:gd name="connsiteX7" fmla="*/ 2152243 w 2205115"/>
                <a:gd name="connsiteY7" fmla="*/ 307417 h 9020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05115" h="902030">
                  <a:moveTo>
                    <a:pt x="2152243" y="307417"/>
                  </a:moveTo>
                  <a:cubicBezTo>
                    <a:pt x="1910987" y="548209"/>
                    <a:pt x="1638072" y="747535"/>
                    <a:pt x="1338442" y="902031"/>
                  </a:cubicBezTo>
                  <a:lnTo>
                    <a:pt x="0" y="902031"/>
                  </a:lnTo>
                  <a:cubicBezTo>
                    <a:pt x="335291" y="883426"/>
                    <a:pt x="660749" y="808114"/>
                    <a:pt x="969645" y="677621"/>
                  </a:cubicBezTo>
                  <a:cubicBezTo>
                    <a:pt x="1317311" y="530810"/>
                    <a:pt x="1629697" y="320435"/>
                    <a:pt x="1898234" y="52528"/>
                  </a:cubicBezTo>
                  <a:cubicBezTo>
                    <a:pt x="1967337" y="-16369"/>
                    <a:pt x="2078444" y="-17512"/>
                    <a:pt x="2148817" y="49226"/>
                  </a:cubicBezTo>
                  <a:cubicBezTo>
                    <a:pt x="2150084" y="50433"/>
                    <a:pt x="2151354" y="51639"/>
                    <a:pt x="2152621" y="52909"/>
                  </a:cubicBezTo>
                  <a:cubicBezTo>
                    <a:pt x="2222740" y="123267"/>
                    <a:pt x="2222613" y="237250"/>
                    <a:pt x="2152243" y="307417"/>
                  </a:cubicBezTo>
                  <a:close/>
                </a:path>
              </a:pathLst>
            </a:custGeom>
            <a:solidFill>
              <a:srgbClr val="0065B0"/>
            </a:solidFill>
            <a:ln w="6336" cap="flat">
              <a:noFill/>
              <a:prstDash val="solid"/>
              <a:miter/>
            </a:ln>
          </p:spPr>
          <p:txBody>
            <a:bodyPr rtlCol="0" anchor="ctr"/>
            <a:lstStyle/>
            <a:p>
              <a:endParaRPr lang="nl-NL"/>
            </a:p>
          </p:txBody>
        </p:sp>
      </p:grpSp>
      <p:sp>
        <p:nvSpPr>
          <p:cNvPr id="3" name="Vrije vorm 2">
            <a:extLst>
              <a:ext uri="{FF2B5EF4-FFF2-40B4-BE49-F238E27FC236}">
                <a16:creationId xmlns:a16="http://schemas.microsoft.com/office/drawing/2014/main" id="{B09E7387-4347-AE71-E477-631C03A97FE1}"/>
              </a:ext>
            </a:extLst>
          </p:cNvPr>
          <p:cNvSpPr/>
          <p:nvPr userDrawn="1"/>
        </p:nvSpPr>
        <p:spPr>
          <a:xfrm>
            <a:off x="-1309255" y="4353791"/>
            <a:ext cx="3148446" cy="3148446"/>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4" name="Vrije vorm 3">
            <a:extLst>
              <a:ext uri="{FF2B5EF4-FFF2-40B4-BE49-F238E27FC236}">
                <a16:creationId xmlns:a16="http://schemas.microsoft.com/office/drawing/2014/main" id="{976323EB-21DC-ABE1-9876-5EBF7ED56897}"/>
              </a:ext>
            </a:extLst>
          </p:cNvPr>
          <p:cNvSpPr/>
          <p:nvPr userDrawn="1"/>
        </p:nvSpPr>
        <p:spPr>
          <a:xfrm>
            <a:off x="6422928" y="-963534"/>
            <a:ext cx="1756064" cy="1756064"/>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
        <p:nvSpPr>
          <p:cNvPr id="5" name="Vrije vorm 4">
            <a:extLst>
              <a:ext uri="{FF2B5EF4-FFF2-40B4-BE49-F238E27FC236}">
                <a16:creationId xmlns:a16="http://schemas.microsoft.com/office/drawing/2014/main" id="{B60F7ED9-1824-D5A5-A939-22330F3DF452}"/>
              </a:ext>
            </a:extLst>
          </p:cNvPr>
          <p:cNvSpPr/>
          <p:nvPr userDrawn="1"/>
        </p:nvSpPr>
        <p:spPr>
          <a:xfrm>
            <a:off x="11647954" y="2596163"/>
            <a:ext cx="941662" cy="941662"/>
          </a:xfrm>
          <a:custGeom>
            <a:avLst/>
            <a:gdLst>
              <a:gd name="connsiteX0" fmla="*/ 1574223 w 3148446"/>
              <a:gd name="connsiteY0" fmla="*/ 0 h 3148446"/>
              <a:gd name="connsiteX1" fmla="*/ 3148446 w 3148446"/>
              <a:gd name="connsiteY1" fmla="*/ 1574223 h 3148446"/>
              <a:gd name="connsiteX2" fmla="*/ 1574223 w 3148446"/>
              <a:gd name="connsiteY2" fmla="*/ 3148446 h 3148446"/>
              <a:gd name="connsiteX3" fmla="*/ 0 w 3148446"/>
              <a:gd name="connsiteY3" fmla="*/ 1574223 h 3148446"/>
              <a:gd name="connsiteX4" fmla="*/ 1574223 w 3148446"/>
              <a:gd name="connsiteY4" fmla="*/ 0 h 3148446"/>
              <a:gd name="connsiteX5" fmla="*/ 1574224 w 3148446"/>
              <a:gd name="connsiteY5" fmla="*/ 637310 h 3148446"/>
              <a:gd name="connsiteX6" fmla="*/ 616528 w 3148446"/>
              <a:gd name="connsiteY6" fmla="*/ 1574224 h 3148446"/>
              <a:gd name="connsiteX7" fmla="*/ 1574224 w 3148446"/>
              <a:gd name="connsiteY7" fmla="*/ 2511138 h 3148446"/>
              <a:gd name="connsiteX8" fmla="*/ 2531920 w 3148446"/>
              <a:gd name="connsiteY8" fmla="*/ 1574224 h 3148446"/>
              <a:gd name="connsiteX9" fmla="*/ 1574224 w 3148446"/>
              <a:gd name="connsiteY9" fmla="*/ 637310 h 31484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48446" h="3148446">
                <a:moveTo>
                  <a:pt x="1574223" y="0"/>
                </a:moveTo>
                <a:cubicBezTo>
                  <a:pt x="2443642" y="0"/>
                  <a:pt x="3148446" y="704804"/>
                  <a:pt x="3148446" y="1574223"/>
                </a:cubicBezTo>
                <a:cubicBezTo>
                  <a:pt x="3148446" y="2443642"/>
                  <a:pt x="2443642" y="3148446"/>
                  <a:pt x="1574223" y="3148446"/>
                </a:cubicBezTo>
                <a:cubicBezTo>
                  <a:pt x="704804" y="3148446"/>
                  <a:pt x="0" y="2443642"/>
                  <a:pt x="0" y="1574223"/>
                </a:cubicBezTo>
                <a:cubicBezTo>
                  <a:pt x="0" y="704804"/>
                  <a:pt x="704804" y="0"/>
                  <a:pt x="1574223" y="0"/>
                </a:cubicBezTo>
                <a:close/>
                <a:moveTo>
                  <a:pt x="1574224" y="637310"/>
                </a:moveTo>
                <a:cubicBezTo>
                  <a:pt x="1045303" y="637310"/>
                  <a:pt x="616528" y="1056781"/>
                  <a:pt x="616528" y="1574224"/>
                </a:cubicBezTo>
                <a:cubicBezTo>
                  <a:pt x="616528" y="2091667"/>
                  <a:pt x="1045303" y="2511138"/>
                  <a:pt x="1574224" y="2511138"/>
                </a:cubicBezTo>
                <a:cubicBezTo>
                  <a:pt x="2103145" y="2511138"/>
                  <a:pt x="2531920" y="2091667"/>
                  <a:pt x="2531920" y="1574224"/>
                </a:cubicBezTo>
                <a:cubicBezTo>
                  <a:pt x="2531920" y="1056781"/>
                  <a:pt x="2103145" y="637310"/>
                  <a:pt x="1574224" y="637310"/>
                </a:cubicBezTo>
                <a:close/>
              </a:path>
            </a:pathLst>
          </a:custGeom>
          <a:solidFill>
            <a:srgbClr val="C7E8F1">
              <a:alpha val="2342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l-NL"/>
          </a:p>
        </p:txBody>
      </p:sp>
    </p:spTree>
    <p:extLst>
      <p:ext uri="{BB962C8B-B14F-4D97-AF65-F5344CB8AC3E}">
        <p14:creationId xmlns:p14="http://schemas.microsoft.com/office/powerpoint/2010/main" val="3778119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slideLayout" Target="../slideLayouts/slideLayout30.xml"/><Relationship Id="rId7" Type="http://schemas.openxmlformats.org/officeDocument/2006/relationships/image" Target="../media/image1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2.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image" Target="../media/image14.emf"/><Relationship Id="rId2" Type="http://schemas.openxmlformats.org/officeDocument/2006/relationships/slideLayout" Target="../slideLayouts/slideLayout34.xml"/><Relationship Id="rId16" Type="http://schemas.openxmlformats.org/officeDocument/2006/relationships/theme" Target="../theme/theme3.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CCEF938A-293C-AF30-918E-C9D5FA2C341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l-NL"/>
              <a:t>Klik om stijl te bewerken</a:t>
            </a:r>
          </a:p>
        </p:txBody>
      </p:sp>
      <p:sp>
        <p:nvSpPr>
          <p:cNvPr id="3" name="Tijdelijke aanduiding voor tekst 2">
            <a:extLst>
              <a:ext uri="{FF2B5EF4-FFF2-40B4-BE49-F238E27FC236}">
                <a16:creationId xmlns:a16="http://schemas.microsoft.com/office/drawing/2014/main" id="{2B2B0AFD-B5D8-D007-7235-6EA44E36E67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Tree>
    <p:extLst>
      <p:ext uri="{BB962C8B-B14F-4D97-AF65-F5344CB8AC3E}">
        <p14:creationId xmlns:p14="http://schemas.microsoft.com/office/powerpoint/2010/main" val="16958647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81" r:id="rId3"/>
    <p:sldLayoutId id="2147483690" r:id="rId4"/>
    <p:sldLayoutId id="2147483691" r:id="rId5"/>
    <p:sldLayoutId id="2147483688" r:id="rId6"/>
    <p:sldLayoutId id="2147483689" r:id="rId7"/>
    <p:sldLayoutId id="2147483663" r:id="rId8"/>
    <p:sldLayoutId id="2147483679" r:id="rId9"/>
    <p:sldLayoutId id="2147483682" r:id="rId10"/>
    <p:sldLayoutId id="2147483683" r:id="rId11"/>
    <p:sldLayoutId id="2147483692" r:id="rId12"/>
    <p:sldLayoutId id="2147483693" r:id="rId13"/>
    <p:sldLayoutId id="2147483670" r:id="rId14"/>
    <p:sldLayoutId id="2147483694" r:id="rId15"/>
    <p:sldLayoutId id="2147483680" r:id="rId16"/>
    <p:sldLayoutId id="2147483695" r:id="rId17"/>
    <p:sldLayoutId id="2147483686" r:id="rId18"/>
    <p:sldLayoutId id="2147483685" r:id="rId19"/>
    <p:sldLayoutId id="2147483687" r:id="rId20"/>
    <p:sldLayoutId id="2147483654" r:id="rId21"/>
    <p:sldLayoutId id="2147483669" r:id="rId22"/>
    <p:sldLayoutId id="2147483673" r:id="rId23"/>
    <p:sldLayoutId id="2147487502" r:id="rId24"/>
    <p:sldLayoutId id="2147487503" r:id="rId25"/>
    <p:sldLayoutId id="2147487504" r:id="rId26"/>
    <p:sldLayoutId id="2147487505" r:id="rId27"/>
  </p:sldLayoutIdLst>
  <p:txStyles>
    <p:titleStyle>
      <a:lvl1pPr algn="l" defTabSz="914400" rtl="0" eaLnBrk="1" latinLnBrk="0" hangingPunct="1">
        <a:lnSpc>
          <a:spcPct val="114000"/>
        </a:lnSpc>
        <a:spcBef>
          <a:spcPct val="0"/>
        </a:spcBef>
        <a:buNone/>
        <a:defRPr sz="4400"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114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4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4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4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4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Afbeelding 6"/>
          <p:cNvPicPr>
            <a:picLocks noChangeAspect="1"/>
          </p:cNvPicPr>
          <p:nvPr/>
        </p:nvPicPr>
        <p:blipFill>
          <a:blip r:embed="rId7"/>
          <a:stretch>
            <a:fillRect/>
          </a:stretch>
        </p:blipFill>
        <p:spPr>
          <a:xfrm>
            <a:off x="6096004" y="0"/>
            <a:ext cx="6096003" cy="6858000"/>
          </a:xfrm>
          <a:prstGeom prst="rect">
            <a:avLst/>
          </a:prstGeom>
          <a:noFill/>
          <a:ln cap="flat">
            <a:noFill/>
          </a:ln>
        </p:spPr>
      </p:pic>
      <p:pic>
        <p:nvPicPr>
          <p:cNvPr id="3" name="Afbeelding 6" descr="Afbeelding met tekst, teken&#10;&#10;Automatisch gegenereerde beschrijving"/>
          <p:cNvPicPr>
            <a:picLocks noChangeAspect="1"/>
          </p:cNvPicPr>
          <p:nvPr/>
        </p:nvPicPr>
        <p:blipFill>
          <a:blip r:embed="rId8"/>
          <a:stretch>
            <a:fillRect/>
          </a:stretch>
        </p:blipFill>
        <p:spPr>
          <a:xfrm>
            <a:off x="1111407" y="786157"/>
            <a:ext cx="3258464" cy="650513"/>
          </a:xfrm>
          <a:prstGeom prst="rect">
            <a:avLst/>
          </a:prstGeom>
          <a:noFill/>
          <a:ln cap="flat">
            <a:noFill/>
          </a:ln>
        </p:spPr>
      </p:pic>
    </p:spTree>
    <p:extLst>
      <p:ext uri="{BB962C8B-B14F-4D97-AF65-F5344CB8AC3E}">
        <p14:creationId xmlns:p14="http://schemas.microsoft.com/office/powerpoint/2010/main" val="4145958034"/>
      </p:ext>
    </p:extLst>
  </p:cSld>
  <p:clrMap bg1="lt1" tx1="dk1" bg2="lt2" tx2="dk2" accent1="accent1" accent2="accent2" accent3="accent3" accent4="accent4" accent5="accent5" accent6="accent6" hlink="hlink" folHlink="folHlink"/>
  <p:sldLayoutIdLst>
    <p:sldLayoutId id="2147487431" r:id="rId1"/>
    <p:sldLayoutId id="2147487469" r:id="rId2"/>
    <p:sldLayoutId id="2147487496" r:id="rId3"/>
    <p:sldLayoutId id="2147487498" r:id="rId4"/>
    <p:sldLayoutId id="2147487499" r:id="rId5"/>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ijdelijke aanduiding voor datum 3">
            <a:extLst>
              <a:ext uri="{FF2B5EF4-FFF2-40B4-BE49-F238E27FC236}">
                <a16:creationId xmlns:a16="http://schemas.microsoft.com/office/drawing/2014/main" id="{B1F10B3F-5E50-4D43-A4F6-1F3D6CF0DC2A}"/>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40EAABA-9E71-274A-8A0E-85D654E44ABA}" type="datetime1">
              <a:rPr lang="nl-NL" smtClean="0"/>
              <a:t>10-10-2023</a:t>
            </a:fld>
            <a:endParaRPr lang="nl-NL"/>
          </a:p>
        </p:txBody>
      </p:sp>
      <p:sp>
        <p:nvSpPr>
          <p:cNvPr id="5" name="Tijdelijke aanduiding voor voettekst 4">
            <a:extLst>
              <a:ext uri="{FF2B5EF4-FFF2-40B4-BE49-F238E27FC236}">
                <a16:creationId xmlns:a16="http://schemas.microsoft.com/office/drawing/2014/main" id="{02F925F4-F5FF-4D4A-995E-62A2EB301F48}"/>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Toegankelijke Zorg in Zeeland</a:t>
            </a:r>
          </a:p>
        </p:txBody>
      </p:sp>
      <p:sp>
        <p:nvSpPr>
          <p:cNvPr id="6" name="Tijdelijke aanduiding voor dianummer 5">
            <a:extLst>
              <a:ext uri="{FF2B5EF4-FFF2-40B4-BE49-F238E27FC236}">
                <a16:creationId xmlns:a16="http://schemas.microsoft.com/office/drawing/2014/main" id="{41086F3F-1C3B-804E-B892-8536A0F1234F}"/>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6288D82-61D3-3C4C-9776-3696409E7592}" type="slidenum">
              <a:rPr lang="nl-NL" smtClean="0"/>
              <a:t>‹nr.›</a:t>
            </a:fld>
            <a:endParaRPr lang="nl-NL"/>
          </a:p>
        </p:txBody>
      </p:sp>
      <p:pic>
        <p:nvPicPr>
          <p:cNvPr id="3" name="Afbeelding 2">
            <a:extLst>
              <a:ext uri="{FF2B5EF4-FFF2-40B4-BE49-F238E27FC236}">
                <a16:creationId xmlns:a16="http://schemas.microsoft.com/office/drawing/2014/main" id="{2E0AF7A8-9407-0B49-ADC0-7E07A2AE01C0}"/>
              </a:ext>
            </a:extLst>
          </p:cNvPr>
          <p:cNvPicPr>
            <a:picLocks noChangeAspect="1"/>
          </p:cNvPicPr>
          <p:nvPr userDrawn="1"/>
        </p:nvPicPr>
        <p:blipFill>
          <a:blip r:embed="rId17"/>
          <a:stretch>
            <a:fillRect/>
          </a:stretch>
        </p:blipFill>
        <p:spPr>
          <a:xfrm>
            <a:off x="10521951" y="1"/>
            <a:ext cx="1663700" cy="1460500"/>
          </a:xfrm>
          <a:prstGeom prst="rect">
            <a:avLst/>
          </a:prstGeom>
        </p:spPr>
      </p:pic>
    </p:spTree>
    <p:extLst>
      <p:ext uri="{BB962C8B-B14F-4D97-AF65-F5344CB8AC3E}">
        <p14:creationId xmlns:p14="http://schemas.microsoft.com/office/powerpoint/2010/main" val="2428590963"/>
      </p:ext>
    </p:extLst>
  </p:cSld>
  <p:clrMap bg1="lt1" tx1="dk1" bg2="lt2" tx2="dk2" accent1="accent1" accent2="accent2" accent3="accent3" accent4="accent4" accent5="accent5" accent6="accent6" hlink="hlink" folHlink="folHlink"/>
  <p:sldLayoutIdLst>
    <p:sldLayoutId id="2147487454" r:id="rId1"/>
    <p:sldLayoutId id="2147487455" r:id="rId2"/>
    <p:sldLayoutId id="2147487463" r:id="rId3"/>
    <p:sldLayoutId id="2147487466" r:id="rId4"/>
    <p:sldLayoutId id="2147487472" r:id="rId5"/>
    <p:sldLayoutId id="2147487471" r:id="rId6"/>
    <p:sldLayoutId id="2147487476" r:id="rId7"/>
    <p:sldLayoutId id="2147487479" r:id="rId8"/>
    <p:sldLayoutId id="2147487484" r:id="rId9"/>
    <p:sldLayoutId id="2147487485" r:id="rId10"/>
    <p:sldLayoutId id="2147487474" r:id="rId11"/>
    <p:sldLayoutId id="2147487477" r:id="rId12"/>
    <p:sldLayoutId id="2147487478" r:id="rId13"/>
    <p:sldLayoutId id="2147487497" r:id="rId14"/>
    <p:sldLayoutId id="2147487500" r:id="rId15"/>
  </p:sldLayoutIdLst>
  <p:hf hdr="0"/>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userDrawn="1">
          <p15:clr>
            <a:srgbClr val="F26B43"/>
          </p15:clr>
        </p15:guide>
        <p15:guide id="2" pos="705" userDrawn="1">
          <p15:clr>
            <a:srgbClr val="F26B43"/>
          </p15:clr>
        </p15:guide>
        <p15:guide id="3" orient="horz" pos="4695" userDrawn="1">
          <p15:clr>
            <a:srgbClr val="F26B43"/>
          </p15:clr>
        </p15:guide>
        <p15:guide id="4" pos="77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6.tif"/><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8.png"/><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image" Target="../media/image25.png"/><Relationship Id="rId5" Type="http://schemas.openxmlformats.org/officeDocument/2006/relationships/image" Target="../media/image9.png"/><Relationship Id="rId4" Type="http://schemas.openxmlformats.org/officeDocument/2006/relationships/image" Target="../media/image24.jp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8.png"/><Relationship Id="rId2" Type="http://schemas.openxmlformats.org/officeDocument/2006/relationships/slideLayout" Target="../slideLayouts/slideLayout24.xml"/><Relationship Id="rId1" Type="http://schemas.openxmlformats.org/officeDocument/2006/relationships/tags" Target="../tags/tag5.xml"/><Relationship Id="rId6" Type="http://schemas.openxmlformats.org/officeDocument/2006/relationships/image" Target="../media/image9.png"/><Relationship Id="rId5" Type="http://schemas.openxmlformats.org/officeDocument/2006/relationships/image" Target="../media/image27.png"/><Relationship Id="rId4" Type="http://schemas.openxmlformats.org/officeDocument/2006/relationships/image" Target="../media/image26.jpg"/></Relationships>
</file>

<file path=ppt/slides/_rels/slide1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6.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hyperlink" Target="https://regioplan.zeeuwsezorgcoalitie.nl/regioplan/projecten" TargetMode="Externa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7.xml"/><Relationship Id="rId1" Type="http://schemas.openxmlformats.org/officeDocument/2006/relationships/tags" Target="../tags/tag6.xml"/><Relationship Id="rId5" Type="http://schemas.openxmlformats.org/officeDocument/2006/relationships/image" Target="../media/image10.emf"/><Relationship Id="rId4" Type="http://schemas.openxmlformats.org/officeDocument/2006/relationships/oleObject" Target="../embeddings/oleObject2.bin"/></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3.xml"/><Relationship Id="rId1" Type="http://schemas.openxmlformats.org/officeDocument/2006/relationships/slideLayout" Target="../slideLayouts/slideLayout24.xml"/><Relationship Id="rId6" Type="http://schemas.openxmlformats.org/officeDocument/2006/relationships/image" Target="../media/image8.png"/><Relationship Id="rId5" Type="http://schemas.openxmlformats.org/officeDocument/2006/relationships/image" Target="../media/image23.pn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chart" Target="../charts/chart1.xml"/><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3A740D9-22C4-00C0-6793-6B29FEDAED4E}"/>
              </a:ext>
            </a:extLst>
          </p:cNvPr>
          <p:cNvSpPr>
            <a:spLocks noGrp="1"/>
          </p:cNvSpPr>
          <p:nvPr>
            <p:ph type="ctrTitle"/>
          </p:nvPr>
        </p:nvSpPr>
        <p:spPr>
          <a:xfrm>
            <a:off x="637155" y="2768273"/>
            <a:ext cx="5392171" cy="2387600"/>
          </a:xfrm>
        </p:spPr>
        <p:txBody>
          <a:bodyPr>
            <a:normAutofit fontScale="90000"/>
          </a:bodyPr>
          <a:lstStyle/>
          <a:p>
            <a:r>
              <a:rPr lang="nl-NL" dirty="0"/>
              <a:t>Zeeland</a:t>
            </a:r>
            <a:br>
              <a:rPr lang="nl-NL" dirty="0"/>
            </a:br>
            <a:br>
              <a:rPr lang="nl-NL" dirty="0"/>
            </a:br>
            <a:r>
              <a:rPr lang="nl-NL" dirty="0" err="1"/>
              <a:t>ZorgSaam</a:t>
            </a:r>
            <a:br>
              <a:rPr lang="nl-NL" dirty="0"/>
            </a:br>
            <a:br>
              <a:rPr lang="nl-NL" dirty="0"/>
            </a:br>
            <a:r>
              <a:rPr lang="nl-NL" dirty="0"/>
              <a:t>Zeeuwse Zorg Coalitie</a:t>
            </a:r>
            <a:br>
              <a:rPr lang="nl-NL" dirty="0"/>
            </a:br>
            <a:endParaRPr lang="nl-NL" dirty="0"/>
          </a:p>
        </p:txBody>
      </p:sp>
      <p:sp>
        <p:nvSpPr>
          <p:cNvPr id="5" name="Tijdelijke aanduiding voor tekst 4">
            <a:extLst>
              <a:ext uri="{FF2B5EF4-FFF2-40B4-BE49-F238E27FC236}">
                <a16:creationId xmlns:a16="http://schemas.microsoft.com/office/drawing/2014/main" id="{792DBFE8-8F06-977C-6217-1C914B6C9E09}"/>
              </a:ext>
            </a:extLst>
          </p:cNvPr>
          <p:cNvSpPr>
            <a:spLocks noGrp="1"/>
          </p:cNvSpPr>
          <p:nvPr>
            <p:ph type="body" sz="quarter" idx="14"/>
          </p:nvPr>
        </p:nvSpPr>
        <p:spPr>
          <a:xfrm>
            <a:off x="703828" y="5426635"/>
            <a:ext cx="1859757" cy="337351"/>
          </a:xfrm>
        </p:spPr>
        <p:txBody>
          <a:bodyPr>
            <a:noAutofit/>
          </a:bodyPr>
          <a:lstStyle/>
          <a:p>
            <a:r>
              <a:rPr lang="nl-NL" sz="2000" b="1" dirty="0"/>
              <a:t>Oktober 2023</a:t>
            </a:r>
          </a:p>
        </p:txBody>
      </p:sp>
      <p:pic>
        <p:nvPicPr>
          <p:cNvPr id="8" name="Tijdelijke aanduiding voor afbeelding 7">
            <a:extLst>
              <a:ext uri="{FF2B5EF4-FFF2-40B4-BE49-F238E27FC236}">
                <a16:creationId xmlns:a16="http://schemas.microsoft.com/office/drawing/2014/main" id="{813E3A0B-E9ED-5528-9920-CDF108CD1C0D}"/>
              </a:ext>
            </a:extLst>
          </p:cNvPr>
          <p:cNvPicPr>
            <a:picLocks noGrp="1" noChangeAspect="1"/>
          </p:cNvPicPr>
          <p:nvPr>
            <p:ph type="pic" sz="quarter" idx="17"/>
          </p:nvPr>
        </p:nvPicPr>
        <p:blipFill>
          <a:blip r:embed="rId3"/>
          <a:srcRect l="25273" r="25273"/>
          <a:stretch/>
        </p:blipFill>
        <p:spPr/>
      </p:pic>
      <p:sp>
        <p:nvSpPr>
          <p:cNvPr id="11" name="Ondertitel 10">
            <a:extLst>
              <a:ext uri="{FF2B5EF4-FFF2-40B4-BE49-F238E27FC236}">
                <a16:creationId xmlns:a16="http://schemas.microsoft.com/office/drawing/2014/main" id="{A14B71E4-70D9-1093-F44D-E93E487A2DD7}"/>
              </a:ext>
            </a:extLst>
          </p:cNvPr>
          <p:cNvSpPr>
            <a:spLocks noGrp="1"/>
          </p:cNvSpPr>
          <p:nvPr>
            <p:ph type="subTitle" idx="1"/>
          </p:nvPr>
        </p:nvSpPr>
        <p:spPr/>
        <p:txBody>
          <a:bodyPr/>
          <a:lstStyle/>
          <a:p>
            <a:r>
              <a:rPr lang="nl-NL" dirty="0"/>
              <a:t> </a:t>
            </a:r>
          </a:p>
        </p:txBody>
      </p:sp>
    </p:spTree>
    <p:extLst>
      <p:ext uri="{BB962C8B-B14F-4D97-AF65-F5344CB8AC3E}">
        <p14:creationId xmlns:p14="http://schemas.microsoft.com/office/powerpoint/2010/main" val="31071826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Tijdelijke aanduiding voor afbeelding 36" descr="Afbeelding met buitenshuis, hemel, landschap, water&#10;&#10;Automatisch gegenereerde beschrijving">
            <a:extLst>
              <a:ext uri="{FF2B5EF4-FFF2-40B4-BE49-F238E27FC236}">
                <a16:creationId xmlns:a16="http://schemas.microsoft.com/office/drawing/2014/main" id="{127B0DAF-4327-A7C8-E3E4-179718D60D10}"/>
              </a:ext>
            </a:extLst>
          </p:cNvPr>
          <p:cNvPicPr>
            <a:picLocks noGrp="1" noChangeAspect="1"/>
          </p:cNvPicPr>
          <p:nvPr>
            <p:ph type="pic" sz="quarter" idx="14"/>
          </p:nvPr>
        </p:nvPicPr>
        <p:blipFill rotWithShape="1">
          <a:blip r:embed="rId4">
            <a:extLst>
              <a:ext uri="{28A0092B-C50C-407E-A947-70E740481C1C}">
                <a14:useLocalDpi xmlns:a14="http://schemas.microsoft.com/office/drawing/2010/main" val="0"/>
              </a:ext>
            </a:extLst>
          </a:blip>
          <a:srcRect l="13435"/>
          <a:stretch/>
        </p:blipFill>
        <p:spPr>
          <a:xfrm>
            <a:off x="0" y="0"/>
            <a:ext cx="12191999" cy="6858000"/>
          </a:xfrm>
        </p:spPr>
      </p:pic>
      <p:sp>
        <p:nvSpPr>
          <p:cNvPr id="34" name="Rechthoek 33">
            <a:extLst>
              <a:ext uri="{FF2B5EF4-FFF2-40B4-BE49-F238E27FC236}">
                <a16:creationId xmlns:a16="http://schemas.microsoft.com/office/drawing/2014/main" id="{394B558C-E844-4635-FA4C-02EB54D596EC}"/>
              </a:ext>
            </a:extLst>
          </p:cNvPr>
          <p:cNvSpPr/>
          <p:nvPr/>
        </p:nvSpPr>
        <p:spPr>
          <a:xfrm>
            <a:off x="-1" y="0"/>
            <a:ext cx="10044000" cy="6858000"/>
          </a:xfrm>
          <a:prstGeom prst="rect">
            <a:avLst/>
          </a:prstGeom>
          <a:gradFill>
            <a:gsLst>
              <a:gs pos="54000">
                <a:srgbClr val="F0F4F6">
                  <a:alpha val="85000"/>
                </a:srgbClr>
              </a:gs>
              <a:gs pos="2000">
                <a:schemeClr val="bg2"/>
              </a:gs>
              <a:gs pos="100000">
                <a:schemeClr val="bg2">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9" name="Titel 28">
            <a:extLst>
              <a:ext uri="{FF2B5EF4-FFF2-40B4-BE49-F238E27FC236}">
                <a16:creationId xmlns:a16="http://schemas.microsoft.com/office/drawing/2014/main" id="{FED37B1A-E6D5-0C5C-3E2E-9EB212492461}"/>
              </a:ext>
            </a:extLst>
          </p:cNvPr>
          <p:cNvSpPr>
            <a:spLocks noGrp="1"/>
          </p:cNvSpPr>
          <p:nvPr>
            <p:ph type="title"/>
          </p:nvPr>
        </p:nvSpPr>
        <p:spPr/>
        <p:txBody>
          <a:bodyPr/>
          <a:lstStyle/>
          <a:p>
            <a:endParaRPr lang="nl-NL"/>
          </a:p>
        </p:txBody>
      </p:sp>
      <p:sp>
        <p:nvSpPr>
          <p:cNvPr id="13" name="Titel 8">
            <a:extLst>
              <a:ext uri="{FF2B5EF4-FFF2-40B4-BE49-F238E27FC236}">
                <a16:creationId xmlns:a16="http://schemas.microsoft.com/office/drawing/2014/main" id="{382778A3-BEF8-A747-87B5-D8CE23358846}"/>
              </a:ext>
            </a:extLst>
          </p:cNvPr>
          <p:cNvSpPr txBox="1">
            <a:spLocks/>
          </p:cNvSpPr>
          <p:nvPr/>
        </p:nvSpPr>
        <p:spPr>
          <a:xfrm>
            <a:off x="719999" y="735013"/>
            <a:ext cx="10751276" cy="541687"/>
          </a:xfrm>
          <a:prstGeom prst="rect">
            <a:avLst/>
          </a:prstGeom>
        </p:spPr>
        <p:txBody>
          <a:bodyPr vert="horz" wrap="square" lIns="0" tIns="0" rIns="72000" bIns="0" rtlCol="0" anchor="t" anchorCtr="0">
            <a:spAutoFit/>
          </a:bodyPr>
          <a:lstStyle>
            <a:lvl1pPr>
              <a:lnSpc>
                <a:spcPct val="80000"/>
              </a:lnSpc>
              <a:spcBef>
                <a:spcPct val="0"/>
              </a:spcBef>
              <a:buNone/>
              <a:defRPr sz="4400" b="0" spc="-100" baseline="0">
                <a:ln w="19050">
                  <a:noFill/>
                </a:ln>
                <a:solidFill>
                  <a:schemeClr val="accent1"/>
                </a:solidFill>
                <a:effectLst/>
                <a:latin typeface="+mj-lt"/>
                <a:ea typeface="+mj-ea"/>
                <a:cs typeface="+mj-cs"/>
              </a:defRPr>
            </a:lvl1pPr>
          </a:lstStyle>
          <a:p>
            <a:r>
              <a:rPr lang="nl-NL" b="1" spc="0" dirty="0"/>
              <a:t>Duurzame zorg naar gezondheid</a:t>
            </a:r>
            <a:r>
              <a:rPr lang="nl-NL" b="1" spc="0" dirty="0">
                <a:solidFill>
                  <a:schemeClr val="accent3"/>
                </a:solidFill>
              </a:rPr>
              <a:t>.</a:t>
            </a:r>
          </a:p>
        </p:txBody>
      </p:sp>
      <p:sp>
        <p:nvSpPr>
          <p:cNvPr id="12" name="Tijdelijke aanduiding voor tekst 10">
            <a:extLst>
              <a:ext uri="{FF2B5EF4-FFF2-40B4-BE49-F238E27FC236}">
                <a16:creationId xmlns:a16="http://schemas.microsoft.com/office/drawing/2014/main" id="{9501438E-95B7-5056-F1FD-2DC0DAF045F2}"/>
              </a:ext>
            </a:extLst>
          </p:cNvPr>
          <p:cNvSpPr txBox="1">
            <a:spLocks/>
          </p:cNvSpPr>
          <p:nvPr/>
        </p:nvSpPr>
        <p:spPr>
          <a:xfrm>
            <a:off x="719138" y="1593850"/>
            <a:ext cx="9000000" cy="4392613"/>
          </a:xfrm>
          <a:prstGeom prst="rect">
            <a:avLst/>
          </a:prstGeom>
        </p:spPr>
        <p:txBody>
          <a:bodyPr lIns="720000" tIns="90000" rIns="0" bIns="0"/>
          <a:lstStyle>
            <a:lvl1pPr marL="174625" indent="-174625" algn="l" defTabSz="914400" rtl="0" eaLnBrk="1" latinLnBrk="0" hangingPunct="1">
              <a:lnSpc>
                <a:spcPct val="95000"/>
              </a:lnSpc>
              <a:spcBef>
                <a:spcPts val="500"/>
              </a:spcBef>
              <a:spcAft>
                <a:spcPts val="500"/>
              </a:spcAft>
              <a:buClr>
                <a:schemeClr val="accent1"/>
              </a:buClr>
              <a:buSzPct val="75000"/>
              <a:buFontTx/>
              <a:buBlip>
                <a:blip r:embed="rId5"/>
              </a:buBlip>
              <a:defRPr sz="1600" kern="1200">
                <a:solidFill>
                  <a:schemeClr val="tx2">
                    <a:lumMod val="90000"/>
                    <a:lumOff val="10000"/>
                  </a:schemeClr>
                </a:solidFill>
                <a:latin typeface="+mn-lt"/>
                <a:ea typeface="+mn-ea"/>
                <a:cs typeface="+mn-cs"/>
              </a:defRPr>
            </a:lvl1pPr>
            <a:lvl2pPr marL="355600" indent="-177800" algn="l" defTabSz="914400" rtl="0" eaLnBrk="1" latinLnBrk="0" hangingPunct="1">
              <a:lnSpc>
                <a:spcPct val="95000"/>
              </a:lnSpc>
              <a:spcBef>
                <a:spcPts val="500"/>
              </a:spcBef>
              <a:spcAft>
                <a:spcPts val="500"/>
              </a:spcAft>
              <a:buClr>
                <a:schemeClr val="accent2">
                  <a:lumMod val="90000"/>
                </a:schemeClr>
              </a:buClr>
              <a:buSzPct val="110000"/>
              <a:buFont typeface="Arial" panose="020B0604020202020204" pitchFamily="34" charset="0"/>
              <a:buChar char="•"/>
              <a:tabLst/>
              <a:defRPr sz="1600" kern="1200">
                <a:solidFill>
                  <a:schemeClr val="tx2">
                    <a:lumMod val="90000"/>
                    <a:lumOff val="10000"/>
                  </a:schemeClr>
                </a:solidFill>
                <a:latin typeface="+mn-lt"/>
                <a:ea typeface="+mn-ea"/>
                <a:cs typeface="+mn-cs"/>
              </a:defRPr>
            </a:lvl2pPr>
            <a:lvl3pPr marL="531813" indent="-171450" algn="l" defTabSz="914400" rtl="0" eaLnBrk="1" latinLnBrk="0" hangingPunct="1">
              <a:lnSpc>
                <a:spcPct val="95000"/>
              </a:lnSpc>
              <a:spcBef>
                <a:spcPts val="500"/>
              </a:spcBef>
              <a:spcAft>
                <a:spcPts val="500"/>
              </a:spcAft>
              <a:buClr>
                <a:schemeClr val="accent3"/>
              </a:buClr>
              <a:buFont typeface="Segoe UI Light" panose="020B0502040204020203" pitchFamily="34" charset="0"/>
              <a:buChar char="–"/>
              <a:defRPr sz="1600" kern="1200">
                <a:solidFill>
                  <a:schemeClr val="tx2">
                    <a:lumMod val="90000"/>
                    <a:lumOff val="10000"/>
                  </a:schemeClr>
                </a:solidFill>
                <a:latin typeface="+mn-lt"/>
                <a:ea typeface="+mn-ea"/>
                <a:cs typeface="+mn-cs"/>
              </a:defRPr>
            </a:lvl3pPr>
            <a:lvl4pPr marL="0" indent="0" algn="l" defTabSz="914400" rtl="0" eaLnBrk="1" latinLnBrk="0" hangingPunct="1">
              <a:lnSpc>
                <a:spcPct val="95000"/>
              </a:lnSpc>
              <a:spcBef>
                <a:spcPts val="500"/>
              </a:spcBef>
              <a:spcAft>
                <a:spcPts val="500"/>
              </a:spcAft>
              <a:buFont typeface="Arial" panose="020B0604020202020204" pitchFamily="34" charset="0"/>
              <a:buNone/>
              <a:defRPr sz="1600" kern="1200">
                <a:solidFill>
                  <a:schemeClr val="tx2">
                    <a:lumMod val="90000"/>
                    <a:lumOff val="10000"/>
                  </a:schemeClr>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800" b="0" kern="1200" spc="-30" baseline="0">
                <a:ln w="6350">
                  <a:noFill/>
                </a:ln>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kern="1200" cap="none" spc="-50" baseline="0">
                <a:ln w="12700">
                  <a:noFill/>
                </a:ln>
                <a:solidFill>
                  <a:schemeClr val="accent3"/>
                </a:solidFill>
                <a:latin typeface="Arial" panose="020B0604020202020204" pitchFamily="34" charset="0"/>
                <a:ea typeface="+mn-ea"/>
                <a:cs typeface="+mn-cs"/>
              </a:defRPr>
            </a:lvl6pPr>
            <a:lvl7pPr marL="268288" indent="-268288" algn="l" defTabSz="914400" rtl="0" eaLnBrk="1" latinLnBrk="0" hangingPunct="1">
              <a:lnSpc>
                <a:spcPct val="95000"/>
              </a:lnSpc>
              <a:spcBef>
                <a:spcPts val="500"/>
              </a:spcBef>
              <a:spcAft>
                <a:spcPts val="500"/>
              </a:spcAft>
              <a:buClr>
                <a:schemeClr val="accent1"/>
              </a:buClr>
              <a:buFont typeface="+mj-lt"/>
              <a:buAutoNum type="arabicPeriod"/>
              <a:tabLst/>
              <a:defRPr sz="1600" kern="1200">
                <a:solidFill>
                  <a:schemeClr val="tx2">
                    <a:lumMod val="90000"/>
                    <a:lumOff val="10000"/>
                  </a:schemeClr>
                </a:solidFill>
                <a:latin typeface="+mn-lt"/>
                <a:ea typeface="+mn-ea"/>
                <a:cs typeface="+mn-cs"/>
              </a:defRPr>
            </a:lvl7pPr>
            <a:lvl8pPr marL="536575" indent="-268288" algn="l" defTabSz="914400" rtl="0" eaLnBrk="1" latinLnBrk="0" hangingPunct="1">
              <a:lnSpc>
                <a:spcPct val="95000"/>
              </a:lnSpc>
              <a:spcBef>
                <a:spcPts val="500"/>
              </a:spcBef>
              <a:spcAft>
                <a:spcPts val="500"/>
              </a:spcAft>
              <a:buClr>
                <a:schemeClr val="accent2">
                  <a:lumMod val="90000"/>
                </a:schemeClr>
              </a:buClr>
              <a:buFont typeface="+mj-lt"/>
              <a:buAutoNum type="alphaLcPeriod"/>
              <a:defRPr sz="1600" kern="1200">
                <a:solidFill>
                  <a:schemeClr val="tx2">
                    <a:lumMod val="90000"/>
                    <a:lumOff val="10000"/>
                  </a:schemeClr>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800" b="1" i="0" kern="1200" spc="50" baseline="0">
                <a:ln w="12700" cap="rnd">
                  <a:solidFill>
                    <a:schemeClr val="bg2">
                      <a:lumMod val="75000"/>
                    </a:schemeClr>
                  </a:solidFill>
                </a:ln>
                <a:solidFill>
                  <a:schemeClr val="bg2">
                    <a:lumMod val="75000"/>
                  </a:schemeClr>
                </a:solidFill>
                <a:latin typeface="Arial" panose="020B0604020202020204" pitchFamily="34" charset="0"/>
                <a:ea typeface="+mn-ea"/>
                <a:cs typeface="+mn-cs"/>
              </a:defRPr>
            </a:lvl9pPr>
          </a:lstStyle>
          <a:p>
            <a:pPr lvl="3">
              <a:lnSpc>
                <a:spcPct val="98000"/>
              </a:lnSpc>
              <a:spcBef>
                <a:spcPts val="1200"/>
              </a:spcBef>
              <a:spcAft>
                <a:spcPts val="1200"/>
              </a:spcAft>
            </a:pPr>
            <a:r>
              <a:rPr lang="nl-NL" dirty="0"/>
              <a:t>Focus op helpen van inwoners om gezond en vitaal te blijven</a:t>
            </a:r>
          </a:p>
          <a:p>
            <a:pPr lvl="3" defTabSz="898525">
              <a:lnSpc>
                <a:spcPct val="98000"/>
              </a:lnSpc>
              <a:spcBef>
                <a:spcPts val="1200"/>
              </a:spcBef>
              <a:spcAft>
                <a:spcPts val="1200"/>
              </a:spcAft>
            </a:pPr>
            <a:r>
              <a:rPr lang="nl-NL" dirty="0"/>
              <a:t>Gebruik principes Positieve Gezondheid als uitgangspunt</a:t>
            </a:r>
          </a:p>
          <a:p>
            <a:pPr lvl="3">
              <a:lnSpc>
                <a:spcPct val="98000"/>
              </a:lnSpc>
              <a:spcBef>
                <a:spcPts val="1200"/>
              </a:spcBef>
              <a:spcAft>
                <a:spcPts val="1200"/>
              </a:spcAft>
            </a:pPr>
            <a:r>
              <a:rPr lang="nl-NL" dirty="0"/>
              <a:t>Stimuleren verantwoordelijkheid gezondheid</a:t>
            </a:r>
          </a:p>
          <a:p>
            <a:pPr lvl="3">
              <a:lnSpc>
                <a:spcPct val="98000"/>
              </a:lnSpc>
              <a:spcBef>
                <a:spcPts val="1200"/>
              </a:spcBef>
              <a:spcAft>
                <a:spcPts val="1200"/>
              </a:spcAft>
            </a:pPr>
            <a:r>
              <a:rPr lang="nl-NL" dirty="0"/>
              <a:t>Versterking van nulde lijn en ketensamenwerking in zorg</a:t>
            </a:r>
          </a:p>
          <a:p>
            <a:pPr lvl="3">
              <a:lnSpc>
                <a:spcPct val="98000"/>
              </a:lnSpc>
              <a:spcBef>
                <a:spcPts val="1200"/>
              </a:spcBef>
              <a:spcAft>
                <a:spcPts val="1200"/>
              </a:spcAft>
            </a:pPr>
            <a:r>
              <a:rPr lang="nl-NL" dirty="0"/>
              <a:t>Opbouw netwerk en samenhangende </a:t>
            </a:r>
            <a:br>
              <a:rPr lang="nl-NL" dirty="0"/>
            </a:br>
            <a:r>
              <a:rPr lang="nl-NL" dirty="0"/>
              <a:t>voorzieningen rondom inwoner</a:t>
            </a:r>
          </a:p>
          <a:p>
            <a:pPr lvl="3">
              <a:lnSpc>
                <a:spcPct val="98000"/>
              </a:lnSpc>
              <a:spcBef>
                <a:spcPts val="1200"/>
              </a:spcBef>
              <a:spcAft>
                <a:spcPts val="1200"/>
              </a:spcAft>
            </a:pPr>
            <a:r>
              <a:rPr lang="nl-NL" dirty="0"/>
              <a:t>Shift genezing naar preventie</a:t>
            </a:r>
          </a:p>
        </p:txBody>
      </p:sp>
      <p:sp>
        <p:nvSpPr>
          <p:cNvPr id="3" name="Vrije vorm: vorm 2">
            <a:extLst>
              <a:ext uri="{FF2B5EF4-FFF2-40B4-BE49-F238E27FC236}">
                <a16:creationId xmlns:a16="http://schemas.microsoft.com/office/drawing/2014/main" id="{2FEA3611-DE3B-3911-A48D-2AD8B136B2A2}"/>
              </a:ext>
            </a:extLst>
          </p:cNvPr>
          <p:cNvSpPr txBox="1">
            <a:spLocks/>
          </p:cNvSpPr>
          <p:nvPr/>
        </p:nvSpPr>
        <p:spPr>
          <a:xfrm>
            <a:off x="7865653" y="1593843"/>
            <a:ext cx="4326346" cy="5264157"/>
          </a:xfrm>
          <a:custGeom>
            <a:avLst/>
            <a:gdLst>
              <a:gd name="connsiteX0" fmla="*/ 1285623 w 4326346"/>
              <a:gd name="connsiteY0" fmla="*/ 4311889 h 5264157"/>
              <a:gd name="connsiteX1" fmla="*/ 1992088 w 4326346"/>
              <a:gd name="connsiteY1" fmla="*/ 4448045 h 5264157"/>
              <a:gd name="connsiteX2" fmla="*/ 2464404 w 4326346"/>
              <a:gd name="connsiteY2" fmla="*/ 4699864 h 5264157"/>
              <a:gd name="connsiteX3" fmla="*/ 2058754 w 4326346"/>
              <a:gd name="connsiteY3" fmla="*/ 5048077 h 5264157"/>
              <a:gd name="connsiteX4" fmla="*/ 2022609 w 4326346"/>
              <a:gd name="connsiteY4" fmla="*/ 5026791 h 5264157"/>
              <a:gd name="connsiteX5" fmla="*/ 1798101 w 4326346"/>
              <a:gd name="connsiteY5" fmla="*/ 4907103 h 5264157"/>
              <a:gd name="connsiteX6" fmla="*/ 1545876 w 4326346"/>
              <a:gd name="connsiteY6" fmla="*/ 4832403 h 5264157"/>
              <a:gd name="connsiteX7" fmla="*/ 1285223 w 4326346"/>
              <a:gd name="connsiteY7" fmla="*/ 4811117 h 5264157"/>
              <a:gd name="connsiteX8" fmla="*/ 549030 w 4326346"/>
              <a:gd name="connsiteY8" fmla="*/ 5027191 h 5264157"/>
              <a:gd name="connsiteX9" fmla="*/ 499233 w 4326346"/>
              <a:gd name="connsiteY9" fmla="*/ 5055710 h 5264157"/>
              <a:gd name="connsiteX10" fmla="*/ 6 w 4326346"/>
              <a:gd name="connsiteY10" fmla="*/ 5264157 h 5264157"/>
              <a:gd name="connsiteX11" fmla="*/ 6 w 4326346"/>
              <a:gd name="connsiteY11" fmla="*/ 4742436 h 5264157"/>
              <a:gd name="connsiteX12" fmla="*/ 298420 w 4326346"/>
              <a:gd name="connsiteY12" fmla="*/ 4595037 h 5264157"/>
              <a:gd name="connsiteX13" fmla="*/ 499233 w 4326346"/>
              <a:gd name="connsiteY13" fmla="*/ 4485391 h 5264157"/>
              <a:gd name="connsiteX14" fmla="*/ 1285623 w 4326346"/>
              <a:gd name="connsiteY14" fmla="*/ 4311889 h 5264157"/>
              <a:gd name="connsiteX15" fmla="*/ 1285615 w 4326346"/>
              <a:gd name="connsiteY15" fmla="*/ 2872051 h 5264157"/>
              <a:gd name="connsiteX16" fmla="*/ 3266045 w 4326346"/>
              <a:gd name="connsiteY16" fmla="*/ 3351193 h 5264157"/>
              <a:gd name="connsiteX17" fmla="*/ 3267253 w 4326346"/>
              <a:gd name="connsiteY17" fmla="*/ 3349985 h 5264157"/>
              <a:gd name="connsiteX18" fmla="*/ 3534331 w 4326346"/>
              <a:gd name="connsiteY18" fmla="*/ 3268860 h 5264157"/>
              <a:gd name="connsiteX19" fmla="*/ 4157661 w 4326346"/>
              <a:gd name="connsiteY19" fmla="*/ 2959603 h 5264157"/>
              <a:gd name="connsiteX20" fmla="*/ 3496177 w 4326346"/>
              <a:gd name="connsiteY20" fmla="*/ 3811866 h 5264157"/>
              <a:gd name="connsiteX21" fmla="*/ 2912208 w 4326346"/>
              <a:gd name="connsiteY21" fmla="*/ 3869297 h 5264157"/>
              <a:gd name="connsiteX22" fmla="*/ 2690110 w 4326346"/>
              <a:gd name="connsiteY22" fmla="*/ 3846803 h 5264157"/>
              <a:gd name="connsiteX23" fmla="*/ 2022600 w 4326346"/>
              <a:gd name="connsiteY23" fmla="*/ 3588559 h 5264157"/>
              <a:gd name="connsiteX24" fmla="*/ 1285215 w 4326346"/>
              <a:gd name="connsiteY24" fmla="*/ 3371278 h 5264157"/>
              <a:gd name="connsiteX25" fmla="*/ 549024 w 4326346"/>
              <a:gd name="connsiteY25" fmla="*/ 3587351 h 5264157"/>
              <a:gd name="connsiteX26" fmla="*/ 0 w 4326346"/>
              <a:gd name="connsiteY26" fmla="*/ 3824310 h 5264157"/>
              <a:gd name="connsiteX27" fmla="*/ 0 w 4326346"/>
              <a:gd name="connsiteY27" fmla="*/ 3302596 h 5264157"/>
              <a:gd name="connsiteX28" fmla="*/ 499226 w 4326346"/>
              <a:gd name="connsiteY28" fmla="*/ 3045553 h 5264157"/>
              <a:gd name="connsiteX29" fmla="*/ 1285615 w 4326346"/>
              <a:gd name="connsiteY29" fmla="*/ 2872051 h 5264157"/>
              <a:gd name="connsiteX30" fmla="*/ 2210961 w 4326346"/>
              <a:gd name="connsiteY30" fmla="*/ 0 h 5264157"/>
              <a:gd name="connsiteX31" fmla="*/ 3819086 w 4326346"/>
              <a:gd name="connsiteY31" fmla="*/ 736993 h 5264157"/>
              <a:gd name="connsiteX32" fmla="*/ 4231561 w 4326346"/>
              <a:gd name="connsiteY32" fmla="*/ 1477996 h 5264157"/>
              <a:gd name="connsiteX33" fmla="*/ 4320721 w 4326346"/>
              <a:gd name="connsiteY33" fmla="*/ 1904123 h 5264157"/>
              <a:gd name="connsiteX34" fmla="*/ 4326346 w 4326346"/>
              <a:gd name="connsiteY34" fmla="*/ 1983248 h 5264157"/>
              <a:gd name="connsiteX35" fmla="*/ 3998213 w 4326346"/>
              <a:gd name="connsiteY35" fmla="*/ 2169201 h 5264157"/>
              <a:gd name="connsiteX36" fmla="*/ 3831137 w 4326346"/>
              <a:gd name="connsiteY36" fmla="*/ 2261577 h 5264157"/>
              <a:gd name="connsiteX37" fmla="*/ 3826319 w 4326346"/>
              <a:gd name="connsiteY37" fmla="*/ 2263985 h 5264157"/>
              <a:gd name="connsiteX38" fmla="*/ 3823903 w 4326346"/>
              <a:gd name="connsiteY38" fmla="*/ 2265186 h 5264157"/>
              <a:gd name="connsiteX39" fmla="*/ 3011410 w 4326346"/>
              <a:gd name="connsiteY39" fmla="*/ 2452347 h 5264157"/>
              <a:gd name="connsiteX40" fmla="*/ 2023000 w 4326346"/>
              <a:gd name="connsiteY40" fmla="*/ 2169201 h 5264157"/>
              <a:gd name="connsiteX41" fmla="*/ 1285614 w 4326346"/>
              <a:gd name="connsiteY41" fmla="*/ 1953121 h 5264157"/>
              <a:gd name="connsiteX42" fmla="*/ 549422 w 4326346"/>
              <a:gd name="connsiteY42" fmla="*/ 2169201 h 5264157"/>
              <a:gd name="connsiteX43" fmla="*/ 499625 w 4326346"/>
              <a:gd name="connsiteY43" fmla="*/ 2197713 h 5264157"/>
              <a:gd name="connsiteX44" fmla="*/ 398 w 4326346"/>
              <a:gd name="connsiteY44" fmla="*/ 2404958 h 5264157"/>
              <a:gd name="connsiteX45" fmla="*/ 398 w 4326346"/>
              <a:gd name="connsiteY45" fmla="*/ 1884446 h 5264157"/>
              <a:gd name="connsiteX46" fmla="*/ 298812 w 4326346"/>
              <a:gd name="connsiteY46" fmla="*/ 1737047 h 5264157"/>
              <a:gd name="connsiteX47" fmla="*/ 499625 w 4326346"/>
              <a:gd name="connsiteY47" fmla="*/ 1626195 h 5264157"/>
              <a:gd name="connsiteX48" fmla="*/ 1286014 w 4326346"/>
              <a:gd name="connsiteY48" fmla="*/ 1453901 h 5264157"/>
              <a:gd name="connsiteX49" fmla="*/ 2274425 w 4326346"/>
              <a:gd name="connsiteY49" fmla="*/ 1737047 h 5264157"/>
              <a:gd name="connsiteX50" fmla="*/ 3011811 w 4326346"/>
              <a:gd name="connsiteY50" fmla="*/ 1953121 h 5264157"/>
              <a:gd name="connsiteX51" fmla="*/ 3698198 w 4326346"/>
              <a:gd name="connsiteY51" fmla="*/ 1765967 h 5264157"/>
              <a:gd name="connsiteX52" fmla="*/ 3781332 w 4326346"/>
              <a:gd name="connsiteY52" fmla="*/ 1719378 h 5264157"/>
              <a:gd name="connsiteX53" fmla="*/ 3440354 w 4326346"/>
              <a:gd name="connsiteY53" fmla="*/ 1062311 h 5264157"/>
              <a:gd name="connsiteX54" fmla="*/ 2210961 w 4326346"/>
              <a:gd name="connsiteY54" fmla="*/ 498827 h 5264157"/>
              <a:gd name="connsiteX55" fmla="*/ 1506912 w 4326346"/>
              <a:gd name="connsiteY55" fmla="*/ 660678 h 5264157"/>
              <a:gd name="connsiteX56" fmla="*/ 1438631 w 4326346"/>
              <a:gd name="connsiteY56" fmla="*/ 695622 h 5264157"/>
              <a:gd name="connsiteX57" fmla="*/ 1438631 w 4326346"/>
              <a:gd name="connsiteY57" fmla="*/ 145791 h 5264157"/>
              <a:gd name="connsiteX58" fmla="*/ 1506912 w 4326346"/>
              <a:gd name="connsiteY58" fmla="*/ 120888 h 5264157"/>
              <a:gd name="connsiteX59" fmla="*/ 2210961 w 4326346"/>
              <a:gd name="connsiteY59" fmla="*/ 0 h 526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326346" h="5264157">
                <a:moveTo>
                  <a:pt x="1285623" y="4311889"/>
                </a:moveTo>
                <a:cubicBezTo>
                  <a:pt x="1598890" y="4311889"/>
                  <a:pt x="1816171" y="4370529"/>
                  <a:pt x="1992088" y="4448045"/>
                </a:cubicBezTo>
                <a:cubicBezTo>
                  <a:pt x="2070805" y="4481782"/>
                  <a:pt x="2398939" y="4667735"/>
                  <a:pt x="2464404" y="4699864"/>
                </a:cubicBezTo>
                <a:lnTo>
                  <a:pt x="2058754" y="5048077"/>
                </a:lnTo>
                <a:cubicBezTo>
                  <a:pt x="2046310" y="5040450"/>
                  <a:pt x="2035060" y="5034424"/>
                  <a:pt x="2022609" y="5026791"/>
                </a:cubicBezTo>
                <a:cubicBezTo>
                  <a:pt x="1947909" y="4983011"/>
                  <a:pt x="1876818" y="4942048"/>
                  <a:pt x="1798101" y="4907103"/>
                </a:cubicBezTo>
                <a:cubicBezTo>
                  <a:pt x="1722994" y="4874975"/>
                  <a:pt x="1643069" y="4848471"/>
                  <a:pt x="1545876" y="4832403"/>
                </a:cubicBezTo>
                <a:cubicBezTo>
                  <a:pt x="1469968" y="4818744"/>
                  <a:pt x="1385225" y="4811117"/>
                  <a:pt x="1285223" y="4811117"/>
                </a:cubicBezTo>
                <a:cubicBezTo>
                  <a:pt x="922144" y="4811117"/>
                  <a:pt x="748642" y="4911120"/>
                  <a:pt x="549030" y="5027191"/>
                </a:cubicBezTo>
                <a:cubicBezTo>
                  <a:pt x="532970" y="5036833"/>
                  <a:pt x="516902" y="5045668"/>
                  <a:pt x="499233" y="5055710"/>
                </a:cubicBezTo>
                <a:cubicBezTo>
                  <a:pt x="361877" y="5134427"/>
                  <a:pt x="209654" y="5215560"/>
                  <a:pt x="6" y="5264157"/>
                </a:cubicBezTo>
                <a:lnTo>
                  <a:pt x="6" y="4742436"/>
                </a:lnTo>
                <a:cubicBezTo>
                  <a:pt x="110051" y="4704682"/>
                  <a:pt x="201219" y="4652475"/>
                  <a:pt x="298420" y="4595037"/>
                </a:cubicBezTo>
                <a:cubicBezTo>
                  <a:pt x="361877" y="4558891"/>
                  <a:pt x="426942" y="4520336"/>
                  <a:pt x="499233" y="4485391"/>
                </a:cubicBezTo>
                <a:cubicBezTo>
                  <a:pt x="689203" y="4391814"/>
                  <a:pt x="924960" y="4311889"/>
                  <a:pt x="1285623" y="4311889"/>
                </a:cubicBezTo>
                <a:close/>
                <a:moveTo>
                  <a:pt x="1285615" y="2872051"/>
                </a:moveTo>
                <a:cubicBezTo>
                  <a:pt x="2272017" y="2863217"/>
                  <a:pt x="2314188" y="3499793"/>
                  <a:pt x="3266045" y="3351193"/>
                </a:cubicBezTo>
                <a:lnTo>
                  <a:pt x="3267253" y="3349985"/>
                </a:lnTo>
                <a:cubicBezTo>
                  <a:pt x="3370872" y="3333924"/>
                  <a:pt x="3455614" y="3305005"/>
                  <a:pt x="3534331" y="3268860"/>
                </a:cubicBezTo>
                <a:cubicBezTo>
                  <a:pt x="3754828" y="3168857"/>
                  <a:pt x="3903835" y="3041136"/>
                  <a:pt x="4157661" y="2959603"/>
                </a:cubicBezTo>
                <a:cubicBezTo>
                  <a:pt x="4023114" y="3284927"/>
                  <a:pt x="3784548" y="3581326"/>
                  <a:pt x="3496177" y="3811866"/>
                </a:cubicBezTo>
                <a:cubicBezTo>
                  <a:pt x="3347177" y="3854437"/>
                  <a:pt x="3113829" y="3877731"/>
                  <a:pt x="2912208" y="3869297"/>
                </a:cubicBezTo>
                <a:cubicBezTo>
                  <a:pt x="2832283" y="3865680"/>
                  <a:pt x="2758785" y="3858047"/>
                  <a:pt x="2690110" y="3846803"/>
                </a:cubicBezTo>
                <a:cubicBezTo>
                  <a:pt x="2389288" y="3800615"/>
                  <a:pt x="2196109" y="3689770"/>
                  <a:pt x="2022600" y="3588559"/>
                </a:cubicBezTo>
                <a:cubicBezTo>
                  <a:pt x="1822995" y="3472489"/>
                  <a:pt x="1649487" y="3371278"/>
                  <a:pt x="1285215" y="3371278"/>
                </a:cubicBezTo>
                <a:cubicBezTo>
                  <a:pt x="922137" y="3371278"/>
                  <a:pt x="748635" y="3472489"/>
                  <a:pt x="549024" y="3587351"/>
                </a:cubicBezTo>
                <a:cubicBezTo>
                  <a:pt x="383956" y="3682136"/>
                  <a:pt x="236158" y="3768487"/>
                  <a:pt x="0" y="3824310"/>
                </a:cubicBezTo>
                <a:lnTo>
                  <a:pt x="0" y="3302596"/>
                </a:lnTo>
                <a:cubicBezTo>
                  <a:pt x="184345" y="3238739"/>
                  <a:pt x="323309" y="3130295"/>
                  <a:pt x="499226" y="3045553"/>
                </a:cubicBezTo>
                <a:cubicBezTo>
                  <a:pt x="689196" y="2951976"/>
                  <a:pt x="924953" y="2872051"/>
                  <a:pt x="1285615" y="2872051"/>
                </a:cubicBezTo>
                <a:close/>
                <a:moveTo>
                  <a:pt x="2210961" y="0"/>
                </a:moveTo>
                <a:cubicBezTo>
                  <a:pt x="2806981" y="0"/>
                  <a:pt x="3399384" y="249810"/>
                  <a:pt x="3819086" y="736993"/>
                </a:cubicBezTo>
                <a:cubicBezTo>
                  <a:pt x="4011464" y="960700"/>
                  <a:pt x="4147619" y="1213319"/>
                  <a:pt x="4231561" y="1477996"/>
                </a:cubicBezTo>
                <a:cubicBezTo>
                  <a:pt x="4276541" y="1611735"/>
                  <a:pt x="4303853" y="1761142"/>
                  <a:pt x="4320721" y="1904123"/>
                </a:cubicBezTo>
                <a:cubicBezTo>
                  <a:pt x="4324337" y="1931835"/>
                  <a:pt x="4325539" y="1955937"/>
                  <a:pt x="4326346" y="1983248"/>
                </a:cubicBezTo>
                <a:cubicBezTo>
                  <a:pt x="4211477" y="2041887"/>
                  <a:pt x="4068095" y="2127830"/>
                  <a:pt x="3998213" y="2169201"/>
                </a:cubicBezTo>
                <a:cubicBezTo>
                  <a:pt x="3944798" y="2200529"/>
                  <a:pt x="3889776" y="2231449"/>
                  <a:pt x="3831137" y="2261577"/>
                </a:cubicBezTo>
                <a:cubicBezTo>
                  <a:pt x="3829929" y="2262778"/>
                  <a:pt x="3827520" y="2262778"/>
                  <a:pt x="3826319" y="2263985"/>
                </a:cubicBezTo>
                <a:cubicBezTo>
                  <a:pt x="3825111" y="2263985"/>
                  <a:pt x="3825111" y="2265186"/>
                  <a:pt x="3823903" y="2265186"/>
                </a:cubicBezTo>
                <a:cubicBezTo>
                  <a:pt x="3629116" y="2366397"/>
                  <a:pt x="3388141" y="2452347"/>
                  <a:pt x="3011410" y="2452347"/>
                </a:cubicBezTo>
                <a:cubicBezTo>
                  <a:pt x="2513392" y="2452347"/>
                  <a:pt x="2252732" y="2301339"/>
                  <a:pt x="2023000" y="2169201"/>
                </a:cubicBezTo>
                <a:cubicBezTo>
                  <a:pt x="1823395" y="2053130"/>
                  <a:pt x="1649886" y="1953121"/>
                  <a:pt x="1285614" y="1953121"/>
                </a:cubicBezTo>
                <a:cubicBezTo>
                  <a:pt x="922536" y="1953121"/>
                  <a:pt x="749034" y="2053130"/>
                  <a:pt x="549422" y="2169201"/>
                </a:cubicBezTo>
                <a:cubicBezTo>
                  <a:pt x="533361" y="2178836"/>
                  <a:pt x="517293" y="2187677"/>
                  <a:pt x="499625" y="2197713"/>
                </a:cubicBezTo>
                <a:cubicBezTo>
                  <a:pt x="362268" y="2275229"/>
                  <a:pt x="210045" y="2356362"/>
                  <a:pt x="398" y="2404958"/>
                </a:cubicBezTo>
                <a:lnTo>
                  <a:pt x="398" y="1884446"/>
                </a:lnTo>
                <a:cubicBezTo>
                  <a:pt x="110443" y="1847092"/>
                  <a:pt x="201611" y="1793278"/>
                  <a:pt x="298812" y="1737047"/>
                </a:cubicBezTo>
                <a:cubicBezTo>
                  <a:pt x="362268" y="1699694"/>
                  <a:pt x="427326" y="1662340"/>
                  <a:pt x="499625" y="1626195"/>
                </a:cubicBezTo>
                <a:cubicBezTo>
                  <a:pt x="689594" y="1532618"/>
                  <a:pt x="925352" y="1453901"/>
                  <a:pt x="1286014" y="1453901"/>
                </a:cubicBezTo>
                <a:cubicBezTo>
                  <a:pt x="1785241" y="1453901"/>
                  <a:pt x="2044693" y="1603708"/>
                  <a:pt x="2274425" y="1737047"/>
                </a:cubicBezTo>
                <a:cubicBezTo>
                  <a:pt x="2474030" y="1853118"/>
                  <a:pt x="2647539" y="1953121"/>
                  <a:pt x="3011811" y="1953121"/>
                </a:cubicBezTo>
                <a:cubicBezTo>
                  <a:pt x="3345162" y="1953121"/>
                  <a:pt x="3517063" y="1869586"/>
                  <a:pt x="3698198" y="1765967"/>
                </a:cubicBezTo>
                <a:lnTo>
                  <a:pt x="3781332" y="1719378"/>
                </a:lnTo>
                <a:cubicBezTo>
                  <a:pt x="3720691" y="1479604"/>
                  <a:pt x="3606222" y="1255089"/>
                  <a:pt x="3440354" y="1062311"/>
                </a:cubicBezTo>
                <a:cubicBezTo>
                  <a:pt x="3132298" y="704057"/>
                  <a:pt x="2684084" y="498827"/>
                  <a:pt x="2210961" y="498827"/>
                </a:cubicBezTo>
                <a:cubicBezTo>
                  <a:pt x="1965569" y="498827"/>
                  <a:pt x="1724993" y="555050"/>
                  <a:pt x="1506912" y="660678"/>
                </a:cubicBezTo>
                <a:lnTo>
                  <a:pt x="1438631" y="695622"/>
                </a:lnTo>
                <a:lnTo>
                  <a:pt x="1438631" y="145791"/>
                </a:lnTo>
                <a:lnTo>
                  <a:pt x="1506912" y="120888"/>
                </a:lnTo>
                <a:cubicBezTo>
                  <a:pt x="1735036" y="40563"/>
                  <a:pt x="1973202" y="0"/>
                  <a:pt x="2210961" y="0"/>
                </a:cubicBezTo>
                <a:close/>
              </a:path>
            </a:pathLst>
          </a:custGeom>
          <a:gradFill>
            <a:gsLst>
              <a:gs pos="5000">
                <a:schemeClr val="bg1">
                  <a:alpha val="80000"/>
                </a:schemeClr>
              </a:gs>
              <a:gs pos="100000">
                <a:schemeClr val="bg1">
                  <a:alpha val="75000"/>
                </a:schemeClr>
              </a:gs>
            </a:gsLst>
            <a:lin ang="18900000" scaled="1"/>
          </a:gradFill>
        </p:spPr>
        <p:txBody>
          <a:bodyPr wrap="square" anchor="b">
            <a:noAutofit/>
          </a:bodyPr>
          <a:lstStyle>
            <a:lvl1pPr marL="0" indent="0" algn="ctr" defTabSz="914400" rtl="0" eaLnBrk="1" latinLnBrk="0" hangingPunct="1">
              <a:lnSpc>
                <a:spcPct val="95000"/>
              </a:lnSpc>
              <a:spcBef>
                <a:spcPts val="500"/>
              </a:spcBef>
              <a:spcAft>
                <a:spcPts val="500"/>
              </a:spcAft>
              <a:buClr>
                <a:schemeClr val="accent1"/>
              </a:buClr>
              <a:buSzPct val="75000"/>
              <a:buFontTx/>
              <a:buNone/>
              <a:defRPr sz="100" kern="1200" baseline="0">
                <a:solidFill>
                  <a:schemeClr val="tx1">
                    <a:alpha val="0"/>
                  </a:schemeClr>
                </a:solidFill>
                <a:latin typeface="+mn-lt"/>
                <a:ea typeface="+mn-ea"/>
                <a:cs typeface="+mn-cs"/>
              </a:defRPr>
            </a:lvl1pPr>
            <a:lvl2pPr marL="355600" indent="-177800" algn="l" defTabSz="914400" rtl="0" eaLnBrk="1" latinLnBrk="0" hangingPunct="1">
              <a:lnSpc>
                <a:spcPct val="95000"/>
              </a:lnSpc>
              <a:spcBef>
                <a:spcPts val="500"/>
              </a:spcBef>
              <a:spcAft>
                <a:spcPts val="500"/>
              </a:spcAft>
              <a:buClr>
                <a:schemeClr val="accent2">
                  <a:lumMod val="90000"/>
                </a:schemeClr>
              </a:buClr>
              <a:buSzPct val="110000"/>
              <a:buFont typeface="Arial" panose="020B0604020202020204" pitchFamily="34" charset="0"/>
              <a:buChar char="•"/>
              <a:tabLst/>
              <a:defRPr sz="1600" kern="1200" baseline="0">
                <a:solidFill>
                  <a:schemeClr val="tx2">
                    <a:lumMod val="90000"/>
                    <a:lumOff val="10000"/>
                  </a:schemeClr>
                </a:solidFill>
                <a:latin typeface="+mn-lt"/>
                <a:ea typeface="+mn-ea"/>
                <a:cs typeface="+mn-cs"/>
              </a:defRPr>
            </a:lvl2pPr>
            <a:lvl3pPr marL="531813" indent="-171450" algn="l" defTabSz="914400" rtl="0" eaLnBrk="1" latinLnBrk="0" hangingPunct="1">
              <a:lnSpc>
                <a:spcPct val="95000"/>
              </a:lnSpc>
              <a:spcBef>
                <a:spcPts val="500"/>
              </a:spcBef>
              <a:spcAft>
                <a:spcPts val="500"/>
              </a:spcAft>
              <a:buClr>
                <a:schemeClr val="accent3"/>
              </a:buClr>
              <a:buFont typeface="Segoe UI Light" panose="020B0502040204020203" pitchFamily="34" charset="0"/>
              <a:buChar char="–"/>
              <a:defRPr sz="1600" kern="1200" baseline="0">
                <a:solidFill>
                  <a:schemeClr val="tx2">
                    <a:lumMod val="90000"/>
                    <a:lumOff val="10000"/>
                  </a:schemeClr>
                </a:solidFill>
                <a:latin typeface="+mn-lt"/>
                <a:ea typeface="+mn-ea"/>
                <a:cs typeface="+mn-cs"/>
              </a:defRPr>
            </a:lvl3pPr>
            <a:lvl4pPr marL="0" indent="0" algn="l" defTabSz="914400" rtl="0" eaLnBrk="1" latinLnBrk="0" hangingPunct="1">
              <a:lnSpc>
                <a:spcPct val="95000"/>
              </a:lnSpc>
              <a:spcBef>
                <a:spcPts val="500"/>
              </a:spcBef>
              <a:spcAft>
                <a:spcPts val="500"/>
              </a:spcAft>
              <a:buFont typeface="Arial" panose="020B0604020202020204" pitchFamily="34" charset="0"/>
              <a:buNone/>
              <a:defRPr sz="1600" kern="1200" baseline="0">
                <a:solidFill>
                  <a:schemeClr val="tx2">
                    <a:lumMod val="90000"/>
                    <a:lumOff val="10000"/>
                  </a:schemeClr>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800" b="0" kern="1200" spc="-30" baseline="0">
                <a:ln w="6350">
                  <a:noFill/>
                </a:ln>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kern="1200" cap="none" spc="-50" baseline="0">
                <a:ln w="12700">
                  <a:noFill/>
                </a:ln>
                <a:solidFill>
                  <a:schemeClr val="accent3"/>
                </a:solidFill>
                <a:latin typeface="Arial" panose="020B0604020202020204" pitchFamily="34" charset="0"/>
                <a:ea typeface="+mn-ea"/>
                <a:cs typeface="+mn-cs"/>
              </a:defRPr>
            </a:lvl6pPr>
            <a:lvl7pPr marL="268288" indent="-268288" algn="l" defTabSz="914400" rtl="0" eaLnBrk="1" latinLnBrk="0" hangingPunct="1">
              <a:lnSpc>
                <a:spcPct val="95000"/>
              </a:lnSpc>
              <a:spcBef>
                <a:spcPts val="500"/>
              </a:spcBef>
              <a:spcAft>
                <a:spcPts val="500"/>
              </a:spcAft>
              <a:buClr>
                <a:schemeClr val="accent1"/>
              </a:buClr>
              <a:buFont typeface="+mj-lt"/>
              <a:buAutoNum type="arabicPeriod"/>
              <a:tabLst/>
              <a:defRPr sz="1600" kern="1200" baseline="0">
                <a:solidFill>
                  <a:schemeClr val="tx2">
                    <a:lumMod val="90000"/>
                    <a:lumOff val="10000"/>
                  </a:schemeClr>
                </a:solidFill>
                <a:latin typeface="+mn-lt"/>
                <a:ea typeface="+mn-ea"/>
                <a:cs typeface="+mn-cs"/>
              </a:defRPr>
            </a:lvl7pPr>
            <a:lvl8pPr marL="536575" indent="-268288" algn="l" defTabSz="914400" rtl="0" eaLnBrk="1" latinLnBrk="0" hangingPunct="1">
              <a:lnSpc>
                <a:spcPct val="95000"/>
              </a:lnSpc>
              <a:spcBef>
                <a:spcPts val="500"/>
              </a:spcBef>
              <a:spcAft>
                <a:spcPts val="500"/>
              </a:spcAft>
              <a:buClr>
                <a:schemeClr val="accent2">
                  <a:lumMod val="90000"/>
                </a:schemeClr>
              </a:buClr>
              <a:buFont typeface="+mj-lt"/>
              <a:buAutoNum type="alphaLcPeriod"/>
              <a:defRPr sz="1600" kern="1200" baseline="0">
                <a:solidFill>
                  <a:schemeClr val="tx2">
                    <a:lumMod val="90000"/>
                    <a:lumOff val="10000"/>
                  </a:schemeClr>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800" b="1" i="0" kern="1200" spc="50" baseline="0">
                <a:ln w="12700" cap="rnd">
                  <a:solidFill>
                    <a:schemeClr val="bg2">
                      <a:lumMod val="75000"/>
                    </a:schemeClr>
                  </a:solidFill>
                </a:ln>
                <a:solidFill>
                  <a:schemeClr val="bg2">
                    <a:lumMod val="75000"/>
                  </a:schemeClr>
                </a:solidFill>
                <a:latin typeface="Arial" panose="020B0604020202020204" pitchFamily="34" charset="0"/>
                <a:ea typeface="+mn-ea"/>
                <a:cs typeface="+mn-cs"/>
              </a:defRPr>
            </a:lvl9pPr>
          </a:lstStyle>
          <a:p>
            <a:r>
              <a:rPr lang="nl-NL"/>
              <a:t>(leeg)</a:t>
            </a:r>
            <a:endParaRPr lang="nl-NL" dirty="0"/>
          </a:p>
        </p:txBody>
      </p:sp>
      <p:pic>
        <p:nvPicPr>
          <p:cNvPr id="39" name="Afbeelding 38" descr="Afbeelding met persoon, kleding, schoeisel, Korte broek&#10;&#10;Automatisch gegenereerde beschrijving">
            <a:extLst>
              <a:ext uri="{FF2B5EF4-FFF2-40B4-BE49-F238E27FC236}">
                <a16:creationId xmlns:a16="http://schemas.microsoft.com/office/drawing/2014/main" id="{5A43311C-0C31-F61F-A4C1-452CE80F533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454900" y="1420378"/>
            <a:ext cx="3670300" cy="5575380"/>
          </a:xfrm>
          <a:prstGeom prst="rect">
            <a:avLst/>
          </a:prstGeom>
        </p:spPr>
      </p:pic>
      <p:grpSp>
        <p:nvGrpSpPr>
          <p:cNvPr id="78" name="Groep 77">
            <a:extLst>
              <a:ext uri="{FF2B5EF4-FFF2-40B4-BE49-F238E27FC236}">
                <a16:creationId xmlns:a16="http://schemas.microsoft.com/office/drawing/2014/main" id="{9A4E4590-5670-2DBD-D87F-9764CB8D37FD}"/>
              </a:ext>
            </a:extLst>
          </p:cNvPr>
          <p:cNvGrpSpPr/>
          <p:nvPr/>
        </p:nvGrpSpPr>
        <p:grpSpPr>
          <a:xfrm>
            <a:off x="719138" y="2133554"/>
            <a:ext cx="388888" cy="430189"/>
            <a:chOff x="719138" y="2133554"/>
            <a:chExt cx="388888" cy="430189"/>
          </a:xfrm>
        </p:grpSpPr>
        <p:sp>
          <p:nvSpPr>
            <p:cNvPr id="15" name="Vrije vorm: vorm 14">
              <a:extLst>
                <a:ext uri="{FF2B5EF4-FFF2-40B4-BE49-F238E27FC236}">
                  <a16:creationId xmlns:a16="http://schemas.microsoft.com/office/drawing/2014/main" id="{50E5ABEA-8D1A-A627-CC96-DA8111742514}"/>
                </a:ext>
              </a:extLst>
            </p:cNvPr>
            <p:cNvSpPr/>
            <p:nvPr/>
          </p:nvSpPr>
          <p:spPr>
            <a:xfrm>
              <a:off x="719138" y="2133554"/>
              <a:ext cx="286994" cy="430189"/>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lIns="1080000" rtlCol="0" anchor="ctr"/>
            <a:lstStyle/>
            <a:p>
              <a:endParaRPr lang="nl-NL" dirty="0"/>
            </a:p>
          </p:txBody>
        </p:sp>
        <p:grpSp>
          <p:nvGrpSpPr>
            <p:cNvPr id="57" name="Graphic 42">
              <a:extLst>
                <a:ext uri="{FF2B5EF4-FFF2-40B4-BE49-F238E27FC236}">
                  <a16:creationId xmlns:a16="http://schemas.microsoft.com/office/drawing/2014/main" id="{7835FC3B-C8E8-D54C-1DFC-E3FCC19DCDC4}"/>
                </a:ext>
              </a:extLst>
            </p:cNvPr>
            <p:cNvGrpSpPr/>
            <p:nvPr/>
          </p:nvGrpSpPr>
          <p:grpSpPr>
            <a:xfrm>
              <a:off x="821500" y="2216875"/>
              <a:ext cx="286526" cy="337302"/>
              <a:chOff x="821500" y="2216875"/>
              <a:chExt cx="286526" cy="337302"/>
            </a:xfrm>
            <a:solidFill>
              <a:schemeClr val="tx2"/>
            </a:solidFill>
          </p:grpSpPr>
          <p:sp>
            <p:nvSpPr>
              <p:cNvPr id="58" name="Vrije vorm: vorm 57">
                <a:extLst>
                  <a:ext uri="{FF2B5EF4-FFF2-40B4-BE49-F238E27FC236}">
                    <a16:creationId xmlns:a16="http://schemas.microsoft.com/office/drawing/2014/main" id="{A9004DB9-49F6-9F6C-EBAC-FC004B99091D}"/>
                  </a:ext>
                </a:extLst>
              </p:cNvPr>
              <p:cNvSpPr/>
              <p:nvPr/>
            </p:nvSpPr>
            <p:spPr>
              <a:xfrm>
                <a:off x="821500" y="2216875"/>
                <a:ext cx="286526" cy="337302"/>
              </a:xfrm>
              <a:custGeom>
                <a:avLst/>
                <a:gdLst>
                  <a:gd name="connsiteX0" fmla="*/ 286188 w 286526"/>
                  <a:gd name="connsiteY0" fmla="*/ 91484 h 337302"/>
                  <a:gd name="connsiteX1" fmla="*/ 286182 w 286526"/>
                  <a:gd name="connsiteY1" fmla="*/ 91162 h 337302"/>
                  <a:gd name="connsiteX2" fmla="*/ 285872 w 286526"/>
                  <a:gd name="connsiteY2" fmla="*/ 67169 h 337302"/>
                  <a:gd name="connsiteX3" fmla="*/ 264878 w 286526"/>
                  <a:gd name="connsiteY3" fmla="*/ 46175 h 337302"/>
                  <a:gd name="connsiteX4" fmla="*/ 157894 w 286526"/>
                  <a:gd name="connsiteY4" fmla="*/ 5987 h 337302"/>
                  <a:gd name="connsiteX5" fmla="*/ 128622 w 286526"/>
                  <a:gd name="connsiteY5" fmla="*/ 5986 h 337302"/>
                  <a:gd name="connsiteX6" fmla="*/ 21648 w 286526"/>
                  <a:gd name="connsiteY6" fmla="*/ 46175 h 337302"/>
                  <a:gd name="connsiteX7" fmla="*/ 655 w 286526"/>
                  <a:gd name="connsiteY7" fmla="*/ 67169 h 337302"/>
                  <a:gd name="connsiteX8" fmla="*/ 339 w 286526"/>
                  <a:gd name="connsiteY8" fmla="*/ 91491 h 337302"/>
                  <a:gd name="connsiteX9" fmla="*/ 15200 w 286526"/>
                  <a:gd name="connsiteY9" fmla="*/ 225295 h 337302"/>
                  <a:gd name="connsiteX10" fmla="*/ 56184 w 286526"/>
                  <a:gd name="connsiteY10" fmla="*/ 288921 h 337302"/>
                  <a:gd name="connsiteX11" fmla="*/ 136380 w 286526"/>
                  <a:gd name="connsiteY11" fmla="*/ 336143 h 337302"/>
                  <a:gd name="connsiteX12" fmla="*/ 143257 w 286526"/>
                  <a:gd name="connsiteY12" fmla="*/ 337302 h 337302"/>
                  <a:gd name="connsiteX13" fmla="*/ 150133 w 286526"/>
                  <a:gd name="connsiteY13" fmla="*/ 336144 h 337302"/>
                  <a:gd name="connsiteX14" fmla="*/ 230337 w 286526"/>
                  <a:gd name="connsiteY14" fmla="*/ 288920 h 337302"/>
                  <a:gd name="connsiteX15" fmla="*/ 271325 w 286526"/>
                  <a:gd name="connsiteY15" fmla="*/ 225292 h 337302"/>
                  <a:gd name="connsiteX16" fmla="*/ 286188 w 286526"/>
                  <a:gd name="connsiteY16" fmla="*/ 91484 h 337302"/>
                  <a:gd name="connsiteX17" fmla="*/ 252789 w 286526"/>
                  <a:gd name="connsiteY17" fmla="*/ 218439 h 337302"/>
                  <a:gd name="connsiteX18" fmla="*/ 143654 w 286526"/>
                  <a:gd name="connsiteY18" fmla="*/ 317474 h 337302"/>
                  <a:gd name="connsiteX19" fmla="*/ 142853 w 286526"/>
                  <a:gd name="connsiteY19" fmla="*/ 317472 h 337302"/>
                  <a:gd name="connsiteX20" fmla="*/ 33735 w 286526"/>
                  <a:gd name="connsiteY20" fmla="*/ 218443 h 337302"/>
                  <a:gd name="connsiteX21" fmla="*/ 20095 w 286526"/>
                  <a:gd name="connsiteY21" fmla="*/ 91868 h 337302"/>
                  <a:gd name="connsiteX22" fmla="*/ 20415 w 286526"/>
                  <a:gd name="connsiteY22" fmla="*/ 67169 h 337302"/>
                  <a:gd name="connsiteX23" fmla="*/ 21648 w 286526"/>
                  <a:gd name="connsiteY23" fmla="*/ 65936 h 337302"/>
                  <a:gd name="connsiteX24" fmla="*/ 142398 w 286526"/>
                  <a:gd name="connsiteY24" fmla="*/ 20153 h 337302"/>
                  <a:gd name="connsiteX25" fmla="*/ 143256 w 286526"/>
                  <a:gd name="connsiteY25" fmla="*/ 19802 h 337302"/>
                  <a:gd name="connsiteX26" fmla="*/ 144116 w 286526"/>
                  <a:gd name="connsiteY26" fmla="*/ 20153 h 337302"/>
                  <a:gd name="connsiteX27" fmla="*/ 264878 w 286526"/>
                  <a:gd name="connsiteY27" fmla="*/ 65936 h 337302"/>
                  <a:gd name="connsiteX28" fmla="*/ 266110 w 286526"/>
                  <a:gd name="connsiteY28" fmla="*/ 67169 h 337302"/>
                  <a:gd name="connsiteX29" fmla="*/ 266424 w 286526"/>
                  <a:gd name="connsiteY29" fmla="*/ 91537 h 337302"/>
                  <a:gd name="connsiteX30" fmla="*/ 266430 w 286526"/>
                  <a:gd name="connsiteY30" fmla="*/ 91860 h 337302"/>
                  <a:gd name="connsiteX31" fmla="*/ 266430 w 286526"/>
                  <a:gd name="connsiteY31" fmla="*/ 91861 h 337302"/>
                  <a:gd name="connsiteX32" fmla="*/ 252789 w 286526"/>
                  <a:gd name="connsiteY32" fmla="*/ 218439 h 3373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86526" h="337302">
                    <a:moveTo>
                      <a:pt x="286188" y="91484"/>
                    </a:moveTo>
                    <a:lnTo>
                      <a:pt x="286182" y="91162"/>
                    </a:lnTo>
                    <a:cubicBezTo>
                      <a:pt x="286023" y="82753"/>
                      <a:pt x="285872" y="74811"/>
                      <a:pt x="285872" y="67169"/>
                    </a:cubicBezTo>
                    <a:cubicBezTo>
                      <a:pt x="285872" y="55593"/>
                      <a:pt x="276454" y="46175"/>
                      <a:pt x="264878" y="46175"/>
                    </a:cubicBezTo>
                    <a:cubicBezTo>
                      <a:pt x="220087" y="46175"/>
                      <a:pt x="186092" y="33405"/>
                      <a:pt x="157894" y="5987"/>
                    </a:cubicBezTo>
                    <a:cubicBezTo>
                      <a:pt x="149687" y="-1995"/>
                      <a:pt x="136828" y="-1996"/>
                      <a:pt x="128622" y="5986"/>
                    </a:cubicBezTo>
                    <a:cubicBezTo>
                      <a:pt x="100424" y="33405"/>
                      <a:pt x="66433" y="46175"/>
                      <a:pt x="21648" y="46175"/>
                    </a:cubicBezTo>
                    <a:cubicBezTo>
                      <a:pt x="10072" y="46175"/>
                      <a:pt x="655" y="55593"/>
                      <a:pt x="655" y="67169"/>
                    </a:cubicBezTo>
                    <a:cubicBezTo>
                      <a:pt x="655" y="74974"/>
                      <a:pt x="501" y="82996"/>
                      <a:pt x="339" y="91491"/>
                    </a:cubicBezTo>
                    <a:cubicBezTo>
                      <a:pt x="-419" y="131146"/>
                      <a:pt x="-1362" y="180498"/>
                      <a:pt x="15200" y="225295"/>
                    </a:cubicBezTo>
                    <a:cubicBezTo>
                      <a:pt x="24307" y="249928"/>
                      <a:pt x="38096" y="271335"/>
                      <a:pt x="56184" y="288921"/>
                    </a:cubicBezTo>
                    <a:cubicBezTo>
                      <a:pt x="76785" y="308951"/>
                      <a:pt x="103768" y="324839"/>
                      <a:pt x="136380" y="336143"/>
                    </a:cubicBezTo>
                    <a:cubicBezTo>
                      <a:pt x="138598" y="336912"/>
                      <a:pt x="140911" y="337302"/>
                      <a:pt x="143257" y="337302"/>
                    </a:cubicBezTo>
                    <a:cubicBezTo>
                      <a:pt x="145605" y="337302"/>
                      <a:pt x="147920" y="336912"/>
                      <a:pt x="150133" y="336144"/>
                    </a:cubicBezTo>
                    <a:cubicBezTo>
                      <a:pt x="182749" y="324838"/>
                      <a:pt x="209734" y="308950"/>
                      <a:pt x="230337" y="288920"/>
                    </a:cubicBezTo>
                    <a:cubicBezTo>
                      <a:pt x="248427" y="271333"/>
                      <a:pt x="262218" y="249926"/>
                      <a:pt x="271325" y="225292"/>
                    </a:cubicBezTo>
                    <a:cubicBezTo>
                      <a:pt x="287888" y="180492"/>
                      <a:pt x="286946" y="131139"/>
                      <a:pt x="286188" y="91484"/>
                    </a:cubicBezTo>
                    <a:close/>
                    <a:moveTo>
                      <a:pt x="252789" y="218439"/>
                    </a:moveTo>
                    <a:cubicBezTo>
                      <a:pt x="235322" y="265680"/>
                      <a:pt x="199626" y="298074"/>
                      <a:pt x="143654" y="317474"/>
                    </a:cubicBezTo>
                    <a:cubicBezTo>
                      <a:pt x="143399" y="317563"/>
                      <a:pt x="143118" y="317565"/>
                      <a:pt x="142853" y="317472"/>
                    </a:cubicBezTo>
                    <a:cubicBezTo>
                      <a:pt x="86891" y="298075"/>
                      <a:pt x="51198" y="265682"/>
                      <a:pt x="33735" y="218443"/>
                    </a:cubicBezTo>
                    <a:cubicBezTo>
                      <a:pt x="18467" y="177145"/>
                      <a:pt x="19332" y="131840"/>
                      <a:pt x="20095" y="91868"/>
                    </a:cubicBezTo>
                    <a:cubicBezTo>
                      <a:pt x="20260" y="83278"/>
                      <a:pt x="20415" y="75164"/>
                      <a:pt x="20415" y="67169"/>
                    </a:cubicBezTo>
                    <a:cubicBezTo>
                      <a:pt x="20415" y="66490"/>
                      <a:pt x="20968" y="65936"/>
                      <a:pt x="21648" y="65936"/>
                    </a:cubicBezTo>
                    <a:cubicBezTo>
                      <a:pt x="71907" y="65936"/>
                      <a:pt x="110276" y="51389"/>
                      <a:pt x="142398" y="20153"/>
                    </a:cubicBezTo>
                    <a:cubicBezTo>
                      <a:pt x="142639" y="19919"/>
                      <a:pt x="142947" y="19802"/>
                      <a:pt x="143256" y="19802"/>
                    </a:cubicBezTo>
                    <a:cubicBezTo>
                      <a:pt x="143565" y="19802"/>
                      <a:pt x="143875" y="19920"/>
                      <a:pt x="144116" y="20153"/>
                    </a:cubicBezTo>
                    <a:cubicBezTo>
                      <a:pt x="176240" y="51389"/>
                      <a:pt x="214613" y="65936"/>
                      <a:pt x="264878" y="65936"/>
                    </a:cubicBezTo>
                    <a:cubicBezTo>
                      <a:pt x="265557" y="65936"/>
                      <a:pt x="266110" y="66490"/>
                      <a:pt x="266110" y="67169"/>
                    </a:cubicBezTo>
                    <a:cubicBezTo>
                      <a:pt x="266110" y="74998"/>
                      <a:pt x="266262" y="83032"/>
                      <a:pt x="266424" y="91537"/>
                    </a:cubicBezTo>
                    <a:lnTo>
                      <a:pt x="266430" y="91860"/>
                    </a:lnTo>
                    <a:lnTo>
                      <a:pt x="266430" y="91861"/>
                    </a:lnTo>
                    <a:cubicBezTo>
                      <a:pt x="267194" y="131833"/>
                      <a:pt x="268059" y="177139"/>
                      <a:pt x="252789" y="218439"/>
                    </a:cubicBezTo>
                    <a:close/>
                  </a:path>
                </a:pathLst>
              </a:custGeom>
              <a:solidFill>
                <a:schemeClr val="tx2"/>
              </a:solidFill>
              <a:ln w="651" cap="flat">
                <a:noFill/>
                <a:prstDash val="solid"/>
                <a:miter/>
              </a:ln>
            </p:spPr>
            <p:txBody>
              <a:bodyPr rtlCol="0" anchor="ctr"/>
              <a:lstStyle/>
              <a:p>
                <a:endParaRPr lang="nl-NL"/>
              </a:p>
            </p:txBody>
          </p:sp>
          <p:sp>
            <p:nvSpPr>
              <p:cNvPr id="59" name="Vrije vorm: vorm 58">
                <a:extLst>
                  <a:ext uri="{FF2B5EF4-FFF2-40B4-BE49-F238E27FC236}">
                    <a16:creationId xmlns:a16="http://schemas.microsoft.com/office/drawing/2014/main" id="{2D801BA3-6D7C-3209-D9CD-35100A88F182}"/>
                  </a:ext>
                </a:extLst>
              </p:cNvPr>
              <p:cNvSpPr/>
              <p:nvPr/>
            </p:nvSpPr>
            <p:spPr>
              <a:xfrm>
                <a:off x="893489" y="2310970"/>
                <a:ext cx="142548" cy="142549"/>
              </a:xfrm>
              <a:custGeom>
                <a:avLst/>
                <a:gdLst>
                  <a:gd name="connsiteX0" fmla="*/ 132668 w 142548"/>
                  <a:gd name="connsiteY0" fmla="*/ 41677 h 142549"/>
                  <a:gd name="connsiteX1" fmla="*/ 100875 w 142548"/>
                  <a:gd name="connsiteY1" fmla="*/ 41677 h 142549"/>
                  <a:gd name="connsiteX2" fmla="*/ 100875 w 142548"/>
                  <a:gd name="connsiteY2" fmla="*/ 9881 h 142549"/>
                  <a:gd name="connsiteX3" fmla="*/ 90994 w 142548"/>
                  <a:gd name="connsiteY3" fmla="*/ 0 h 142549"/>
                  <a:gd name="connsiteX4" fmla="*/ 51560 w 142548"/>
                  <a:gd name="connsiteY4" fmla="*/ 0 h 142549"/>
                  <a:gd name="connsiteX5" fmla="*/ 41679 w 142548"/>
                  <a:gd name="connsiteY5" fmla="*/ 9881 h 142549"/>
                  <a:gd name="connsiteX6" fmla="*/ 41679 w 142548"/>
                  <a:gd name="connsiteY6" fmla="*/ 41677 h 142549"/>
                  <a:gd name="connsiteX7" fmla="*/ 9881 w 142548"/>
                  <a:gd name="connsiteY7" fmla="*/ 41677 h 142549"/>
                  <a:gd name="connsiteX8" fmla="*/ 0 w 142548"/>
                  <a:gd name="connsiteY8" fmla="*/ 51558 h 142549"/>
                  <a:gd name="connsiteX9" fmla="*/ 0 w 142548"/>
                  <a:gd name="connsiteY9" fmla="*/ 90992 h 142549"/>
                  <a:gd name="connsiteX10" fmla="*/ 9881 w 142548"/>
                  <a:gd name="connsiteY10" fmla="*/ 100873 h 142549"/>
                  <a:gd name="connsiteX11" fmla="*/ 41679 w 142548"/>
                  <a:gd name="connsiteY11" fmla="*/ 100873 h 142549"/>
                  <a:gd name="connsiteX12" fmla="*/ 41679 w 142548"/>
                  <a:gd name="connsiteY12" fmla="*/ 132669 h 142549"/>
                  <a:gd name="connsiteX13" fmla="*/ 51560 w 142548"/>
                  <a:gd name="connsiteY13" fmla="*/ 142550 h 142549"/>
                  <a:gd name="connsiteX14" fmla="*/ 90994 w 142548"/>
                  <a:gd name="connsiteY14" fmla="*/ 142550 h 142549"/>
                  <a:gd name="connsiteX15" fmla="*/ 100875 w 142548"/>
                  <a:gd name="connsiteY15" fmla="*/ 132669 h 142549"/>
                  <a:gd name="connsiteX16" fmla="*/ 100875 w 142548"/>
                  <a:gd name="connsiteY16" fmla="*/ 100873 h 142549"/>
                  <a:gd name="connsiteX17" fmla="*/ 132668 w 142548"/>
                  <a:gd name="connsiteY17" fmla="*/ 100873 h 142549"/>
                  <a:gd name="connsiteX18" fmla="*/ 142549 w 142548"/>
                  <a:gd name="connsiteY18" fmla="*/ 90992 h 142549"/>
                  <a:gd name="connsiteX19" fmla="*/ 142549 w 142548"/>
                  <a:gd name="connsiteY19" fmla="*/ 51558 h 142549"/>
                  <a:gd name="connsiteX20" fmla="*/ 132668 w 142548"/>
                  <a:gd name="connsiteY20" fmla="*/ 41677 h 142549"/>
                  <a:gd name="connsiteX21" fmla="*/ 122787 w 142548"/>
                  <a:gd name="connsiteY21" fmla="*/ 81112 h 142549"/>
                  <a:gd name="connsiteX22" fmla="*/ 90994 w 142548"/>
                  <a:gd name="connsiteY22" fmla="*/ 81112 h 142549"/>
                  <a:gd name="connsiteX23" fmla="*/ 81114 w 142548"/>
                  <a:gd name="connsiteY23" fmla="*/ 90992 h 142549"/>
                  <a:gd name="connsiteX24" fmla="*/ 81114 w 142548"/>
                  <a:gd name="connsiteY24" fmla="*/ 122788 h 142549"/>
                  <a:gd name="connsiteX25" fmla="*/ 61441 w 142548"/>
                  <a:gd name="connsiteY25" fmla="*/ 122788 h 142549"/>
                  <a:gd name="connsiteX26" fmla="*/ 61441 w 142548"/>
                  <a:gd name="connsiteY26" fmla="*/ 90992 h 142549"/>
                  <a:gd name="connsiteX27" fmla="*/ 51560 w 142548"/>
                  <a:gd name="connsiteY27" fmla="*/ 81112 h 142549"/>
                  <a:gd name="connsiteX28" fmla="*/ 19761 w 142548"/>
                  <a:gd name="connsiteY28" fmla="*/ 81112 h 142549"/>
                  <a:gd name="connsiteX29" fmla="*/ 19761 w 142548"/>
                  <a:gd name="connsiteY29" fmla="*/ 61439 h 142549"/>
                  <a:gd name="connsiteX30" fmla="*/ 51560 w 142548"/>
                  <a:gd name="connsiteY30" fmla="*/ 61439 h 142549"/>
                  <a:gd name="connsiteX31" fmla="*/ 61441 w 142548"/>
                  <a:gd name="connsiteY31" fmla="*/ 51558 h 142549"/>
                  <a:gd name="connsiteX32" fmla="*/ 61441 w 142548"/>
                  <a:gd name="connsiteY32" fmla="*/ 19761 h 142549"/>
                  <a:gd name="connsiteX33" fmla="*/ 81114 w 142548"/>
                  <a:gd name="connsiteY33" fmla="*/ 19761 h 142549"/>
                  <a:gd name="connsiteX34" fmla="*/ 81114 w 142548"/>
                  <a:gd name="connsiteY34" fmla="*/ 51558 h 142549"/>
                  <a:gd name="connsiteX35" fmla="*/ 90994 w 142548"/>
                  <a:gd name="connsiteY35" fmla="*/ 61439 h 142549"/>
                  <a:gd name="connsiteX36" fmla="*/ 122788 w 142548"/>
                  <a:gd name="connsiteY36" fmla="*/ 61439 h 142549"/>
                  <a:gd name="connsiteX37" fmla="*/ 122788 w 142548"/>
                  <a:gd name="connsiteY37" fmla="*/ 81112 h 142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42548" h="142549">
                    <a:moveTo>
                      <a:pt x="132668" y="41677"/>
                    </a:moveTo>
                    <a:lnTo>
                      <a:pt x="100875" y="41677"/>
                    </a:lnTo>
                    <a:lnTo>
                      <a:pt x="100875" y="9881"/>
                    </a:lnTo>
                    <a:cubicBezTo>
                      <a:pt x="100875" y="4424"/>
                      <a:pt x="96451" y="0"/>
                      <a:pt x="90994" y="0"/>
                    </a:cubicBezTo>
                    <a:lnTo>
                      <a:pt x="51560" y="0"/>
                    </a:lnTo>
                    <a:cubicBezTo>
                      <a:pt x="46103" y="0"/>
                      <a:pt x="41679" y="4424"/>
                      <a:pt x="41679" y="9881"/>
                    </a:cubicBezTo>
                    <a:lnTo>
                      <a:pt x="41679" y="41677"/>
                    </a:lnTo>
                    <a:lnTo>
                      <a:pt x="9881" y="41677"/>
                    </a:lnTo>
                    <a:cubicBezTo>
                      <a:pt x="4424" y="41677"/>
                      <a:pt x="0" y="46101"/>
                      <a:pt x="0" y="51558"/>
                    </a:cubicBezTo>
                    <a:lnTo>
                      <a:pt x="0" y="90992"/>
                    </a:lnTo>
                    <a:cubicBezTo>
                      <a:pt x="0" y="96449"/>
                      <a:pt x="4424" y="100873"/>
                      <a:pt x="9881" y="100873"/>
                    </a:cubicBezTo>
                    <a:lnTo>
                      <a:pt x="41679" y="100873"/>
                    </a:lnTo>
                    <a:lnTo>
                      <a:pt x="41679" y="132669"/>
                    </a:lnTo>
                    <a:cubicBezTo>
                      <a:pt x="41679" y="138126"/>
                      <a:pt x="46103" y="142550"/>
                      <a:pt x="51560" y="142550"/>
                    </a:cubicBezTo>
                    <a:lnTo>
                      <a:pt x="90994" y="142550"/>
                    </a:lnTo>
                    <a:cubicBezTo>
                      <a:pt x="96451" y="142550"/>
                      <a:pt x="100875" y="138126"/>
                      <a:pt x="100875" y="132669"/>
                    </a:cubicBezTo>
                    <a:lnTo>
                      <a:pt x="100875" y="100873"/>
                    </a:lnTo>
                    <a:lnTo>
                      <a:pt x="132668" y="100873"/>
                    </a:lnTo>
                    <a:cubicBezTo>
                      <a:pt x="138125" y="100873"/>
                      <a:pt x="142549" y="96449"/>
                      <a:pt x="142549" y="90992"/>
                    </a:cubicBezTo>
                    <a:lnTo>
                      <a:pt x="142549" y="51558"/>
                    </a:lnTo>
                    <a:cubicBezTo>
                      <a:pt x="142548" y="46101"/>
                      <a:pt x="138124" y="41677"/>
                      <a:pt x="132668" y="41677"/>
                    </a:cubicBezTo>
                    <a:close/>
                    <a:moveTo>
                      <a:pt x="122787" y="81112"/>
                    </a:moveTo>
                    <a:lnTo>
                      <a:pt x="90994" y="81112"/>
                    </a:lnTo>
                    <a:cubicBezTo>
                      <a:pt x="85538" y="81112"/>
                      <a:pt x="81114" y="85536"/>
                      <a:pt x="81114" y="90992"/>
                    </a:cubicBezTo>
                    <a:lnTo>
                      <a:pt x="81114" y="122788"/>
                    </a:lnTo>
                    <a:lnTo>
                      <a:pt x="61441" y="122788"/>
                    </a:lnTo>
                    <a:lnTo>
                      <a:pt x="61441" y="90992"/>
                    </a:lnTo>
                    <a:cubicBezTo>
                      <a:pt x="61441" y="85536"/>
                      <a:pt x="57017" y="81112"/>
                      <a:pt x="51560" y="81112"/>
                    </a:cubicBezTo>
                    <a:lnTo>
                      <a:pt x="19761" y="81112"/>
                    </a:lnTo>
                    <a:lnTo>
                      <a:pt x="19761" y="61439"/>
                    </a:lnTo>
                    <a:lnTo>
                      <a:pt x="51560" y="61439"/>
                    </a:lnTo>
                    <a:cubicBezTo>
                      <a:pt x="57017" y="61439"/>
                      <a:pt x="61441" y="57015"/>
                      <a:pt x="61441" y="51558"/>
                    </a:cubicBezTo>
                    <a:lnTo>
                      <a:pt x="61441" y="19761"/>
                    </a:lnTo>
                    <a:lnTo>
                      <a:pt x="81114" y="19761"/>
                    </a:lnTo>
                    <a:lnTo>
                      <a:pt x="81114" y="51558"/>
                    </a:lnTo>
                    <a:cubicBezTo>
                      <a:pt x="81114" y="57015"/>
                      <a:pt x="85538" y="61439"/>
                      <a:pt x="90994" y="61439"/>
                    </a:cubicBezTo>
                    <a:lnTo>
                      <a:pt x="122788" y="61439"/>
                    </a:lnTo>
                    <a:lnTo>
                      <a:pt x="122788" y="81112"/>
                    </a:lnTo>
                    <a:close/>
                  </a:path>
                </a:pathLst>
              </a:custGeom>
              <a:solidFill>
                <a:schemeClr val="accent3"/>
              </a:solidFill>
              <a:ln w="651" cap="flat">
                <a:noFill/>
                <a:prstDash val="solid"/>
                <a:miter/>
              </a:ln>
            </p:spPr>
            <p:txBody>
              <a:bodyPr rtlCol="0" anchor="ctr"/>
              <a:lstStyle/>
              <a:p>
                <a:endParaRPr lang="nl-NL"/>
              </a:p>
            </p:txBody>
          </p:sp>
        </p:grpSp>
      </p:grpSp>
      <p:grpSp>
        <p:nvGrpSpPr>
          <p:cNvPr id="77" name="Groep 76">
            <a:extLst>
              <a:ext uri="{FF2B5EF4-FFF2-40B4-BE49-F238E27FC236}">
                <a16:creationId xmlns:a16="http://schemas.microsoft.com/office/drawing/2014/main" id="{22E14113-7C62-3BD6-83BE-A013B8060F2D}"/>
              </a:ext>
            </a:extLst>
          </p:cNvPr>
          <p:cNvGrpSpPr/>
          <p:nvPr/>
        </p:nvGrpSpPr>
        <p:grpSpPr>
          <a:xfrm>
            <a:off x="719138" y="2673258"/>
            <a:ext cx="414233" cy="430189"/>
            <a:chOff x="719138" y="2673258"/>
            <a:chExt cx="414233" cy="430189"/>
          </a:xfrm>
        </p:grpSpPr>
        <p:sp>
          <p:nvSpPr>
            <p:cNvPr id="16" name="Vrije vorm: vorm 15">
              <a:extLst>
                <a:ext uri="{FF2B5EF4-FFF2-40B4-BE49-F238E27FC236}">
                  <a16:creationId xmlns:a16="http://schemas.microsoft.com/office/drawing/2014/main" id="{1C3E8442-DB27-343B-5056-19368DD7DF6E}"/>
                </a:ext>
              </a:extLst>
            </p:cNvPr>
            <p:cNvSpPr/>
            <p:nvPr/>
          </p:nvSpPr>
          <p:spPr>
            <a:xfrm>
              <a:off x="719138" y="2673258"/>
              <a:ext cx="286994" cy="430189"/>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lIns="1080000" rtlCol="0" anchor="ctr"/>
            <a:lstStyle/>
            <a:p>
              <a:endParaRPr lang="nl-NL" dirty="0"/>
            </a:p>
          </p:txBody>
        </p:sp>
        <p:sp>
          <p:nvSpPr>
            <p:cNvPr id="55" name="Graphic 46">
              <a:extLst>
                <a:ext uri="{FF2B5EF4-FFF2-40B4-BE49-F238E27FC236}">
                  <a16:creationId xmlns:a16="http://schemas.microsoft.com/office/drawing/2014/main" id="{32940410-192A-0606-DC61-24292154B47F}"/>
                </a:ext>
              </a:extLst>
            </p:cNvPr>
            <p:cNvSpPr/>
            <p:nvPr/>
          </p:nvSpPr>
          <p:spPr>
            <a:xfrm>
              <a:off x="796112" y="2777679"/>
              <a:ext cx="337259" cy="304427"/>
            </a:xfrm>
            <a:custGeom>
              <a:avLst/>
              <a:gdLst>
                <a:gd name="connsiteX0" fmla="*/ 333734 w 337259"/>
                <a:gd name="connsiteY0" fmla="*/ 76088 h 304427"/>
                <a:gd name="connsiteX1" fmla="*/ 299111 w 337259"/>
                <a:gd name="connsiteY1" fmla="*/ 21050 h 304427"/>
                <a:gd name="connsiteX2" fmla="*/ 241872 w 337259"/>
                <a:gd name="connsiteY2" fmla="*/ 0 h 304427"/>
                <a:gd name="connsiteX3" fmla="*/ 197711 w 337259"/>
                <a:gd name="connsiteY3" fmla="*/ 12488 h 304427"/>
                <a:gd name="connsiteX4" fmla="*/ 168601 w 337259"/>
                <a:gd name="connsiteY4" fmla="*/ 39048 h 304427"/>
                <a:gd name="connsiteX5" fmla="*/ 95363 w 337259"/>
                <a:gd name="connsiteY5" fmla="*/ 0 h 304427"/>
                <a:gd name="connsiteX6" fmla="*/ 38143 w 337259"/>
                <a:gd name="connsiteY6" fmla="*/ 21050 h 304427"/>
                <a:gd name="connsiteX7" fmla="*/ 3527 w 337259"/>
                <a:gd name="connsiteY7" fmla="*/ 76085 h 304427"/>
                <a:gd name="connsiteX8" fmla="*/ 25296 w 337259"/>
                <a:gd name="connsiteY8" fmla="*/ 184869 h 304427"/>
                <a:gd name="connsiteX9" fmla="*/ 163869 w 337259"/>
                <a:gd name="connsiteY9" fmla="*/ 303219 h 304427"/>
                <a:gd name="connsiteX10" fmla="*/ 168599 w 337259"/>
                <a:gd name="connsiteY10" fmla="*/ 304428 h 304427"/>
                <a:gd name="connsiteX11" fmla="*/ 173328 w 337259"/>
                <a:gd name="connsiteY11" fmla="*/ 303219 h 304427"/>
                <a:gd name="connsiteX12" fmla="*/ 311945 w 337259"/>
                <a:gd name="connsiteY12" fmla="*/ 184869 h 304427"/>
                <a:gd name="connsiteX13" fmla="*/ 333734 w 337259"/>
                <a:gd name="connsiteY13" fmla="*/ 76088 h 304427"/>
                <a:gd name="connsiteX14" fmla="*/ 168599 w 337259"/>
                <a:gd name="connsiteY14" fmla="*/ 283228 h 304427"/>
                <a:gd name="connsiteX15" fmla="*/ 35192 w 337259"/>
                <a:gd name="connsiteY15" fmla="*/ 162113 h 304427"/>
                <a:gd name="connsiteX16" fmla="*/ 62809 w 337259"/>
                <a:gd name="connsiteY16" fmla="*/ 162113 h 304427"/>
                <a:gd name="connsiteX17" fmla="*/ 71645 w 337259"/>
                <a:gd name="connsiteY17" fmla="*/ 156642 h 304427"/>
                <a:gd name="connsiteX18" fmla="*/ 83972 w 337259"/>
                <a:gd name="connsiteY18" fmla="*/ 131938 h 304427"/>
                <a:gd name="connsiteX19" fmla="*/ 117461 w 337259"/>
                <a:gd name="connsiteY19" fmla="*/ 199049 h 304427"/>
                <a:gd name="connsiteX20" fmla="*/ 126297 w 337259"/>
                <a:gd name="connsiteY20" fmla="*/ 204523 h 304427"/>
                <a:gd name="connsiteX21" fmla="*/ 135133 w 337259"/>
                <a:gd name="connsiteY21" fmla="*/ 199049 h 304427"/>
                <a:gd name="connsiteX22" fmla="*/ 168622 w 337259"/>
                <a:gd name="connsiteY22" fmla="*/ 131938 h 304427"/>
                <a:gd name="connsiteX23" fmla="*/ 180950 w 337259"/>
                <a:gd name="connsiteY23" fmla="*/ 156642 h 304427"/>
                <a:gd name="connsiteX24" fmla="*/ 189786 w 337259"/>
                <a:gd name="connsiteY24" fmla="*/ 162113 h 304427"/>
                <a:gd name="connsiteX25" fmla="*/ 264709 w 337259"/>
                <a:gd name="connsiteY25" fmla="*/ 162113 h 304427"/>
                <a:gd name="connsiteX26" fmla="*/ 274587 w 337259"/>
                <a:gd name="connsiteY26" fmla="*/ 152215 h 304427"/>
                <a:gd name="connsiteX27" fmla="*/ 264709 w 337259"/>
                <a:gd name="connsiteY27" fmla="*/ 142318 h 304427"/>
                <a:gd name="connsiteX28" fmla="*/ 195892 w 337259"/>
                <a:gd name="connsiteY28" fmla="*/ 142318 h 304427"/>
                <a:gd name="connsiteX29" fmla="*/ 177460 w 337259"/>
                <a:gd name="connsiteY29" fmla="*/ 105378 h 304427"/>
                <a:gd name="connsiteX30" fmla="*/ 168622 w 337259"/>
                <a:gd name="connsiteY30" fmla="*/ 99908 h 304427"/>
                <a:gd name="connsiteX31" fmla="*/ 159789 w 337259"/>
                <a:gd name="connsiteY31" fmla="*/ 105378 h 304427"/>
                <a:gd name="connsiteX32" fmla="*/ 126297 w 337259"/>
                <a:gd name="connsiteY32" fmla="*/ 172490 h 304427"/>
                <a:gd name="connsiteX33" fmla="*/ 92809 w 337259"/>
                <a:gd name="connsiteY33" fmla="*/ 105378 h 304427"/>
                <a:gd name="connsiteX34" fmla="*/ 83972 w 337259"/>
                <a:gd name="connsiteY34" fmla="*/ 99908 h 304427"/>
                <a:gd name="connsiteX35" fmla="*/ 75136 w 337259"/>
                <a:gd name="connsiteY35" fmla="*/ 105378 h 304427"/>
                <a:gd name="connsiteX36" fmla="*/ 56703 w 337259"/>
                <a:gd name="connsiteY36" fmla="*/ 142318 h 304427"/>
                <a:gd name="connsiteX37" fmla="*/ 26755 w 337259"/>
                <a:gd name="connsiteY37" fmla="*/ 142318 h 304427"/>
                <a:gd name="connsiteX38" fmla="*/ 22674 w 337259"/>
                <a:gd name="connsiteY38" fmla="*/ 80979 h 304427"/>
                <a:gd name="connsiteX39" fmla="*/ 95363 w 337259"/>
                <a:gd name="connsiteY39" fmla="*/ 19797 h 304427"/>
                <a:gd name="connsiteX40" fmla="*/ 160149 w 337259"/>
                <a:gd name="connsiteY40" fmla="*/ 61723 h 304427"/>
                <a:gd name="connsiteX41" fmla="*/ 168596 w 337259"/>
                <a:gd name="connsiteY41" fmla="*/ 66495 h 304427"/>
                <a:gd name="connsiteX42" fmla="*/ 168599 w 337259"/>
                <a:gd name="connsiteY42" fmla="*/ 66495 h 304427"/>
                <a:gd name="connsiteX43" fmla="*/ 177049 w 337259"/>
                <a:gd name="connsiteY43" fmla="*/ 61725 h 304427"/>
                <a:gd name="connsiteX44" fmla="*/ 241872 w 337259"/>
                <a:gd name="connsiteY44" fmla="*/ 19797 h 304427"/>
                <a:gd name="connsiteX45" fmla="*/ 314588 w 337259"/>
                <a:gd name="connsiteY45" fmla="*/ 80979 h 304427"/>
                <a:gd name="connsiteX46" fmla="*/ 168599 w 337259"/>
                <a:gd name="connsiteY46" fmla="*/ 283228 h 304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337259" h="304427">
                  <a:moveTo>
                    <a:pt x="333734" y="76088"/>
                  </a:moveTo>
                  <a:cubicBezTo>
                    <a:pt x="328117" y="54017"/>
                    <a:pt x="316145" y="34985"/>
                    <a:pt x="299111" y="21050"/>
                  </a:cubicBezTo>
                  <a:cubicBezTo>
                    <a:pt x="282518" y="7477"/>
                    <a:pt x="262187" y="0"/>
                    <a:pt x="241872" y="0"/>
                  </a:cubicBezTo>
                  <a:cubicBezTo>
                    <a:pt x="226298" y="0"/>
                    <a:pt x="211438" y="4202"/>
                    <a:pt x="197711" y="12488"/>
                  </a:cubicBezTo>
                  <a:cubicBezTo>
                    <a:pt x="186870" y="19034"/>
                    <a:pt x="177121" y="27937"/>
                    <a:pt x="168601" y="39048"/>
                  </a:cubicBezTo>
                  <a:cubicBezTo>
                    <a:pt x="149229" y="13749"/>
                    <a:pt x="123652" y="0"/>
                    <a:pt x="95363" y="0"/>
                  </a:cubicBezTo>
                  <a:cubicBezTo>
                    <a:pt x="75054" y="0"/>
                    <a:pt x="54735" y="7477"/>
                    <a:pt x="38143" y="21050"/>
                  </a:cubicBezTo>
                  <a:cubicBezTo>
                    <a:pt x="21115" y="34985"/>
                    <a:pt x="9144" y="54017"/>
                    <a:pt x="3527" y="76085"/>
                  </a:cubicBezTo>
                  <a:cubicBezTo>
                    <a:pt x="-2579" y="100086"/>
                    <a:pt x="-3762" y="138440"/>
                    <a:pt x="25296" y="184869"/>
                  </a:cubicBezTo>
                  <a:cubicBezTo>
                    <a:pt x="52192" y="227845"/>
                    <a:pt x="98814" y="267664"/>
                    <a:pt x="163869" y="303219"/>
                  </a:cubicBezTo>
                  <a:cubicBezTo>
                    <a:pt x="165344" y="304023"/>
                    <a:pt x="166970" y="304428"/>
                    <a:pt x="168599" y="304428"/>
                  </a:cubicBezTo>
                  <a:cubicBezTo>
                    <a:pt x="170228" y="304428"/>
                    <a:pt x="171854" y="304026"/>
                    <a:pt x="173328" y="303219"/>
                  </a:cubicBezTo>
                  <a:cubicBezTo>
                    <a:pt x="238402" y="267661"/>
                    <a:pt x="285039" y="227842"/>
                    <a:pt x="311945" y="184869"/>
                  </a:cubicBezTo>
                  <a:cubicBezTo>
                    <a:pt x="341016" y="138440"/>
                    <a:pt x="339841" y="100088"/>
                    <a:pt x="333734" y="76088"/>
                  </a:cubicBezTo>
                  <a:close/>
                  <a:moveTo>
                    <a:pt x="168599" y="283228"/>
                  </a:moveTo>
                  <a:cubicBezTo>
                    <a:pt x="91486" y="240227"/>
                    <a:pt x="53327" y="197580"/>
                    <a:pt x="35192" y="162113"/>
                  </a:cubicBezTo>
                  <a:lnTo>
                    <a:pt x="62809" y="162113"/>
                  </a:lnTo>
                  <a:cubicBezTo>
                    <a:pt x="66553" y="162113"/>
                    <a:pt x="69973" y="159993"/>
                    <a:pt x="71645" y="156642"/>
                  </a:cubicBezTo>
                  <a:lnTo>
                    <a:pt x="83972" y="131938"/>
                  </a:lnTo>
                  <a:lnTo>
                    <a:pt x="117461" y="199049"/>
                  </a:lnTo>
                  <a:cubicBezTo>
                    <a:pt x="119134" y="202404"/>
                    <a:pt x="122556" y="204523"/>
                    <a:pt x="126297" y="204523"/>
                  </a:cubicBezTo>
                  <a:cubicBezTo>
                    <a:pt x="130038" y="204523"/>
                    <a:pt x="133460" y="202404"/>
                    <a:pt x="135133" y="199049"/>
                  </a:cubicBezTo>
                  <a:lnTo>
                    <a:pt x="168622" y="131938"/>
                  </a:lnTo>
                  <a:lnTo>
                    <a:pt x="180950" y="156642"/>
                  </a:lnTo>
                  <a:cubicBezTo>
                    <a:pt x="182625" y="159996"/>
                    <a:pt x="186045" y="162113"/>
                    <a:pt x="189786" y="162113"/>
                  </a:cubicBezTo>
                  <a:lnTo>
                    <a:pt x="264709" y="162113"/>
                  </a:lnTo>
                  <a:cubicBezTo>
                    <a:pt x="270164" y="162113"/>
                    <a:pt x="274587" y="157681"/>
                    <a:pt x="274587" y="152215"/>
                  </a:cubicBezTo>
                  <a:cubicBezTo>
                    <a:pt x="274587" y="146750"/>
                    <a:pt x="270164" y="142318"/>
                    <a:pt x="264709" y="142318"/>
                  </a:cubicBezTo>
                  <a:lnTo>
                    <a:pt x="195892" y="142318"/>
                  </a:lnTo>
                  <a:lnTo>
                    <a:pt x="177460" y="105378"/>
                  </a:lnTo>
                  <a:cubicBezTo>
                    <a:pt x="175785" y="102024"/>
                    <a:pt x="172366" y="99908"/>
                    <a:pt x="168622" y="99908"/>
                  </a:cubicBezTo>
                  <a:cubicBezTo>
                    <a:pt x="164881" y="99908"/>
                    <a:pt x="161461" y="102024"/>
                    <a:pt x="159789" y="105378"/>
                  </a:cubicBezTo>
                  <a:lnTo>
                    <a:pt x="126297" y="172490"/>
                  </a:lnTo>
                  <a:lnTo>
                    <a:pt x="92809" y="105378"/>
                  </a:lnTo>
                  <a:cubicBezTo>
                    <a:pt x="91134" y="102024"/>
                    <a:pt x="87714" y="99908"/>
                    <a:pt x="83972" y="99908"/>
                  </a:cubicBezTo>
                  <a:cubicBezTo>
                    <a:pt x="80229" y="99908"/>
                    <a:pt x="76809" y="102024"/>
                    <a:pt x="75136" y="105378"/>
                  </a:cubicBezTo>
                  <a:lnTo>
                    <a:pt x="56703" y="142318"/>
                  </a:lnTo>
                  <a:lnTo>
                    <a:pt x="26755" y="142318"/>
                  </a:lnTo>
                  <a:cubicBezTo>
                    <a:pt x="16964" y="113636"/>
                    <a:pt x="19967" y="91611"/>
                    <a:pt x="22674" y="80979"/>
                  </a:cubicBezTo>
                  <a:cubicBezTo>
                    <a:pt x="31842" y="44957"/>
                    <a:pt x="61731" y="19797"/>
                    <a:pt x="95363" y="19797"/>
                  </a:cubicBezTo>
                  <a:cubicBezTo>
                    <a:pt x="120801" y="19797"/>
                    <a:pt x="143810" y="34689"/>
                    <a:pt x="160149" y="61723"/>
                  </a:cubicBezTo>
                  <a:cubicBezTo>
                    <a:pt x="161937" y="64685"/>
                    <a:pt x="165141" y="66495"/>
                    <a:pt x="168596" y="66495"/>
                  </a:cubicBezTo>
                  <a:lnTo>
                    <a:pt x="168599" y="66495"/>
                  </a:lnTo>
                  <a:cubicBezTo>
                    <a:pt x="172052" y="66495"/>
                    <a:pt x="175258" y="64688"/>
                    <a:pt x="177049" y="61725"/>
                  </a:cubicBezTo>
                  <a:cubicBezTo>
                    <a:pt x="193401" y="34689"/>
                    <a:pt x="216422" y="19797"/>
                    <a:pt x="241872" y="19797"/>
                  </a:cubicBezTo>
                  <a:cubicBezTo>
                    <a:pt x="275519" y="19797"/>
                    <a:pt x="305420" y="44957"/>
                    <a:pt x="314588" y="80979"/>
                  </a:cubicBezTo>
                  <a:cubicBezTo>
                    <a:pt x="320946" y="105966"/>
                    <a:pt x="328954" y="193829"/>
                    <a:pt x="168599" y="283228"/>
                  </a:cubicBezTo>
                  <a:close/>
                </a:path>
              </a:pathLst>
            </a:custGeom>
            <a:solidFill>
              <a:schemeClr val="tx2"/>
            </a:solidFill>
            <a:ln w="651" cap="flat">
              <a:noFill/>
              <a:prstDash val="solid"/>
              <a:miter/>
            </a:ln>
          </p:spPr>
          <p:txBody>
            <a:bodyPr rtlCol="0" anchor="ctr"/>
            <a:lstStyle/>
            <a:p>
              <a:endParaRPr lang="nl-NL" dirty="0"/>
            </a:p>
          </p:txBody>
        </p:sp>
      </p:grpSp>
      <p:grpSp>
        <p:nvGrpSpPr>
          <p:cNvPr id="75" name="Groep 74">
            <a:extLst>
              <a:ext uri="{FF2B5EF4-FFF2-40B4-BE49-F238E27FC236}">
                <a16:creationId xmlns:a16="http://schemas.microsoft.com/office/drawing/2014/main" id="{F9B25C09-5ED6-1D90-85C4-C54AE55654B5}"/>
              </a:ext>
            </a:extLst>
          </p:cNvPr>
          <p:cNvGrpSpPr/>
          <p:nvPr/>
        </p:nvGrpSpPr>
        <p:grpSpPr>
          <a:xfrm>
            <a:off x="719138" y="3752666"/>
            <a:ext cx="396738" cy="430189"/>
            <a:chOff x="719138" y="3752666"/>
            <a:chExt cx="396738" cy="430189"/>
          </a:xfrm>
        </p:grpSpPr>
        <p:sp>
          <p:nvSpPr>
            <p:cNvPr id="18" name="Vrije vorm: vorm 17">
              <a:extLst>
                <a:ext uri="{FF2B5EF4-FFF2-40B4-BE49-F238E27FC236}">
                  <a16:creationId xmlns:a16="http://schemas.microsoft.com/office/drawing/2014/main" id="{07BC5A0A-5E91-4803-3F49-4C5564F6442C}"/>
                </a:ext>
              </a:extLst>
            </p:cNvPr>
            <p:cNvSpPr/>
            <p:nvPr/>
          </p:nvSpPr>
          <p:spPr>
            <a:xfrm>
              <a:off x="719138" y="3752666"/>
              <a:ext cx="286994" cy="430189"/>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lIns="1080000" rtlCol="0" anchor="ctr"/>
            <a:lstStyle/>
            <a:p>
              <a:endParaRPr lang="nl-NL" dirty="0"/>
            </a:p>
          </p:txBody>
        </p:sp>
        <p:grpSp>
          <p:nvGrpSpPr>
            <p:cNvPr id="61" name="Graphic 50">
              <a:extLst>
                <a:ext uri="{FF2B5EF4-FFF2-40B4-BE49-F238E27FC236}">
                  <a16:creationId xmlns:a16="http://schemas.microsoft.com/office/drawing/2014/main" id="{D5E9343F-124E-F91C-621A-4DC74AE27958}"/>
                </a:ext>
              </a:extLst>
            </p:cNvPr>
            <p:cNvGrpSpPr/>
            <p:nvPr/>
          </p:nvGrpSpPr>
          <p:grpSpPr>
            <a:xfrm>
              <a:off x="813607" y="3863160"/>
              <a:ext cx="302269" cy="302128"/>
              <a:chOff x="813607" y="3863160"/>
              <a:chExt cx="302269" cy="302128"/>
            </a:xfrm>
            <a:solidFill>
              <a:schemeClr val="tx2"/>
            </a:solidFill>
          </p:grpSpPr>
          <p:sp>
            <p:nvSpPr>
              <p:cNvPr id="62" name="Vrije vorm: vorm 61">
                <a:extLst>
                  <a:ext uri="{FF2B5EF4-FFF2-40B4-BE49-F238E27FC236}">
                    <a16:creationId xmlns:a16="http://schemas.microsoft.com/office/drawing/2014/main" id="{84D5EC06-4130-AF08-C176-8614E258F9AC}"/>
                  </a:ext>
                </a:extLst>
              </p:cNvPr>
              <p:cNvSpPr/>
              <p:nvPr/>
            </p:nvSpPr>
            <p:spPr>
              <a:xfrm>
                <a:off x="813607" y="4049777"/>
                <a:ext cx="154647" cy="115511"/>
              </a:xfrm>
              <a:custGeom>
                <a:avLst/>
                <a:gdLst>
                  <a:gd name="connsiteX0" fmla="*/ 77331 w 154647"/>
                  <a:gd name="connsiteY0" fmla="*/ 0 h 115511"/>
                  <a:gd name="connsiteX1" fmla="*/ 154648 w 154647"/>
                  <a:gd name="connsiteY1" fmla="*/ 77331 h 115511"/>
                  <a:gd name="connsiteX2" fmla="*/ 135059 w 154647"/>
                  <a:gd name="connsiteY2" fmla="*/ 104382 h 115511"/>
                  <a:gd name="connsiteX3" fmla="*/ 77331 w 154647"/>
                  <a:gd name="connsiteY3" fmla="*/ 115512 h 115511"/>
                  <a:gd name="connsiteX4" fmla="*/ 19589 w 154647"/>
                  <a:gd name="connsiteY4" fmla="*/ 104382 h 115511"/>
                  <a:gd name="connsiteX5" fmla="*/ 0 w 154647"/>
                  <a:gd name="connsiteY5" fmla="*/ 77331 h 115511"/>
                  <a:gd name="connsiteX6" fmla="*/ 77331 w 154647"/>
                  <a:gd name="connsiteY6" fmla="*/ 0 h 115511"/>
                  <a:gd name="connsiteX7" fmla="*/ 77331 w 154647"/>
                  <a:gd name="connsiteY7" fmla="*/ 21079 h 115511"/>
                  <a:gd name="connsiteX8" fmla="*/ 21079 w 154647"/>
                  <a:gd name="connsiteY8" fmla="*/ 77331 h 115511"/>
                  <a:gd name="connsiteX9" fmla="*/ 29271 w 154647"/>
                  <a:gd name="connsiteY9" fmla="*/ 85664 h 115511"/>
                  <a:gd name="connsiteX10" fmla="*/ 77331 w 154647"/>
                  <a:gd name="connsiteY10" fmla="*/ 94433 h 115511"/>
                  <a:gd name="connsiteX11" fmla="*/ 125376 w 154647"/>
                  <a:gd name="connsiteY11" fmla="*/ 85664 h 115511"/>
                  <a:gd name="connsiteX12" fmla="*/ 133569 w 154647"/>
                  <a:gd name="connsiteY12" fmla="*/ 77331 h 115511"/>
                  <a:gd name="connsiteX13" fmla="*/ 77331 w 154647"/>
                  <a:gd name="connsiteY13" fmla="*/ 21079 h 11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4647" h="115511">
                    <a:moveTo>
                      <a:pt x="77331" y="0"/>
                    </a:moveTo>
                    <a:cubicBezTo>
                      <a:pt x="119994" y="0"/>
                      <a:pt x="154648" y="34653"/>
                      <a:pt x="154648" y="77331"/>
                    </a:cubicBezTo>
                    <a:cubicBezTo>
                      <a:pt x="154648" y="88278"/>
                      <a:pt x="147748" y="97819"/>
                      <a:pt x="135059" y="104382"/>
                    </a:cubicBezTo>
                    <a:cubicBezTo>
                      <a:pt x="121048" y="111633"/>
                      <a:pt x="99211" y="115512"/>
                      <a:pt x="77331" y="115512"/>
                    </a:cubicBezTo>
                    <a:cubicBezTo>
                      <a:pt x="55437" y="115512"/>
                      <a:pt x="33600" y="111633"/>
                      <a:pt x="19589" y="104382"/>
                    </a:cubicBezTo>
                    <a:cubicBezTo>
                      <a:pt x="6900" y="97819"/>
                      <a:pt x="0" y="88278"/>
                      <a:pt x="0" y="77331"/>
                    </a:cubicBezTo>
                    <a:cubicBezTo>
                      <a:pt x="0" y="34653"/>
                      <a:pt x="34653" y="0"/>
                      <a:pt x="77331" y="0"/>
                    </a:cubicBezTo>
                    <a:close/>
                    <a:moveTo>
                      <a:pt x="77331" y="21079"/>
                    </a:moveTo>
                    <a:cubicBezTo>
                      <a:pt x="46289" y="21079"/>
                      <a:pt x="21079" y="46289"/>
                      <a:pt x="21079" y="77331"/>
                    </a:cubicBezTo>
                    <a:cubicBezTo>
                      <a:pt x="21079" y="81153"/>
                      <a:pt x="24831" y="83359"/>
                      <a:pt x="29271" y="85664"/>
                    </a:cubicBezTo>
                    <a:cubicBezTo>
                      <a:pt x="40907" y="91679"/>
                      <a:pt x="59147" y="94433"/>
                      <a:pt x="77331" y="94433"/>
                    </a:cubicBezTo>
                    <a:cubicBezTo>
                      <a:pt x="95501" y="94433"/>
                      <a:pt x="113741" y="91679"/>
                      <a:pt x="125376" y="85664"/>
                    </a:cubicBezTo>
                    <a:cubicBezTo>
                      <a:pt x="129817" y="83359"/>
                      <a:pt x="133569" y="81153"/>
                      <a:pt x="133569" y="77331"/>
                    </a:cubicBezTo>
                    <a:cubicBezTo>
                      <a:pt x="133569" y="46289"/>
                      <a:pt x="108373" y="21079"/>
                      <a:pt x="77331" y="21079"/>
                    </a:cubicBezTo>
                    <a:close/>
                  </a:path>
                </a:pathLst>
              </a:custGeom>
              <a:solidFill>
                <a:schemeClr val="accent3"/>
              </a:solidFill>
              <a:ln w="13891" cap="flat">
                <a:noFill/>
                <a:prstDash val="solid"/>
                <a:round/>
              </a:ln>
            </p:spPr>
            <p:txBody>
              <a:bodyPr rtlCol="0" anchor="ctr"/>
              <a:lstStyle/>
              <a:p>
                <a:endParaRPr lang="nl-NL"/>
              </a:p>
            </p:txBody>
          </p:sp>
          <p:sp>
            <p:nvSpPr>
              <p:cNvPr id="63" name="Vrije vorm: vorm 62">
                <a:extLst>
                  <a:ext uri="{FF2B5EF4-FFF2-40B4-BE49-F238E27FC236}">
                    <a16:creationId xmlns:a16="http://schemas.microsoft.com/office/drawing/2014/main" id="{823434DB-C45B-E6F2-06C0-805A4B52B795}"/>
                  </a:ext>
                </a:extLst>
              </p:cNvPr>
              <p:cNvSpPr/>
              <p:nvPr/>
            </p:nvSpPr>
            <p:spPr>
              <a:xfrm>
                <a:off x="961228" y="3937357"/>
                <a:ext cx="154647" cy="115511"/>
              </a:xfrm>
              <a:custGeom>
                <a:avLst/>
                <a:gdLst>
                  <a:gd name="connsiteX0" fmla="*/ 77317 w 154647"/>
                  <a:gd name="connsiteY0" fmla="*/ 0 h 115511"/>
                  <a:gd name="connsiteX1" fmla="*/ 154648 w 154647"/>
                  <a:gd name="connsiteY1" fmla="*/ 77331 h 115511"/>
                  <a:gd name="connsiteX2" fmla="*/ 135059 w 154647"/>
                  <a:gd name="connsiteY2" fmla="*/ 104382 h 115511"/>
                  <a:gd name="connsiteX3" fmla="*/ 77317 w 154647"/>
                  <a:gd name="connsiteY3" fmla="*/ 115512 h 115511"/>
                  <a:gd name="connsiteX4" fmla="*/ 19589 w 154647"/>
                  <a:gd name="connsiteY4" fmla="*/ 104382 h 115511"/>
                  <a:gd name="connsiteX5" fmla="*/ 0 w 154647"/>
                  <a:gd name="connsiteY5" fmla="*/ 77331 h 115511"/>
                  <a:gd name="connsiteX6" fmla="*/ 77317 w 154647"/>
                  <a:gd name="connsiteY6" fmla="*/ 0 h 115511"/>
                  <a:gd name="connsiteX7" fmla="*/ 77317 w 154647"/>
                  <a:gd name="connsiteY7" fmla="*/ 21079 h 115511"/>
                  <a:gd name="connsiteX8" fmla="*/ 21079 w 154647"/>
                  <a:gd name="connsiteY8" fmla="*/ 77331 h 115511"/>
                  <a:gd name="connsiteX9" fmla="*/ 29271 w 154647"/>
                  <a:gd name="connsiteY9" fmla="*/ 85664 h 115511"/>
                  <a:gd name="connsiteX10" fmla="*/ 77317 w 154647"/>
                  <a:gd name="connsiteY10" fmla="*/ 94433 h 115511"/>
                  <a:gd name="connsiteX11" fmla="*/ 125376 w 154647"/>
                  <a:gd name="connsiteY11" fmla="*/ 85664 h 115511"/>
                  <a:gd name="connsiteX12" fmla="*/ 133569 w 154647"/>
                  <a:gd name="connsiteY12" fmla="*/ 77331 h 115511"/>
                  <a:gd name="connsiteX13" fmla="*/ 77317 w 154647"/>
                  <a:gd name="connsiteY13" fmla="*/ 21079 h 1155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54647" h="115511">
                    <a:moveTo>
                      <a:pt x="77317" y="0"/>
                    </a:moveTo>
                    <a:cubicBezTo>
                      <a:pt x="119994" y="0"/>
                      <a:pt x="154648" y="34653"/>
                      <a:pt x="154648" y="77331"/>
                    </a:cubicBezTo>
                    <a:cubicBezTo>
                      <a:pt x="154648" y="88278"/>
                      <a:pt x="147748" y="97819"/>
                      <a:pt x="135059" y="104382"/>
                    </a:cubicBezTo>
                    <a:cubicBezTo>
                      <a:pt x="121048" y="111633"/>
                      <a:pt x="99211" y="115512"/>
                      <a:pt x="77317" y="115512"/>
                    </a:cubicBezTo>
                    <a:cubicBezTo>
                      <a:pt x="55437" y="115512"/>
                      <a:pt x="33600" y="111633"/>
                      <a:pt x="19589" y="104382"/>
                    </a:cubicBezTo>
                    <a:cubicBezTo>
                      <a:pt x="6900" y="97819"/>
                      <a:pt x="0" y="88278"/>
                      <a:pt x="0" y="77331"/>
                    </a:cubicBezTo>
                    <a:cubicBezTo>
                      <a:pt x="0" y="34653"/>
                      <a:pt x="34653" y="0"/>
                      <a:pt x="77317" y="0"/>
                    </a:cubicBezTo>
                    <a:close/>
                    <a:moveTo>
                      <a:pt x="77317" y="21079"/>
                    </a:moveTo>
                    <a:cubicBezTo>
                      <a:pt x="46275" y="21079"/>
                      <a:pt x="21079" y="46289"/>
                      <a:pt x="21079" y="77331"/>
                    </a:cubicBezTo>
                    <a:cubicBezTo>
                      <a:pt x="21079" y="81153"/>
                      <a:pt x="24831" y="83359"/>
                      <a:pt x="29271" y="85664"/>
                    </a:cubicBezTo>
                    <a:cubicBezTo>
                      <a:pt x="40907" y="91679"/>
                      <a:pt x="59147" y="94433"/>
                      <a:pt x="77317" y="94433"/>
                    </a:cubicBezTo>
                    <a:cubicBezTo>
                      <a:pt x="95501" y="94433"/>
                      <a:pt x="113741" y="91679"/>
                      <a:pt x="125376" y="85664"/>
                    </a:cubicBezTo>
                    <a:cubicBezTo>
                      <a:pt x="129817" y="83359"/>
                      <a:pt x="133569" y="81153"/>
                      <a:pt x="133569" y="77331"/>
                    </a:cubicBezTo>
                    <a:cubicBezTo>
                      <a:pt x="133569" y="46289"/>
                      <a:pt x="108359" y="21079"/>
                      <a:pt x="77317" y="21079"/>
                    </a:cubicBezTo>
                    <a:close/>
                  </a:path>
                </a:pathLst>
              </a:custGeom>
              <a:solidFill>
                <a:schemeClr val="accent3"/>
              </a:solidFill>
              <a:ln w="13891" cap="flat">
                <a:noFill/>
                <a:prstDash val="solid"/>
                <a:round/>
              </a:ln>
            </p:spPr>
            <p:txBody>
              <a:bodyPr rtlCol="0" anchor="ctr"/>
              <a:lstStyle/>
              <a:p>
                <a:endParaRPr lang="nl-NL"/>
              </a:p>
            </p:txBody>
          </p:sp>
          <p:sp>
            <p:nvSpPr>
              <p:cNvPr id="64" name="Vrije vorm: vorm 63">
                <a:extLst>
                  <a:ext uri="{FF2B5EF4-FFF2-40B4-BE49-F238E27FC236}">
                    <a16:creationId xmlns:a16="http://schemas.microsoft.com/office/drawing/2014/main" id="{AEED7F6B-98C3-7C94-D89C-A8A40A2A599A}"/>
                  </a:ext>
                </a:extLst>
              </p:cNvPr>
              <p:cNvSpPr/>
              <p:nvPr/>
            </p:nvSpPr>
            <p:spPr>
              <a:xfrm>
                <a:off x="843286" y="3975580"/>
                <a:ext cx="95289" cy="95275"/>
              </a:xfrm>
              <a:custGeom>
                <a:avLst/>
                <a:gdLst>
                  <a:gd name="connsiteX0" fmla="*/ 47652 w 95289"/>
                  <a:gd name="connsiteY0" fmla="*/ 0 h 95275"/>
                  <a:gd name="connsiteX1" fmla="*/ 95290 w 95289"/>
                  <a:gd name="connsiteY1" fmla="*/ 47638 h 95275"/>
                  <a:gd name="connsiteX2" fmla="*/ 47652 w 95289"/>
                  <a:gd name="connsiteY2" fmla="*/ 95276 h 95275"/>
                  <a:gd name="connsiteX3" fmla="*/ 0 w 95289"/>
                  <a:gd name="connsiteY3" fmla="*/ 47638 h 95275"/>
                  <a:gd name="connsiteX4" fmla="*/ 47652 w 95289"/>
                  <a:gd name="connsiteY4" fmla="*/ 0 h 95275"/>
                  <a:gd name="connsiteX5" fmla="*/ 47652 w 95289"/>
                  <a:gd name="connsiteY5" fmla="*/ 21079 h 95275"/>
                  <a:gd name="connsiteX6" fmla="*/ 21079 w 95289"/>
                  <a:gd name="connsiteY6" fmla="*/ 47638 h 95275"/>
                  <a:gd name="connsiteX7" fmla="*/ 47652 w 95289"/>
                  <a:gd name="connsiteY7" fmla="*/ 74197 h 95275"/>
                  <a:gd name="connsiteX8" fmla="*/ 74211 w 95289"/>
                  <a:gd name="connsiteY8" fmla="*/ 47638 h 95275"/>
                  <a:gd name="connsiteX9" fmla="*/ 47652 w 95289"/>
                  <a:gd name="connsiteY9" fmla="*/ 21079 h 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89" h="95275">
                    <a:moveTo>
                      <a:pt x="47652" y="0"/>
                    </a:moveTo>
                    <a:cubicBezTo>
                      <a:pt x="73944" y="0"/>
                      <a:pt x="95290" y="21346"/>
                      <a:pt x="95290" y="47638"/>
                    </a:cubicBezTo>
                    <a:cubicBezTo>
                      <a:pt x="95290" y="73930"/>
                      <a:pt x="73944" y="95276"/>
                      <a:pt x="47652" y="95276"/>
                    </a:cubicBezTo>
                    <a:cubicBezTo>
                      <a:pt x="21360" y="95276"/>
                      <a:pt x="0" y="73930"/>
                      <a:pt x="0" y="47638"/>
                    </a:cubicBezTo>
                    <a:cubicBezTo>
                      <a:pt x="0" y="21346"/>
                      <a:pt x="21360" y="0"/>
                      <a:pt x="47652" y="0"/>
                    </a:cubicBezTo>
                    <a:close/>
                    <a:moveTo>
                      <a:pt x="47652" y="21079"/>
                    </a:moveTo>
                    <a:cubicBezTo>
                      <a:pt x="32981" y="21079"/>
                      <a:pt x="21079" y="32981"/>
                      <a:pt x="21079" y="47638"/>
                    </a:cubicBezTo>
                    <a:cubicBezTo>
                      <a:pt x="21079" y="62295"/>
                      <a:pt x="32981" y="74197"/>
                      <a:pt x="47652" y="74197"/>
                    </a:cubicBezTo>
                    <a:cubicBezTo>
                      <a:pt x="62309" y="74197"/>
                      <a:pt x="74211" y="62295"/>
                      <a:pt x="74211" y="47638"/>
                    </a:cubicBezTo>
                    <a:cubicBezTo>
                      <a:pt x="74211" y="32981"/>
                      <a:pt x="62309" y="21079"/>
                      <a:pt x="47652" y="21079"/>
                    </a:cubicBezTo>
                    <a:close/>
                  </a:path>
                </a:pathLst>
              </a:custGeom>
              <a:solidFill>
                <a:schemeClr val="accent3"/>
              </a:solidFill>
              <a:ln w="13891" cap="flat">
                <a:noFill/>
                <a:prstDash val="solid"/>
                <a:round/>
              </a:ln>
            </p:spPr>
            <p:txBody>
              <a:bodyPr rtlCol="0" anchor="ctr"/>
              <a:lstStyle/>
              <a:p>
                <a:endParaRPr lang="nl-NL"/>
              </a:p>
            </p:txBody>
          </p:sp>
          <p:sp>
            <p:nvSpPr>
              <p:cNvPr id="65" name="Vrije vorm: vorm 64">
                <a:extLst>
                  <a:ext uri="{FF2B5EF4-FFF2-40B4-BE49-F238E27FC236}">
                    <a16:creationId xmlns:a16="http://schemas.microsoft.com/office/drawing/2014/main" id="{DE4F5E3F-8A10-953B-BD1A-7B70E81008A2}"/>
                  </a:ext>
                </a:extLst>
              </p:cNvPr>
              <p:cNvSpPr/>
              <p:nvPr/>
            </p:nvSpPr>
            <p:spPr>
              <a:xfrm>
                <a:off x="990907" y="3863160"/>
                <a:ext cx="95289" cy="95275"/>
              </a:xfrm>
              <a:custGeom>
                <a:avLst/>
                <a:gdLst>
                  <a:gd name="connsiteX0" fmla="*/ 47638 w 95289"/>
                  <a:gd name="connsiteY0" fmla="*/ 0 h 95275"/>
                  <a:gd name="connsiteX1" fmla="*/ 95290 w 95289"/>
                  <a:gd name="connsiteY1" fmla="*/ 47638 h 95275"/>
                  <a:gd name="connsiteX2" fmla="*/ 47638 w 95289"/>
                  <a:gd name="connsiteY2" fmla="*/ 95276 h 95275"/>
                  <a:gd name="connsiteX3" fmla="*/ 0 w 95289"/>
                  <a:gd name="connsiteY3" fmla="*/ 47638 h 95275"/>
                  <a:gd name="connsiteX4" fmla="*/ 47638 w 95289"/>
                  <a:gd name="connsiteY4" fmla="*/ 0 h 95275"/>
                  <a:gd name="connsiteX5" fmla="*/ 47638 w 95289"/>
                  <a:gd name="connsiteY5" fmla="*/ 21079 h 95275"/>
                  <a:gd name="connsiteX6" fmla="*/ 21079 w 95289"/>
                  <a:gd name="connsiteY6" fmla="*/ 47638 h 95275"/>
                  <a:gd name="connsiteX7" fmla="*/ 47638 w 95289"/>
                  <a:gd name="connsiteY7" fmla="*/ 74197 h 95275"/>
                  <a:gd name="connsiteX8" fmla="*/ 74211 w 95289"/>
                  <a:gd name="connsiteY8" fmla="*/ 47638 h 95275"/>
                  <a:gd name="connsiteX9" fmla="*/ 47638 w 95289"/>
                  <a:gd name="connsiteY9" fmla="*/ 21079 h 95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89" h="95275">
                    <a:moveTo>
                      <a:pt x="47638" y="0"/>
                    </a:moveTo>
                    <a:cubicBezTo>
                      <a:pt x="73930" y="0"/>
                      <a:pt x="95290" y="21346"/>
                      <a:pt x="95290" y="47638"/>
                    </a:cubicBezTo>
                    <a:cubicBezTo>
                      <a:pt x="95290" y="73930"/>
                      <a:pt x="73930" y="95276"/>
                      <a:pt x="47638" y="95276"/>
                    </a:cubicBezTo>
                    <a:cubicBezTo>
                      <a:pt x="21346" y="95276"/>
                      <a:pt x="0" y="73930"/>
                      <a:pt x="0" y="47638"/>
                    </a:cubicBezTo>
                    <a:cubicBezTo>
                      <a:pt x="0" y="21346"/>
                      <a:pt x="21346" y="0"/>
                      <a:pt x="47638" y="0"/>
                    </a:cubicBezTo>
                    <a:close/>
                    <a:moveTo>
                      <a:pt x="47638" y="21079"/>
                    </a:moveTo>
                    <a:cubicBezTo>
                      <a:pt x="32981" y="21079"/>
                      <a:pt x="21079" y="32981"/>
                      <a:pt x="21079" y="47638"/>
                    </a:cubicBezTo>
                    <a:cubicBezTo>
                      <a:pt x="21079" y="62295"/>
                      <a:pt x="32981" y="74197"/>
                      <a:pt x="47638" y="74197"/>
                    </a:cubicBezTo>
                    <a:cubicBezTo>
                      <a:pt x="62309" y="74197"/>
                      <a:pt x="74211" y="62295"/>
                      <a:pt x="74211" y="47638"/>
                    </a:cubicBezTo>
                    <a:cubicBezTo>
                      <a:pt x="74211" y="32981"/>
                      <a:pt x="62309" y="21079"/>
                      <a:pt x="47638" y="21079"/>
                    </a:cubicBezTo>
                    <a:close/>
                  </a:path>
                </a:pathLst>
              </a:custGeom>
              <a:solidFill>
                <a:schemeClr val="accent3"/>
              </a:solidFill>
              <a:ln w="13891" cap="flat">
                <a:noFill/>
                <a:prstDash val="solid"/>
                <a:round/>
              </a:ln>
            </p:spPr>
            <p:txBody>
              <a:bodyPr rtlCol="0" anchor="ctr"/>
              <a:lstStyle/>
              <a:p>
                <a:endParaRPr lang="nl-NL"/>
              </a:p>
            </p:txBody>
          </p:sp>
          <p:sp>
            <p:nvSpPr>
              <p:cNvPr id="66" name="Vrije vorm: vorm 65">
                <a:extLst>
                  <a:ext uri="{FF2B5EF4-FFF2-40B4-BE49-F238E27FC236}">
                    <a16:creationId xmlns:a16="http://schemas.microsoft.com/office/drawing/2014/main" id="{EF0E5B60-E6F1-2D3D-DDBA-4E8AD3EB3CE8}"/>
                  </a:ext>
                </a:extLst>
              </p:cNvPr>
              <p:cNvSpPr/>
              <p:nvPr/>
            </p:nvSpPr>
            <p:spPr>
              <a:xfrm>
                <a:off x="989333" y="4073948"/>
                <a:ext cx="126542" cy="91341"/>
              </a:xfrm>
              <a:custGeom>
                <a:avLst/>
                <a:gdLst>
                  <a:gd name="connsiteX0" fmla="*/ 105464 w 126542"/>
                  <a:gd name="connsiteY0" fmla="*/ 10525 h 91341"/>
                  <a:gd name="connsiteX1" fmla="*/ 116003 w 126542"/>
                  <a:gd name="connsiteY1" fmla="*/ 0 h 91341"/>
                  <a:gd name="connsiteX2" fmla="*/ 126543 w 126542"/>
                  <a:gd name="connsiteY2" fmla="*/ 10553 h 91341"/>
                  <a:gd name="connsiteX3" fmla="*/ 126501 w 126542"/>
                  <a:gd name="connsiteY3" fmla="*/ 52739 h 91341"/>
                  <a:gd name="connsiteX4" fmla="*/ 87856 w 126542"/>
                  <a:gd name="connsiteY4" fmla="*/ 91341 h 91341"/>
                  <a:gd name="connsiteX5" fmla="*/ 10539 w 126542"/>
                  <a:gd name="connsiteY5" fmla="*/ 91341 h 91341"/>
                  <a:gd name="connsiteX6" fmla="*/ 0 w 126542"/>
                  <a:gd name="connsiteY6" fmla="*/ 80802 h 91341"/>
                  <a:gd name="connsiteX7" fmla="*/ 10539 w 126542"/>
                  <a:gd name="connsiteY7" fmla="*/ 70263 h 91341"/>
                  <a:gd name="connsiteX8" fmla="*/ 87856 w 126542"/>
                  <a:gd name="connsiteY8" fmla="*/ 70263 h 91341"/>
                  <a:gd name="connsiteX9" fmla="*/ 105422 w 126542"/>
                  <a:gd name="connsiteY9" fmla="*/ 52711 h 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6542" h="91341">
                    <a:moveTo>
                      <a:pt x="105464" y="10525"/>
                    </a:moveTo>
                    <a:cubicBezTo>
                      <a:pt x="105464" y="4708"/>
                      <a:pt x="110200" y="0"/>
                      <a:pt x="116003" y="0"/>
                    </a:cubicBezTo>
                    <a:cubicBezTo>
                      <a:pt x="121821" y="0"/>
                      <a:pt x="126543" y="4736"/>
                      <a:pt x="126543" y="10553"/>
                    </a:cubicBezTo>
                    <a:lnTo>
                      <a:pt x="126501" y="52739"/>
                    </a:lnTo>
                    <a:cubicBezTo>
                      <a:pt x="126473" y="74057"/>
                      <a:pt x="109188" y="91341"/>
                      <a:pt x="87856" y="91341"/>
                    </a:cubicBezTo>
                    <a:lnTo>
                      <a:pt x="10539" y="91341"/>
                    </a:lnTo>
                    <a:cubicBezTo>
                      <a:pt x="4722" y="91341"/>
                      <a:pt x="0" y="86620"/>
                      <a:pt x="0" y="80802"/>
                    </a:cubicBezTo>
                    <a:cubicBezTo>
                      <a:pt x="0" y="74984"/>
                      <a:pt x="4722" y="70263"/>
                      <a:pt x="10539" y="70263"/>
                    </a:cubicBezTo>
                    <a:lnTo>
                      <a:pt x="87856" y="70263"/>
                    </a:lnTo>
                    <a:cubicBezTo>
                      <a:pt x="97552" y="70263"/>
                      <a:pt x="105408" y="62407"/>
                      <a:pt x="105422" y="52711"/>
                    </a:cubicBezTo>
                    <a:close/>
                  </a:path>
                </a:pathLst>
              </a:custGeom>
              <a:solidFill>
                <a:schemeClr val="tx2"/>
              </a:solidFill>
              <a:ln w="13891" cap="flat">
                <a:noFill/>
                <a:prstDash val="solid"/>
                <a:round/>
              </a:ln>
            </p:spPr>
            <p:txBody>
              <a:bodyPr rtlCol="0" anchor="ctr"/>
              <a:lstStyle/>
              <a:p>
                <a:endParaRPr lang="nl-NL"/>
              </a:p>
            </p:txBody>
          </p:sp>
          <p:sp>
            <p:nvSpPr>
              <p:cNvPr id="67" name="Vrije vorm: vorm 66">
                <a:extLst>
                  <a:ext uri="{FF2B5EF4-FFF2-40B4-BE49-F238E27FC236}">
                    <a16:creationId xmlns:a16="http://schemas.microsoft.com/office/drawing/2014/main" id="{5F2E4BE3-FBD9-1637-2D2F-DC2F462A169A}"/>
                  </a:ext>
                </a:extLst>
              </p:cNvPr>
              <p:cNvSpPr/>
              <p:nvPr/>
            </p:nvSpPr>
            <p:spPr>
              <a:xfrm>
                <a:off x="813677" y="3863160"/>
                <a:ext cx="154577" cy="91341"/>
              </a:xfrm>
              <a:custGeom>
                <a:avLst/>
                <a:gdLst>
                  <a:gd name="connsiteX0" fmla="*/ 21079 w 154577"/>
                  <a:gd name="connsiteY0" fmla="*/ 80816 h 91341"/>
                  <a:gd name="connsiteX1" fmla="*/ 10525 w 154577"/>
                  <a:gd name="connsiteY1" fmla="*/ 91341 h 91341"/>
                  <a:gd name="connsiteX2" fmla="*/ 0 w 154577"/>
                  <a:gd name="connsiteY2" fmla="*/ 80788 h 91341"/>
                  <a:gd name="connsiteX3" fmla="*/ 42 w 154577"/>
                  <a:gd name="connsiteY3" fmla="*/ 38602 h 91341"/>
                  <a:gd name="connsiteX4" fmla="*/ 38687 w 154577"/>
                  <a:gd name="connsiteY4" fmla="*/ 0 h 91341"/>
                  <a:gd name="connsiteX5" fmla="*/ 144038 w 154577"/>
                  <a:gd name="connsiteY5" fmla="*/ 0 h 91341"/>
                  <a:gd name="connsiteX6" fmla="*/ 154578 w 154577"/>
                  <a:gd name="connsiteY6" fmla="*/ 10539 h 91341"/>
                  <a:gd name="connsiteX7" fmla="*/ 144038 w 154577"/>
                  <a:gd name="connsiteY7" fmla="*/ 21079 h 91341"/>
                  <a:gd name="connsiteX8" fmla="*/ 38687 w 154577"/>
                  <a:gd name="connsiteY8" fmla="*/ 21079 h 91341"/>
                  <a:gd name="connsiteX9" fmla="*/ 21121 w 154577"/>
                  <a:gd name="connsiteY9" fmla="*/ 38630 h 91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4577" h="91341">
                    <a:moveTo>
                      <a:pt x="21079" y="80816"/>
                    </a:moveTo>
                    <a:cubicBezTo>
                      <a:pt x="21079" y="86634"/>
                      <a:pt x="16343" y="91341"/>
                      <a:pt x="10525" y="91341"/>
                    </a:cubicBezTo>
                    <a:cubicBezTo>
                      <a:pt x="4708" y="91341"/>
                      <a:pt x="0" y="86606"/>
                      <a:pt x="0" y="80788"/>
                    </a:cubicBezTo>
                    <a:lnTo>
                      <a:pt x="42" y="38602"/>
                    </a:lnTo>
                    <a:cubicBezTo>
                      <a:pt x="56" y="17285"/>
                      <a:pt x="17355" y="0"/>
                      <a:pt x="38687" y="0"/>
                    </a:cubicBezTo>
                    <a:lnTo>
                      <a:pt x="144038" y="0"/>
                    </a:lnTo>
                    <a:cubicBezTo>
                      <a:pt x="149856" y="0"/>
                      <a:pt x="154578" y="4722"/>
                      <a:pt x="154578" y="10539"/>
                    </a:cubicBezTo>
                    <a:cubicBezTo>
                      <a:pt x="154578" y="16357"/>
                      <a:pt x="149856" y="21079"/>
                      <a:pt x="144038" y="21079"/>
                    </a:cubicBezTo>
                    <a:lnTo>
                      <a:pt x="38687" y="21079"/>
                    </a:lnTo>
                    <a:cubicBezTo>
                      <a:pt x="28990" y="21079"/>
                      <a:pt x="21135" y="28934"/>
                      <a:pt x="21121" y="38630"/>
                    </a:cubicBezTo>
                    <a:close/>
                  </a:path>
                </a:pathLst>
              </a:custGeom>
              <a:solidFill>
                <a:schemeClr val="tx2"/>
              </a:solidFill>
              <a:ln w="13891" cap="flat">
                <a:noFill/>
                <a:prstDash val="solid"/>
                <a:round/>
              </a:ln>
            </p:spPr>
            <p:txBody>
              <a:bodyPr rtlCol="0" anchor="ctr"/>
              <a:lstStyle/>
              <a:p>
                <a:endParaRPr lang="nl-NL"/>
              </a:p>
            </p:txBody>
          </p:sp>
        </p:grpSp>
      </p:grpSp>
      <p:grpSp>
        <p:nvGrpSpPr>
          <p:cNvPr id="74" name="Groep 73">
            <a:extLst>
              <a:ext uri="{FF2B5EF4-FFF2-40B4-BE49-F238E27FC236}">
                <a16:creationId xmlns:a16="http://schemas.microsoft.com/office/drawing/2014/main" id="{899A171B-B03C-CB2F-C1E3-A431C3D8AF12}"/>
              </a:ext>
            </a:extLst>
          </p:cNvPr>
          <p:cNvGrpSpPr/>
          <p:nvPr/>
        </p:nvGrpSpPr>
        <p:grpSpPr>
          <a:xfrm>
            <a:off x="719138" y="4543429"/>
            <a:ext cx="386146" cy="430189"/>
            <a:chOff x="719138" y="4543429"/>
            <a:chExt cx="386146" cy="430189"/>
          </a:xfrm>
        </p:grpSpPr>
        <p:sp>
          <p:nvSpPr>
            <p:cNvPr id="19" name="Vrije vorm: vorm 18">
              <a:extLst>
                <a:ext uri="{FF2B5EF4-FFF2-40B4-BE49-F238E27FC236}">
                  <a16:creationId xmlns:a16="http://schemas.microsoft.com/office/drawing/2014/main" id="{065F9BB1-D377-C3D0-9770-95D633AF4C06}"/>
                </a:ext>
              </a:extLst>
            </p:cNvPr>
            <p:cNvSpPr/>
            <p:nvPr/>
          </p:nvSpPr>
          <p:spPr>
            <a:xfrm>
              <a:off x="719138" y="4543429"/>
              <a:ext cx="286994" cy="430189"/>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lIns="1080000" rtlCol="0" anchor="ctr"/>
            <a:lstStyle/>
            <a:p>
              <a:endParaRPr lang="nl-NL" dirty="0"/>
            </a:p>
          </p:txBody>
        </p:sp>
        <p:sp>
          <p:nvSpPr>
            <p:cNvPr id="69" name="Vrije vorm: vorm 68">
              <a:extLst>
                <a:ext uri="{FF2B5EF4-FFF2-40B4-BE49-F238E27FC236}">
                  <a16:creationId xmlns:a16="http://schemas.microsoft.com/office/drawing/2014/main" id="{C0186BA3-48B0-F5D3-3FFF-A647D0E56915}"/>
                </a:ext>
              </a:extLst>
            </p:cNvPr>
            <p:cNvSpPr/>
            <p:nvPr/>
          </p:nvSpPr>
          <p:spPr>
            <a:xfrm>
              <a:off x="1036681" y="4651115"/>
              <a:ext cx="68603" cy="135759"/>
            </a:xfrm>
            <a:custGeom>
              <a:avLst/>
              <a:gdLst>
                <a:gd name="connsiteX0" fmla="*/ 58033 w 68603"/>
                <a:gd name="connsiteY0" fmla="*/ 135760 h 135759"/>
                <a:gd name="connsiteX1" fmla="*/ 47463 w 68603"/>
                <a:gd name="connsiteY1" fmla="*/ 125190 h 135759"/>
                <a:gd name="connsiteX2" fmla="*/ 3097 w 68603"/>
                <a:gd name="connsiteY2" fmla="*/ 18049 h 135759"/>
                <a:gd name="connsiteX3" fmla="*/ 3097 w 68603"/>
                <a:gd name="connsiteY3" fmla="*/ 3097 h 135759"/>
                <a:gd name="connsiteX4" fmla="*/ 18051 w 68603"/>
                <a:gd name="connsiteY4" fmla="*/ 3097 h 135759"/>
                <a:gd name="connsiteX5" fmla="*/ 68604 w 68603"/>
                <a:gd name="connsiteY5" fmla="*/ 125190 h 135759"/>
                <a:gd name="connsiteX6" fmla="*/ 58033 w 68603"/>
                <a:gd name="connsiteY6" fmla="*/ 135760 h 1357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03" h="135759">
                  <a:moveTo>
                    <a:pt x="58033" y="135760"/>
                  </a:moveTo>
                  <a:cubicBezTo>
                    <a:pt x="52199" y="135760"/>
                    <a:pt x="47463" y="131024"/>
                    <a:pt x="47463" y="125190"/>
                  </a:cubicBezTo>
                  <a:cubicBezTo>
                    <a:pt x="47463" y="84712"/>
                    <a:pt x="31708" y="46674"/>
                    <a:pt x="3097" y="18049"/>
                  </a:cubicBezTo>
                  <a:cubicBezTo>
                    <a:pt x="-1032" y="13920"/>
                    <a:pt x="-1032" y="7226"/>
                    <a:pt x="3097" y="3097"/>
                  </a:cubicBezTo>
                  <a:cubicBezTo>
                    <a:pt x="7226" y="-1032"/>
                    <a:pt x="13920" y="-1032"/>
                    <a:pt x="18051" y="3097"/>
                  </a:cubicBezTo>
                  <a:cubicBezTo>
                    <a:pt x="50650" y="35708"/>
                    <a:pt x="68604" y="79076"/>
                    <a:pt x="68604" y="125190"/>
                  </a:cubicBezTo>
                  <a:cubicBezTo>
                    <a:pt x="68604" y="131024"/>
                    <a:pt x="63868" y="135760"/>
                    <a:pt x="58033" y="135760"/>
                  </a:cubicBezTo>
                  <a:close/>
                </a:path>
              </a:pathLst>
            </a:custGeom>
            <a:solidFill>
              <a:schemeClr val="accent3"/>
            </a:solidFill>
            <a:ln w="651" cap="flat">
              <a:noFill/>
              <a:prstDash val="solid"/>
              <a:miter/>
            </a:ln>
          </p:spPr>
          <p:txBody>
            <a:bodyPr rtlCol="0" anchor="ctr"/>
            <a:lstStyle/>
            <a:p>
              <a:endParaRPr lang="nl-NL"/>
            </a:p>
          </p:txBody>
        </p:sp>
        <p:sp>
          <p:nvSpPr>
            <p:cNvPr id="70" name="Vrije vorm: vorm 69">
              <a:extLst>
                <a:ext uri="{FF2B5EF4-FFF2-40B4-BE49-F238E27FC236}">
                  <a16:creationId xmlns:a16="http://schemas.microsoft.com/office/drawing/2014/main" id="{F9A289A3-4111-8EC8-D5FC-CFD65AAB5DFC}"/>
                </a:ext>
              </a:extLst>
            </p:cNvPr>
            <p:cNvSpPr/>
            <p:nvPr/>
          </p:nvSpPr>
          <p:spPr>
            <a:xfrm>
              <a:off x="795224" y="4651128"/>
              <a:ext cx="68619" cy="135746"/>
            </a:xfrm>
            <a:custGeom>
              <a:avLst/>
              <a:gdLst>
                <a:gd name="connsiteX0" fmla="*/ 10570 w 68619"/>
                <a:gd name="connsiteY0" fmla="*/ 135747 h 135746"/>
                <a:gd name="connsiteX1" fmla="*/ 0 w 68619"/>
                <a:gd name="connsiteY1" fmla="*/ 125177 h 135746"/>
                <a:gd name="connsiteX2" fmla="*/ 50568 w 68619"/>
                <a:gd name="connsiteY2" fmla="*/ 3097 h 135746"/>
                <a:gd name="connsiteX3" fmla="*/ 65523 w 68619"/>
                <a:gd name="connsiteY3" fmla="*/ 3097 h 135746"/>
                <a:gd name="connsiteX4" fmla="*/ 65523 w 68619"/>
                <a:gd name="connsiteY4" fmla="*/ 18052 h 135746"/>
                <a:gd name="connsiteX5" fmla="*/ 21141 w 68619"/>
                <a:gd name="connsiteY5" fmla="*/ 125177 h 135746"/>
                <a:gd name="connsiteX6" fmla="*/ 10570 w 68619"/>
                <a:gd name="connsiteY6" fmla="*/ 135747 h 1357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619" h="135746">
                  <a:moveTo>
                    <a:pt x="10570" y="135747"/>
                  </a:moveTo>
                  <a:cubicBezTo>
                    <a:pt x="4735" y="135747"/>
                    <a:pt x="0" y="131011"/>
                    <a:pt x="0" y="125177"/>
                  </a:cubicBezTo>
                  <a:cubicBezTo>
                    <a:pt x="0" y="79063"/>
                    <a:pt x="17956" y="35695"/>
                    <a:pt x="50568" y="3097"/>
                  </a:cubicBezTo>
                  <a:cubicBezTo>
                    <a:pt x="54697" y="-1032"/>
                    <a:pt x="61394" y="-1032"/>
                    <a:pt x="65523" y="3097"/>
                  </a:cubicBezTo>
                  <a:cubicBezTo>
                    <a:pt x="69652" y="7226"/>
                    <a:pt x="69652" y="13923"/>
                    <a:pt x="65523" y="18052"/>
                  </a:cubicBezTo>
                  <a:cubicBezTo>
                    <a:pt x="36898" y="46661"/>
                    <a:pt x="21141" y="84699"/>
                    <a:pt x="21141" y="125177"/>
                  </a:cubicBezTo>
                  <a:cubicBezTo>
                    <a:pt x="21141" y="131011"/>
                    <a:pt x="16405" y="135747"/>
                    <a:pt x="10570" y="135747"/>
                  </a:cubicBezTo>
                  <a:close/>
                </a:path>
              </a:pathLst>
            </a:custGeom>
            <a:solidFill>
              <a:schemeClr val="accent3"/>
            </a:solidFill>
            <a:ln w="651" cap="flat">
              <a:noFill/>
              <a:prstDash val="solid"/>
              <a:miter/>
            </a:ln>
          </p:spPr>
          <p:txBody>
            <a:bodyPr rtlCol="0" anchor="ctr"/>
            <a:lstStyle/>
            <a:p>
              <a:endParaRPr lang="nl-NL"/>
            </a:p>
          </p:txBody>
        </p:sp>
        <p:sp>
          <p:nvSpPr>
            <p:cNvPr id="71" name="Vrije vorm: vorm 70">
              <a:extLst>
                <a:ext uri="{FF2B5EF4-FFF2-40B4-BE49-F238E27FC236}">
                  <a16:creationId xmlns:a16="http://schemas.microsoft.com/office/drawing/2014/main" id="{37BCAD93-1637-47DB-B809-A72BB38F7B49}"/>
                </a:ext>
              </a:extLst>
            </p:cNvPr>
            <p:cNvSpPr/>
            <p:nvPr/>
          </p:nvSpPr>
          <p:spPr>
            <a:xfrm>
              <a:off x="897404" y="4910196"/>
              <a:ext cx="105703" cy="63421"/>
            </a:xfrm>
            <a:custGeom>
              <a:avLst/>
              <a:gdLst>
                <a:gd name="connsiteX0" fmla="*/ 52852 w 105703"/>
                <a:gd name="connsiteY0" fmla="*/ 63422 h 63421"/>
                <a:gd name="connsiteX1" fmla="*/ 0 w 105703"/>
                <a:gd name="connsiteY1" fmla="*/ 10570 h 63421"/>
                <a:gd name="connsiteX2" fmla="*/ 10570 w 105703"/>
                <a:gd name="connsiteY2" fmla="*/ 0 h 63421"/>
                <a:gd name="connsiteX3" fmla="*/ 21141 w 105703"/>
                <a:gd name="connsiteY3" fmla="*/ 10570 h 63421"/>
                <a:gd name="connsiteX4" fmla="*/ 52852 w 105703"/>
                <a:gd name="connsiteY4" fmla="*/ 42281 h 63421"/>
                <a:gd name="connsiteX5" fmla="*/ 84563 w 105703"/>
                <a:gd name="connsiteY5" fmla="*/ 10570 h 63421"/>
                <a:gd name="connsiteX6" fmla="*/ 95133 w 105703"/>
                <a:gd name="connsiteY6" fmla="*/ 0 h 63421"/>
                <a:gd name="connsiteX7" fmla="*/ 105703 w 105703"/>
                <a:gd name="connsiteY7" fmla="*/ 10570 h 63421"/>
                <a:gd name="connsiteX8" fmla="*/ 52852 w 105703"/>
                <a:gd name="connsiteY8" fmla="*/ 63422 h 6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5703" h="63421">
                  <a:moveTo>
                    <a:pt x="52852" y="63422"/>
                  </a:moveTo>
                  <a:cubicBezTo>
                    <a:pt x="23706" y="63422"/>
                    <a:pt x="0" y="39716"/>
                    <a:pt x="0" y="10570"/>
                  </a:cubicBezTo>
                  <a:cubicBezTo>
                    <a:pt x="0" y="4735"/>
                    <a:pt x="4735" y="0"/>
                    <a:pt x="10570" y="0"/>
                  </a:cubicBezTo>
                  <a:cubicBezTo>
                    <a:pt x="16405" y="0"/>
                    <a:pt x="21141" y="4735"/>
                    <a:pt x="21141" y="10570"/>
                  </a:cubicBezTo>
                  <a:cubicBezTo>
                    <a:pt x="21141" y="28062"/>
                    <a:pt x="35360" y="42281"/>
                    <a:pt x="52852" y="42281"/>
                  </a:cubicBezTo>
                  <a:cubicBezTo>
                    <a:pt x="70341" y="42281"/>
                    <a:pt x="84563" y="28062"/>
                    <a:pt x="84563" y="10570"/>
                  </a:cubicBezTo>
                  <a:cubicBezTo>
                    <a:pt x="84563" y="4735"/>
                    <a:pt x="89298" y="0"/>
                    <a:pt x="95133" y="0"/>
                  </a:cubicBezTo>
                  <a:cubicBezTo>
                    <a:pt x="100968" y="0"/>
                    <a:pt x="105703" y="4735"/>
                    <a:pt x="105703" y="10570"/>
                  </a:cubicBezTo>
                  <a:cubicBezTo>
                    <a:pt x="105703" y="39716"/>
                    <a:pt x="81997" y="63422"/>
                    <a:pt x="52852" y="63422"/>
                  </a:cubicBezTo>
                  <a:close/>
                </a:path>
              </a:pathLst>
            </a:custGeom>
            <a:solidFill>
              <a:schemeClr val="tx2"/>
            </a:solidFill>
            <a:ln w="651" cap="flat">
              <a:noFill/>
              <a:prstDash val="solid"/>
              <a:miter/>
            </a:ln>
          </p:spPr>
          <p:txBody>
            <a:bodyPr rtlCol="0" anchor="ctr"/>
            <a:lstStyle/>
            <a:p>
              <a:endParaRPr lang="nl-NL"/>
            </a:p>
          </p:txBody>
        </p:sp>
        <p:sp>
          <p:nvSpPr>
            <p:cNvPr id="72" name="Vrije vorm: vorm 71">
              <a:extLst>
                <a:ext uri="{FF2B5EF4-FFF2-40B4-BE49-F238E27FC236}">
                  <a16:creationId xmlns:a16="http://schemas.microsoft.com/office/drawing/2014/main" id="{BE263641-E939-9919-6431-34CF94F5532C}"/>
                </a:ext>
              </a:extLst>
            </p:cNvPr>
            <p:cNvSpPr/>
            <p:nvPr/>
          </p:nvSpPr>
          <p:spPr>
            <a:xfrm>
              <a:off x="809316" y="4677649"/>
              <a:ext cx="281875" cy="253687"/>
            </a:xfrm>
            <a:custGeom>
              <a:avLst/>
              <a:gdLst>
                <a:gd name="connsiteX0" fmla="*/ 257213 w 281875"/>
                <a:gd name="connsiteY0" fmla="*/ 253688 h 253687"/>
                <a:gd name="connsiteX1" fmla="*/ 24666 w 281875"/>
                <a:gd name="connsiteY1" fmla="*/ 253688 h 253687"/>
                <a:gd name="connsiteX2" fmla="*/ 0 w 281875"/>
                <a:gd name="connsiteY2" fmla="*/ 229024 h 253687"/>
                <a:gd name="connsiteX3" fmla="*/ 8627 w 281875"/>
                <a:gd name="connsiteY3" fmla="*/ 210279 h 253687"/>
                <a:gd name="connsiteX4" fmla="*/ 42281 w 281875"/>
                <a:gd name="connsiteY4" fmla="*/ 137951 h 253687"/>
                <a:gd name="connsiteX5" fmla="*/ 42281 w 281875"/>
                <a:gd name="connsiteY5" fmla="*/ 98655 h 253687"/>
                <a:gd name="connsiteX6" fmla="*/ 140939 w 281875"/>
                <a:gd name="connsiteY6" fmla="*/ 0 h 253687"/>
                <a:gd name="connsiteX7" fmla="*/ 239595 w 281875"/>
                <a:gd name="connsiteY7" fmla="*/ 98655 h 253687"/>
                <a:gd name="connsiteX8" fmla="*/ 239595 w 281875"/>
                <a:gd name="connsiteY8" fmla="*/ 137951 h 253687"/>
                <a:gd name="connsiteX9" fmla="*/ 273109 w 281875"/>
                <a:gd name="connsiteY9" fmla="*/ 210181 h 253687"/>
                <a:gd name="connsiteX10" fmla="*/ 281876 w 281875"/>
                <a:gd name="connsiteY10" fmla="*/ 229024 h 253687"/>
                <a:gd name="connsiteX11" fmla="*/ 257213 w 281875"/>
                <a:gd name="connsiteY11" fmla="*/ 253688 h 253687"/>
                <a:gd name="connsiteX12" fmla="*/ 140939 w 281875"/>
                <a:gd name="connsiteY12" fmla="*/ 21141 h 253687"/>
                <a:gd name="connsiteX13" fmla="*/ 63422 w 281875"/>
                <a:gd name="connsiteY13" fmla="*/ 98655 h 253687"/>
                <a:gd name="connsiteX14" fmla="*/ 63422 w 281875"/>
                <a:gd name="connsiteY14" fmla="*/ 137951 h 253687"/>
                <a:gd name="connsiteX15" fmla="*/ 22410 w 281875"/>
                <a:gd name="connsiteY15" fmla="*/ 226317 h 253687"/>
                <a:gd name="connsiteX16" fmla="*/ 21141 w 281875"/>
                <a:gd name="connsiteY16" fmla="*/ 229024 h 253687"/>
                <a:gd name="connsiteX17" fmla="*/ 24666 w 281875"/>
                <a:gd name="connsiteY17" fmla="*/ 232547 h 253687"/>
                <a:gd name="connsiteX18" fmla="*/ 257213 w 281875"/>
                <a:gd name="connsiteY18" fmla="*/ 232547 h 253687"/>
                <a:gd name="connsiteX19" fmla="*/ 260735 w 281875"/>
                <a:gd name="connsiteY19" fmla="*/ 229024 h 253687"/>
                <a:gd name="connsiteX20" fmla="*/ 259494 w 281875"/>
                <a:gd name="connsiteY20" fmla="*/ 226345 h 253687"/>
                <a:gd name="connsiteX21" fmla="*/ 218454 w 281875"/>
                <a:gd name="connsiteY21" fmla="*/ 137951 h 253687"/>
                <a:gd name="connsiteX22" fmla="*/ 218454 w 281875"/>
                <a:gd name="connsiteY22" fmla="*/ 98655 h 253687"/>
                <a:gd name="connsiteX23" fmla="*/ 140939 w 281875"/>
                <a:gd name="connsiteY23" fmla="*/ 21141 h 25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81875" h="253687">
                  <a:moveTo>
                    <a:pt x="257213" y="253688"/>
                  </a:moveTo>
                  <a:lnTo>
                    <a:pt x="24666" y="253688"/>
                  </a:lnTo>
                  <a:cubicBezTo>
                    <a:pt x="11063" y="253688"/>
                    <a:pt x="0" y="242624"/>
                    <a:pt x="0" y="229024"/>
                  </a:cubicBezTo>
                  <a:cubicBezTo>
                    <a:pt x="0" y="221806"/>
                    <a:pt x="3143" y="214972"/>
                    <a:pt x="8627" y="210279"/>
                  </a:cubicBezTo>
                  <a:cubicBezTo>
                    <a:pt x="30062" y="192168"/>
                    <a:pt x="42281" y="165842"/>
                    <a:pt x="42281" y="137951"/>
                  </a:cubicBezTo>
                  <a:lnTo>
                    <a:pt x="42281" y="98655"/>
                  </a:lnTo>
                  <a:cubicBezTo>
                    <a:pt x="42281" y="44255"/>
                    <a:pt x="86537" y="0"/>
                    <a:pt x="140939" y="0"/>
                  </a:cubicBezTo>
                  <a:cubicBezTo>
                    <a:pt x="195339" y="0"/>
                    <a:pt x="239595" y="44255"/>
                    <a:pt x="239595" y="98655"/>
                  </a:cubicBezTo>
                  <a:lnTo>
                    <a:pt x="239595" y="137951"/>
                  </a:lnTo>
                  <a:cubicBezTo>
                    <a:pt x="239595" y="165842"/>
                    <a:pt x="251814" y="192168"/>
                    <a:pt x="273109" y="210181"/>
                  </a:cubicBezTo>
                  <a:cubicBezTo>
                    <a:pt x="278733" y="214972"/>
                    <a:pt x="281876" y="221806"/>
                    <a:pt x="281876" y="229024"/>
                  </a:cubicBezTo>
                  <a:cubicBezTo>
                    <a:pt x="281876" y="242624"/>
                    <a:pt x="270813" y="253688"/>
                    <a:pt x="257213" y="253688"/>
                  </a:cubicBezTo>
                  <a:close/>
                  <a:moveTo>
                    <a:pt x="140939" y="21141"/>
                  </a:moveTo>
                  <a:cubicBezTo>
                    <a:pt x="98191" y="21141"/>
                    <a:pt x="63422" y="55910"/>
                    <a:pt x="63422" y="98655"/>
                  </a:cubicBezTo>
                  <a:lnTo>
                    <a:pt x="63422" y="137951"/>
                  </a:lnTo>
                  <a:cubicBezTo>
                    <a:pt x="63422" y="172070"/>
                    <a:pt x="48470" y="204289"/>
                    <a:pt x="22410" y="226317"/>
                  </a:cubicBezTo>
                  <a:cubicBezTo>
                    <a:pt x="21917" y="226740"/>
                    <a:pt x="21141" y="227615"/>
                    <a:pt x="21141" y="229024"/>
                  </a:cubicBezTo>
                  <a:cubicBezTo>
                    <a:pt x="21141" y="230939"/>
                    <a:pt x="22748" y="232547"/>
                    <a:pt x="24666" y="232547"/>
                  </a:cubicBezTo>
                  <a:lnTo>
                    <a:pt x="257213" y="232547"/>
                  </a:lnTo>
                  <a:cubicBezTo>
                    <a:pt x="259127" y="232547"/>
                    <a:pt x="260735" y="230939"/>
                    <a:pt x="260735" y="229024"/>
                  </a:cubicBezTo>
                  <a:cubicBezTo>
                    <a:pt x="260735" y="227615"/>
                    <a:pt x="259961" y="226740"/>
                    <a:pt x="259494" y="226345"/>
                  </a:cubicBezTo>
                  <a:cubicBezTo>
                    <a:pt x="233406" y="204289"/>
                    <a:pt x="218454" y="172070"/>
                    <a:pt x="218454" y="137951"/>
                  </a:cubicBezTo>
                  <a:lnTo>
                    <a:pt x="218454" y="98655"/>
                  </a:lnTo>
                  <a:cubicBezTo>
                    <a:pt x="218454" y="55910"/>
                    <a:pt x="183685" y="21141"/>
                    <a:pt x="140939" y="21141"/>
                  </a:cubicBezTo>
                  <a:close/>
                </a:path>
              </a:pathLst>
            </a:custGeom>
            <a:solidFill>
              <a:schemeClr val="tx2"/>
            </a:solidFill>
            <a:ln w="651" cap="flat">
              <a:noFill/>
              <a:prstDash val="solid"/>
              <a:miter/>
            </a:ln>
          </p:spPr>
          <p:txBody>
            <a:bodyPr rtlCol="0" anchor="ctr"/>
            <a:lstStyle/>
            <a:p>
              <a:endParaRPr lang="nl-NL"/>
            </a:p>
          </p:txBody>
        </p:sp>
        <p:sp>
          <p:nvSpPr>
            <p:cNvPr id="73" name="Vrije vorm: vorm 72">
              <a:extLst>
                <a:ext uri="{FF2B5EF4-FFF2-40B4-BE49-F238E27FC236}">
                  <a16:creationId xmlns:a16="http://schemas.microsoft.com/office/drawing/2014/main" id="{5F4E2EEB-E252-29F2-2A69-C09C9F6E7045}"/>
                </a:ext>
              </a:extLst>
            </p:cNvPr>
            <p:cNvSpPr/>
            <p:nvPr/>
          </p:nvSpPr>
          <p:spPr>
            <a:xfrm>
              <a:off x="939685" y="4635368"/>
              <a:ext cx="21140" cy="63421"/>
            </a:xfrm>
            <a:custGeom>
              <a:avLst/>
              <a:gdLst>
                <a:gd name="connsiteX0" fmla="*/ 10570 w 21140"/>
                <a:gd name="connsiteY0" fmla="*/ 63422 h 63421"/>
                <a:gd name="connsiteX1" fmla="*/ 0 w 21140"/>
                <a:gd name="connsiteY1" fmla="*/ 52852 h 63421"/>
                <a:gd name="connsiteX2" fmla="*/ 0 w 21140"/>
                <a:gd name="connsiteY2" fmla="*/ 10570 h 63421"/>
                <a:gd name="connsiteX3" fmla="*/ 10570 w 21140"/>
                <a:gd name="connsiteY3" fmla="*/ 0 h 63421"/>
                <a:gd name="connsiteX4" fmla="*/ 21141 w 21140"/>
                <a:gd name="connsiteY4" fmla="*/ 10570 h 63421"/>
                <a:gd name="connsiteX5" fmla="*/ 21141 w 21140"/>
                <a:gd name="connsiteY5" fmla="*/ 52852 h 63421"/>
                <a:gd name="connsiteX6" fmla="*/ 10570 w 21140"/>
                <a:gd name="connsiteY6" fmla="*/ 63422 h 634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40" h="63421">
                  <a:moveTo>
                    <a:pt x="10570" y="63422"/>
                  </a:moveTo>
                  <a:cubicBezTo>
                    <a:pt x="4735" y="63422"/>
                    <a:pt x="0" y="58686"/>
                    <a:pt x="0" y="52852"/>
                  </a:cubicBezTo>
                  <a:lnTo>
                    <a:pt x="0" y="10570"/>
                  </a:lnTo>
                  <a:cubicBezTo>
                    <a:pt x="0" y="4735"/>
                    <a:pt x="4735" y="0"/>
                    <a:pt x="10570" y="0"/>
                  </a:cubicBezTo>
                  <a:cubicBezTo>
                    <a:pt x="16405" y="0"/>
                    <a:pt x="21141" y="4735"/>
                    <a:pt x="21141" y="10570"/>
                  </a:cubicBezTo>
                  <a:lnTo>
                    <a:pt x="21141" y="52852"/>
                  </a:lnTo>
                  <a:cubicBezTo>
                    <a:pt x="21141" y="58686"/>
                    <a:pt x="16405" y="63422"/>
                    <a:pt x="10570" y="63422"/>
                  </a:cubicBezTo>
                  <a:close/>
                </a:path>
              </a:pathLst>
            </a:custGeom>
            <a:solidFill>
              <a:schemeClr val="tx2"/>
            </a:solidFill>
            <a:ln w="651" cap="flat">
              <a:noFill/>
              <a:prstDash val="solid"/>
              <a:miter/>
            </a:ln>
          </p:spPr>
          <p:txBody>
            <a:bodyPr rtlCol="0" anchor="ctr"/>
            <a:lstStyle/>
            <a:p>
              <a:endParaRPr lang="nl-NL"/>
            </a:p>
          </p:txBody>
        </p:sp>
      </p:grpSp>
      <p:grpSp>
        <p:nvGrpSpPr>
          <p:cNvPr id="76" name="Groep 75">
            <a:extLst>
              <a:ext uri="{FF2B5EF4-FFF2-40B4-BE49-F238E27FC236}">
                <a16:creationId xmlns:a16="http://schemas.microsoft.com/office/drawing/2014/main" id="{555FCFC0-C5A6-7847-4E01-7A53DCBFD99B}"/>
              </a:ext>
            </a:extLst>
          </p:cNvPr>
          <p:cNvGrpSpPr/>
          <p:nvPr/>
        </p:nvGrpSpPr>
        <p:grpSpPr>
          <a:xfrm>
            <a:off x="719138" y="3212962"/>
            <a:ext cx="414234" cy="430189"/>
            <a:chOff x="719138" y="3212962"/>
            <a:chExt cx="414234" cy="430189"/>
          </a:xfrm>
        </p:grpSpPr>
        <p:sp>
          <p:nvSpPr>
            <p:cNvPr id="17" name="Vrije vorm: vorm 16">
              <a:extLst>
                <a:ext uri="{FF2B5EF4-FFF2-40B4-BE49-F238E27FC236}">
                  <a16:creationId xmlns:a16="http://schemas.microsoft.com/office/drawing/2014/main" id="{55BF7246-CE45-4DB0-E0B3-C6AA04B3F480}"/>
                </a:ext>
              </a:extLst>
            </p:cNvPr>
            <p:cNvSpPr/>
            <p:nvPr/>
          </p:nvSpPr>
          <p:spPr>
            <a:xfrm>
              <a:off x="719138" y="3212962"/>
              <a:ext cx="286994" cy="430189"/>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lIns="1080000" rtlCol="0" anchor="ctr"/>
            <a:lstStyle/>
            <a:p>
              <a:endParaRPr lang="nl-NL" dirty="0"/>
            </a:p>
          </p:txBody>
        </p:sp>
        <p:sp>
          <p:nvSpPr>
            <p:cNvPr id="60" name="Graphic 48">
              <a:extLst>
                <a:ext uri="{FF2B5EF4-FFF2-40B4-BE49-F238E27FC236}">
                  <a16:creationId xmlns:a16="http://schemas.microsoft.com/office/drawing/2014/main" id="{6B88A7F0-A427-A1B0-6481-8340E21F7705}"/>
                </a:ext>
              </a:extLst>
            </p:cNvPr>
            <p:cNvSpPr/>
            <p:nvPr/>
          </p:nvSpPr>
          <p:spPr>
            <a:xfrm>
              <a:off x="796112" y="3300433"/>
              <a:ext cx="337260" cy="336698"/>
            </a:xfrm>
            <a:custGeom>
              <a:avLst/>
              <a:gdLst>
                <a:gd name="connsiteX0" fmla="*/ 296004 w 337260"/>
                <a:gd name="connsiteY0" fmla="*/ 75961 h 336698"/>
                <a:gd name="connsiteX1" fmla="*/ 289454 w 337260"/>
                <a:gd name="connsiteY1" fmla="*/ 59075 h 336698"/>
                <a:gd name="connsiteX2" fmla="*/ 226791 w 337260"/>
                <a:gd name="connsiteY2" fmla="*/ 0 h 336698"/>
                <a:gd name="connsiteX3" fmla="*/ 138535 w 337260"/>
                <a:gd name="connsiteY3" fmla="*/ 40116 h 336698"/>
                <a:gd name="connsiteX4" fmla="*/ 130165 w 337260"/>
                <a:gd name="connsiteY4" fmla="*/ 98709 h 336698"/>
                <a:gd name="connsiteX5" fmla="*/ 156663 w 337260"/>
                <a:gd name="connsiteY5" fmla="*/ 134041 h 336698"/>
                <a:gd name="connsiteX6" fmla="*/ 214959 w 337260"/>
                <a:gd name="connsiteY6" fmla="*/ 134041 h 336698"/>
                <a:gd name="connsiteX7" fmla="*/ 214959 w 337260"/>
                <a:gd name="connsiteY7" fmla="*/ 178800 h 336698"/>
                <a:gd name="connsiteX8" fmla="*/ 211724 w 337260"/>
                <a:gd name="connsiteY8" fmla="*/ 176176 h 336698"/>
                <a:gd name="connsiteX9" fmla="*/ 158693 w 337260"/>
                <a:gd name="connsiteY9" fmla="*/ 158193 h 336698"/>
                <a:gd name="connsiteX10" fmla="*/ 105663 w 337260"/>
                <a:gd name="connsiteY10" fmla="*/ 176176 h 336698"/>
                <a:gd name="connsiteX11" fmla="*/ 98632 w 337260"/>
                <a:gd name="connsiteY11" fmla="*/ 182221 h 336698"/>
                <a:gd name="connsiteX12" fmla="*/ 32299 w 337260"/>
                <a:gd name="connsiteY12" fmla="*/ 158193 h 336698"/>
                <a:gd name="connsiteX13" fmla="*/ 0 w 337260"/>
                <a:gd name="connsiteY13" fmla="*/ 158193 h 336698"/>
                <a:gd name="connsiteX14" fmla="*/ 0 w 337260"/>
                <a:gd name="connsiteY14" fmla="*/ 336498 h 336698"/>
                <a:gd name="connsiteX15" fmla="*/ 57803 w 337260"/>
                <a:gd name="connsiteY15" fmla="*/ 319580 h 336698"/>
                <a:gd name="connsiteX16" fmla="*/ 162087 w 337260"/>
                <a:gd name="connsiteY16" fmla="*/ 336699 h 336698"/>
                <a:gd name="connsiteX17" fmla="*/ 282774 w 337260"/>
                <a:gd name="connsiteY17" fmla="*/ 313550 h 336698"/>
                <a:gd name="connsiteX18" fmla="*/ 337260 w 337260"/>
                <a:gd name="connsiteY18" fmla="*/ 291847 h 336698"/>
                <a:gd name="connsiteX19" fmla="*/ 337260 w 337260"/>
                <a:gd name="connsiteY19" fmla="*/ 285147 h 336698"/>
                <a:gd name="connsiteX20" fmla="*/ 296004 w 337260"/>
                <a:gd name="connsiteY20" fmla="*/ 75961 h 336698"/>
                <a:gd name="connsiteX21" fmla="*/ 275462 w 337260"/>
                <a:gd name="connsiteY21" fmla="*/ 295191 h 336698"/>
                <a:gd name="connsiteX22" fmla="*/ 61290 w 337260"/>
                <a:gd name="connsiteY22" fmla="*/ 299884 h 336698"/>
                <a:gd name="connsiteX23" fmla="*/ 58301 w 337260"/>
                <a:gd name="connsiteY23" fmla="*/ 298843 h 336698"/>
                <a:gd name="connsiteX24" fmla="*/ 19761 w 337260"/>
                <a:gd name="connsiteY24" fmla="*/ 310123 h 336698"/>
                <a:gd name="connsiteX25" fmla="*/ 19761 w 337260"/>
                <a:gd name="connsiteY25" fmla="*/ 177955 h 336698"/>
                <a:gd name="connsiteX26" fmla="*/ 32299 w 337260"/>
                <a:gd name="connsiteY26" fmla="*/ 177955 h 336698"/>
                <a:gd name="connsiteX27" fmla="*/ 85957 w 337260"/>
                <a:gd name="connsiteY27" fmla="*/ 197384 h 336698"/>
                <a:gd name="connsiteX28" fmla="*/ 74807 w 337260"/>
                <a:gd name="connsiteY28" fmla="*/ 221595 h 336698"/>
                <a:gd name="connsiteX29" fmla="*/ 93822 w 337260"/>
                <a:gd name="connsiteY29" fmla="*/ 226973 h 336698"/>
                <a:gd name="connsiteX30" fmla="*/ 158693 w 337260"/>
                <a:gd name="connsiteY30" fmla="*/ 177955 h 336698"/>
                <a:gd name="connsiteX31" fmla="*/ 223563 w 337260"/>
                <a:gd name="connsiteY31" fmla="*/ 226973 h 336698"/>
                <a:gd name="connsiteX32" fmla="*/ 242578 w 337260"/>
                <a:gd name="connsiteY32" fmla="*/ 221595 h 336698"/>
                <a:gd name="connsiteX33" fmla="*/ 234720 w 337260"/>
                <a:gd name="connsiteY33" fmla="*/ 202760 h 336698"/>
                <a:gd name="connsiteX34" fmla="*/ 234720 w 337260"/>
                <a:gd name="connsiteY34" fmla="*/ 114280 h 336698"/>
                <a:gd name="connsiteX35" fmla="*/ 166543 w 337260"/>
                <a:gd name="connsiteY35" fmla="*/ 114280 h 336698"/>
                <a:gd name="connsiteX36" fmla="*/ 152381 w 337260"/>
                <a:gd name="connsiteY36" fmla="*/ 95396 h 336698"/>
                <a:gd name="connsiteX37" fmla="*/ 197300 w 337260"/>
                <a:gd name="connsiteY37" fmla="*/ 95396 h 336698"/>
                <a:gd name="connsiteX38" fmla="*/ 203604 w 337260"/>
                <a:gd name="connsiteY38" fmla="*/ 68802 h 336698"/>
                <a:gd name="connsiteX39" fmla="*/ 184375 w 337260"/>
                <a:gd name="connsiteY39" fmla="*/ 64244 h 336698"/>
                <a:gd name="connsiteX40" fmla="*/ 181675 w 337260"/>
                <a:gd name="connsiteY40" fmla="*/ 75635 h 336698"/>
                <a:gd name="connsiteX41" fmla="*/ 153422 w 337260"/>
                <a:gd name="connsiteY41" fmla="*/ 75635 h 336698"/>
                <a:gd name="connsiteX42" fmla="*/ 156566 w 337260"/>
                <a:gd name="connsiteY42" fmla="*/ 53626 h 336698"/>
                <a:gd name="connsiteX43" fmla="*/ 222889 w 337260"/>
                <a:gd name="connsiteY43" fmla="*/ 23480 h 336698"/>
                <a:gd name="connsiteX44" fmla="*/ 272645 w 337260"/>
                <a:gd name="connsiteY44" fmla="*/ 70387 h 336698"/>
                <a:gd name="connsiteX45" fmla="*/ 277579 w 337260"/>
                <a:gd name="connsiteY45" fmla="*/ 83106 h 336698"/>
                <a:gd name="connsiteX46" fmla="*/ 317461 w 337260"/>
                <a:gd name="connsiteY46" fmla="*/ 278461 h 336698"/>
                <a:gd name="connsiteX47" fmla="*/ 275462 w 337260"/>
                <a:gd name="connsiteY47" fmla="*/ 295191 h 336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337260" h="336698">
                  <a:moveTo>
                    <a:pt x="296004" y="75961"/>
                  </a:moveTo>
                  <a:lnTo>
                    <a:pt x="289454" y="59075"/>
                  </a:lnTo>
                  <a:lnTo>
                    <a:pt x="226791" y="0"/>
                  </a:lnTo>
                  <a:lnTo>
                    <a:pt x="138535" y="40116"/>
                  </a:lnTo>
                  <a:lnTo>
                    <a:pt x="130165" y="98709"/>
                  </a:lnTo>
                  <a:lnTo>
                    <a:pt x="156663" y="134041"/>
                  </a:lnTo>
                  <a:lnTo>
                    <a:pt x="214959" y="134041"/>
                  </a:lnTo>
                  <a:lnTo>
                    <a:pt x="214959" y="178800"/>
                  </a:lnTo>
                  <a:cubicBezTo>
                    <a:pt x="213901" y="177903"/>
                    <a:pt x="212827" y="177022"/>
                    <a:pt x="211724" y="176176"/>
                  </a:cubicBezTo>
                  <a:cubicBezTo>
                    <a:pt x="196397" y="164412"/>
                    <a:pt x="178059" y="158193"/>
                    <a:pt x="158693" y="158193"/>
                  </a:cubicBezTo>
                  <a:cubicBezTo>
                    <a:pt x="139328" y="158193"/>
                    <a:pt x="120989" y="164412"/>
                    <a:pt x="105663" y="176176"/>
                  </a:cubicBezTo>
                  <a:cubicBezTo>
                    <a:pt x="103206" y="178062"/>
                    <a:pt x="100866" y="180089"/>
                    <a:pt x="98632" y="182221"/>
                  </a:cubicBezTo>
                  <a:cubicBezTo>
                    <a:pt x="80201" y="166778"/>
                    <a:pt x="56905" y="158193"/>
                    <a:pt x="32299" y="158193"/>
                  </a:cubicBezTo>
                  <a:lnTo>
                    <a:pt x="0" y="158193"/>
                  </a:lnTo>
                  <a:lnTo>
                    <a:pt x="0" y="336498"/>
                  </a:lnTo>
                  <a:lnTo>
                    <a:pt x="57803" y="319580"/>
                  </a:lnTo>
                  <a:cubicBezTo>
                    <a:pt x="91655" y="331003"/>
                    <a:pt x="126885" y="336699"/>
                    <a:pt x="162087" y="336699"/>
                  </a:cubicBezTo>
                  <a:cubicBezTo>
                    <a:pt x="203099" y="336699"/>
                    <a:pt x="244075" y="328966"/>
                    <a:pt x="282774" y="313550"/>
                  </a:cubicBezTo>
                  <a:lnTo>
                    <a:pt x="337260" y="291847"/>
                  </a:lnTo>
                  <a:lnTo>
                    <a:pt x="337260" y="285147"/>
                  </a:lnTo>
                  <a:cubicBezTo>
                    <a:pt x="337260" y="213078"/>
                    <a:pt x="324922" y="150518"/>
                    <a:pt x="296004" y="75961"/>
                  </a:cubicBezTo>
                  <a:close/>
                  <a:moveTo>
                    <a:pt x="275462" y="295191"/>
                  </a:moveTo>
                  <a:cubicBezTo>
                    <a:pt x="206975" y="322473"/>
                    <a:pt x="130914" y="324139"/>
                    <a:pt x="61290" y="299884"/>
                  </a:cubicBezTo>
                  <a:lnTo>
                    <a:pt x="58301" y="298843"/>
                  </a:lnTo>
                  <a:lnTo>
                    <a:pt x="19761" y="310123"/>
                  </a:lnTo>
                  <a:lnTo>
                    <a:pt x="19761" y="177955"/>
                  </a:lnTo>
                  <a:lnTo>
                    <a:pt x="32299" y="177955"/>
                  </a:lnTo>
                  <a:cubicBezTo>
                    <a:pt x="52202" y="177955"/>
                    <a:pt x="71047" y="184894"/>
                    <a:pt x="85957" y="197384"/>
                  </a:cubicBezTo>
                  <a:cubicBezTo>
                    <a:pt x="81037" y="204829"/>
                    <a:pt x="77237" y="213004"/>
                    <a:pt x="74807" y="221595"/>
                  </a:cubicBezTo>
                  <a:lnTo>
                    <a:pt x="93822" y="226973"/>
                  </a:lnTo>
                  <a:cubicBezTo>
                    <a:pt x="101986" y="198112"/>
                    <a:pt x="128661" y="177955"/>
                    <a:pt x="158693" y="177955"/>
                  </a:cubicBezTo>
                  <a:cubicBezTo>
                    <a:pt x="188724" y="177955"/>
                    <a:pt x="215400" y="198112"/>
                    <a:pt x="223563" y="226973"/>
                  </a:cubicBezTo>
                  <a:lnTo>
                    <a:pt x="242578" y="221595"/>
                  </a:lnTo>
                  <a:cubicBezTo>
                    <a:pt x="240721" y="215028"/>
                    <a:pt x="238063" y="208703"/>
                    <a:pt x="234720" y="202760"/>
                  </a:cubicBezTo>
                  <a:lnTo>
                    <a:pt x="234720" y="114280"/>
                  </a:lnTo>
                  <a:lnTo>
                    <a:pt x="166543" y="114280"/>
                  </a:lnTo>
                  <a:lnTo>
                    <a:pt x="152381" y="95396"/>
                  </a:lnTo>
                  <a:lnTo>
                    <a:pt x="197300" y="95396"/>
                  </a:lnTo>
                  <a:lnTo>
                    <a:pt x="203604" y="68802"/>
                  </a:lnTo>
                  <a:lnTo>
                    <a:pt x="184375" y="64244"/>
                  </a:lnTo>
                  <a:lnTo>
                    <a:pt x="181675" y="75635"/>
                  </a:lnTo>
                  <a:lnTo>
                    <a:pt x="153422" y="75635"/>
                  </a:lnTo>
                  <a:lnTo>
                    <a:pt x="156566" y="53626"/>
                  </a:lnTo>
                  <a:lnTo>
                    <a:pt x="222889" y="23480"/>
                  </a:lnTo>
                  <a:lnTo>
                    <a:pt x="272645" y="70387"/>
                  </a:lnTo>
                  <a:lnTo>
                    <a:pt x="277579" y="83106"/>
                  </a:lnTo>
                  <a:cubicBezTo>
                    <a:pt x="304658" y="152921"/>
                    <a:pt x="316712" y="211767"/>
                    <a:pt x="317461" y="278461"/>
                  </a:cubicBezTo>
                  <a:lnTo>
                    <a:pt x="275462" y="295191"/>
                  </a:lnTo>
                  <a:close/>
                </a:path>
              </a:pathLst>
            </a:custGeom>
            <a:solidFill>
              <a:schemeClr val="tx2"/>
            </a:solidFill>
            <a:ln w="651" cap="flat">
              <a:noFill/>
              <a:prstDash val="solid"/>
              <a:miter/>
            </a:ln>
          </p:spPr>
          <p:txBody>
            <a:bodyPr rtlCol="0" anchor="ctr"/>
            <a:lstStyle/>
            <a:p>
              <a:endParaRPr lang="nl-NL"/>
            </a:p>
          </p:txBody>
        </p:sp>
      </p:grpSp>
      <p:grpSp>
        <p:nvGrpSpPr>
          <p:cNvPr id="2" name="Groep 1">
            <a:extLst>
              <a:ext uri="{FF2B5EF4-FFF2-40B4-BE49-F238E27FC236}">
                <a16:creationId xmlns:a16="http://schemas.microsoft.com/office/drawing/2014/main" id="{073E345A-8036-BD21-4A26-90BBAD408808}"/>
              </a:ext>
            </a:extLst>
          </p:cNvPr>
          <p:cNvGrpSpPr/>
          <p:nvPr/>
        </p:nvGrpSpPr>
        <p:grpSpPr>
          <a:xfrm>
            <a:off x="719138" y="1593850"/>
            <a:ext cx="410213" cy="430189"/>
            <a:chOff x="719138" y="1593850"/>
            <a:chExt cx="410213" cy="430189"/>
          </a:xfrm>
        </p:grpSpPr>
        <p:sp>
          <p:nvSpPr>
            <p:cNvPr id="14" name="Vrije vorm: vorm 13">
              <a:extLst>
                <a:ext uri="{FF2B5EF4-FFF2-40B4-BE49-F238E27FC236}">
                  <a16:creationId xmlns:a16="http://schemas.microsoft.com/office/drawing/2014/main" id="{E8E33289-087B-31A4-2D9C-9CDCC7FD56D7}"/>
                </a:ext>
              </a:extLst>
            </p:cNvPr>
            <p:cNvSpPr/>
            <p:nvPr/>
          </p:nvSpPr>
          <p:spPr>
            <a:xfrm>
              <a:off x="719138" y="1593850"/>
              <a:ext cx="286994" cy="430189"/>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lIns="1080000" rtlCol="0" anchor="ctr"/>
            <a:lstStyle/>
            <a:p>
              <a:endParaRPr lang="nl-NL" dirty="0"/>
            </a:p>
          </p:txBody>
        </p:sp>
        <p:grpSp>
          <p:nvGrpSpPr>
            <p:cNvPr id="83" name="Groep 82">
              <a:extLst>
                <a:ext uri="{FF2B5EF4-FFF2-40B4-BE49-F238E27FC236}">
                  <a16:creationId xmlns:a16="http://schemas.microsoft.com/office/drawing/2014/main" id="{0D36DC55-D250-919D-2CED-2A4110CE6639}"/>
                </a:ext>
              </a:extLst>
            </p:cNvPr>
            <p:cNvGrpSpPr/>
            <p:nvPr/>
          </p:nvGrpSpPr>
          <p:grpSpPr>
            <a:xfrm>
              <a:off x="792253" y="1685522"/>
              <a:ext cx="337098" cy="335018"/>
              <a:chOff x="1631117" y="4362136"/>
              <a:chExt cx="437373" cy="434677"/>
            </a:xfrm>
          </p:grpSpPr>
          <p:sp>
            <p:nvSpPr>
              <p:cNvPr id="84" name="Vrije vorm: vorm 83">
                <a:extLst>
                  <a:ext uri="{FF2B5EF4-FFF2-40B4-BE49-F238E27FC236}">
                    <a16:creationId xmlns:a16="http://schemas.microsoft.com/office/drawing/2014/main" id="{D0B93EED-3E9B-44A8-C2AF-757C6F182ACB}"/>
                  </a:ext>
                </a:extLst>
              </p:cNvPr>
              <p:cNvSpPr/>
              <p:nvPr/>
            </p:nvSpPr>
            <p:spPr>
              <a:xfrm>
                <a:off x="1631117" y="4362136"/>
                <a:ext cx="434677" cy="434677"/>
              </a:xfrm>
              <a:custGeom>
                <a:avLst/>
                <a:gdLst>
                  <a:gd name="connsiteX0" fmla="*/ 217339 w 434677"/>
                  <a:gd name="connsiteY0" fmla="*/ 135837 h 434677"/>
                  <a:gd name="connsiteX1" fmla="*/ 226298 w 434677"/>
                  <a:gd name="connsiteY1" fmla="*/ 136328 h 434677"/>
                  <a:gd name="connsiteX2" fmla="*/ 238318 w 434677"/>
                  <a:gd name="connsiteY2" fmla="*/ 151311 h 434677"/>
                  <a:gd name="connsiteX3" fmla="*/ 223335 w 434677"/>
                  <a:gd name="connsiteY3" fmla="*/ 163332 h 434677"/>
                  <a:gd name="connsiteX4" fmla="*/ 217339 w 434677"/>
                  <a:gd name="connsiteY4" fmla="*/ 163004 h 434677"/>
                  <a:gd name="connsiteX5" fmla="*/ 163004 w 434677"/>
                  <a:gd name="connsiteY5" fmla="*/ 217339 h 434677"/>
                  <a:gd name="connsiteX6" fmla="*/ 217339 w 434677"/>
                  <a:gd name="connsiteY6" fmla="*/ 271674 h 434677"/>
                  <a:gd name="connsiteX7" fmla="*/ 271673 w 434677"/>
                  <a:gd name="connsiteY7" fmla="*/ 217339 h 434677"/>
                  <a:gd name="connsiteX8" fmla="*/ 285257 w 434677"/>
                  <a:gd name="connsiteY8" fmla="*/ 203755 h 434677"/>
                  <a:gd name="connsiteX9" fmla="*/ 298840 w 434677"/>
                  <a:gd name="connsiteY9" fmla="*/ 217339 h 434677"/>
                  <a:gd name="connsiteX10" fmla="*/ 217339 w 434677"/>
                  <a:gd name="connsiteY10" fmla="*/ 298841 h 434677"/>
                  <a:gd name="connsiteX11" fmla="*/ 135837 w 434677"/>
                  <a:gd name="connsiteY11" fmla="*/ 217339 h 434677"/>
                  <a:gd name="connsiteX12" fmla="*/ 217339 w 434677"/>
                  <a:gd name="connsiteY12" fmla="*/ 135837 h 434677"/>
                  <a:gd name="connsiteX13" fmla="*/ 217339 w 434677"/>
                  <a:gd name="connsiteY13" fmla="*/ 67502 h 434677"/>
                  <a:gd name="connsiteX14" fmla="*/ 257018 w 434677"/>
                  <a:gd name="connsiteY14" fmla="*/ 72819 h 434677"/>
                  <a:gd name="connsiteX15" fmla="*/ 267014 w 434677"/>
                  <a:gd name="connsiteY15" fmla="*/ 85914 h 434677"/>
                  <a:gd name="connsiteX16" fmla="*/ 266527 w 434677"/>
                  <a:gd name="connsiteY16" fmla="*/ 89510 h 434677"/>
                  <a:gd name="connsiteX17" fmla="*/ 249837 w 434677"/>
                  <a:gd name="connsiteY17" fmla="*/ 99019 h 434677"/>
                  <a:gd name="connsiteX18" fmla="*/ 217339 w 434677"/>
                  <a:gd name="connsiteY18" fmla="*/ 94669 h 434677"/>
                  <a:gd name="connsiteX19" fmla="*/ 94669 w 434677"/>
                  <a:gd name="connsiteY19" fmla="*/ 217339 h 434677"/>
                  <a:gd name="connsiteX20" fmla="*/ 217339 w 434677"/>
                  <a:gd name="connsiteY20" fmla="*/ 340009 h 434677"/>
                  <a:gd name="connsiteX21" fmla="*/ 340008 w 434677"/>
                  <a:gd name="connsiteY21" fmla="*/ 217339 h 434677"/>
                  <a:gd name="connsiteX22" fmla="*/ 335658 w 434677"/>
                  <a:gd name="connsiteY22" fmla="*/ 184841 h 434677"/>
                  <a:gd name="connsiteX23" fmla="*/ 345168 w 434677"/>
                  <a:gd name="connsiteY23" fmla="*/ 168150 h 434677"/>
                  <a:gd name="connsiteX24" fmla="*/ 361858 w 434677"/>
                  <a:gd name="connsiteY24" fmla="*/ 177659 h 434677"/>
                  <a:gd name="connsiteX25" fmla="*/ 367176 w 434677"/>
                  <a:gd name="connsiteY25" fmla="*/ 217339 h 434677"/>
                  <a:gd name="connsiteX26" fmla="*/ 217339 w 434677"/>
                  <a:gd name="connsiteY26" fmla="*/ 367176 h 434677"/>
                  <a:gd name="connsiteX27" fmla="*/ 67501 w 434677"/>
                  <a:gd name="connsiteY27" fmla="*/ 217339 h 434677"/>
                  <a:gd name="connsiteX28" fmla="*/ 217339 w 434677"/>
                  <a:gd name="connsiteY28" fmla="*/ 67502 h 434677"/>
                  <a:gd name="connsiteX29" fmla="*/ 217339 w 434677"/>
                  <a:gd name="connsiteY29" fmla="*/ 0 h 434677"/>
                  <a:gd name="connsiteX30" fmla="*/ 279108 w 434677"/>
                  <a:gd name="connsiteY30" fmla="*/ 8912 h 434677"/>
                  <a:gd name="connsiteX31" fmla="*/ 288839 w 434677"/>
                  <a:gd name="connsiteY31" fmla="*/ 21935 h 434677"/>
                  <a:gd name="connsiteX32" fmla="*/ 288277 w 434677"/>
                  <a:gd name="connsiteY32" fmla="*/ 25793 h 434677"/>
                  <a:gd name="connsiteX33" fmla="*/ 271396 w 434677"/>
                  <a:gd name="connsiteY33" fmla="*/ 34962 h 434677"/>
                  <a:gd name="connsiteX34" fmla="*/ 217339 w 434677"/>
                  <a:gd name="connsiteY34" fmla="*/ 27168 h 434677"/>
                  <a:gd name="connsiteX35" fmla="*/ 27167 w 434677"/>
                  <a:gd name="connsiteY35" fmla="*/ 217339 h 434677"/>
                  <a:gd name="connsiteX36" fmla="*/ 217339 w 434677"/>
                  <a:gd name="connsiteY36" fmla="*/ 407510 h 434677"/>
                  <a:gd name="connsiteX37" fmla="*/ 407510 w 434677"/>
                  <a:gd name="connsiteY37" fmla="*/ 217339 h 434677"/>
                  <a:gd name="connsiteX38" fmla="*/ 399714 w 434677"/>
                  <a:gd name="connsiteY38" fmla="*/ 163279 h 434677"/>
                  <a:gd name="connsiteX39" fmla="*/ 408883 w 434677"/>
                  <a:gd name="connsiteY39" fmla="*/ 146398 h 434677"/>
                  <a:gd name="connsiteX40" fmla="*/ 425764 w 434677"/>
                  <a:gd name="connsiteY40" fmla="*/ 155567 h 434677"/>
                  <a:gd name="connsiteX41" fmla="*/ 434677 w 434677"/>
                  <a:gd name="connsiteY41" fmla="*/ 217339 h 434677"/>
                  <a:gd name="connsiteX42" fmla="*/ 371021 w 434677"/>
                  <a:gd name="connsiteY42" fmla="*/ 371021 h 434677"/>
                  <a:gd name="connsiteX43" fmla="*/ 217339 w 434677"/>
                  <a:gd name="connsiteY43" fmla="*/ 434677 h 434677"/>
                  <a:gd name="connsiteX44" fmla="*/ 63656 w 434677"/>
                  <a:gd name="connsiteY44" fmla="*/ 371021 h 434677"/>
                  <a:gd name="connsiteX45" fmla="*/ 0 w 434677"/>
                  <a:gd name="connsiteY45" fmla="*/ 217339 h 434677"/>
                  <a:gd name="connsiteX46" fmla="*/ 63656 w 434677"/>
                  <a:gd name="connsiteY46" fmla="*/ 63657 h 434677"/>
                  <a:gd name="connsiteX47" fmla="*/ 217339 w 434677"/>
                  <a:gd name="connsiteY47" fmla="*/ 0 h 43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34677" h="434677">
                    <a:moveTo>
                      <a:pt x="217339" y="135837"/>
                    </a:moveTo>
                    <a:cubicBezTo>
                      <a:pt x="220322" y="135837"/>
                      <a:pt x="223335" y="136002"/>
                      <a:pt x="226298" y="136328"/>
                    </a:cubicBezTo>
                    <a:cubicBezTo>
                      <a:pt x="233755" y="137145"/>
                      <a:pt x="239137" y="143854"/>
                      <a:pt x="238318" y="151311"/>
                    </a:cubicBezTo>
                    <a:cubicBezTo>
                      <a:pt x="237502" y="158768"/>
                      <a:pt x="230796" y="164153"/>
                      <a:pt x="223335" y="163332"/>
                    </a:cubicBezTo>
                    <a:cubicBezTo>
                      <a:pt x="221353" y="163115"/>
                      <a:pt x="219336" y="163004"/>
                      <a:pt x="217339" y="163004"/>
                    </a:cubicBezTo>
                    <a:cubicBezTo>
                      <a:pt x="187378" y="163004"/>
                      <a:pt x="163004" y="187379"/>
                      <a:pt x="163004" y="217339"/>
                    </a:cubicBezTo>
                    <a:cubicBezTo>
                      <a:pt x="163004" y="247299"/>
                      <a:pt x="187378" y="271674"/>
                      <a:pt x="217339" y="271674"/>
                    </a:cubicBezTo>
                    <a:cubicBezTo>
                      <a:pt x="247299" y="271674"/>
                      <a:pt x="271673" y="247299"/>
                      <a:pt x="271673" y="217339"/>
                    </a:cubicBezTo>
                    <a:cubicBezTo>
                      <a:pt x="271673" y="209837"/>
                      <a:pt x="277754" y="203755"/>
                      <a:pt x="285257" y="203755"/>
                    </a:cubicBezTo>
                    <a:cubicBezTo>
                      <a:pt x="292759" y="203755"/>
                      <a:pt x="298840" y="209837"/>
                      <a:pt x="298840" y="217339"/>
                    </a:cubicBezTo>
                    <a:cubicBezTo>
                      <a:pt x="298840" y="262280"/>
                      <a:pt x="262279" y="298841"/>
                      <a:pt x="217339" y="298841"/>
                    </a:cubicBezTo>
                    <a:cubicBezTo>
                      <a:pt x="172398" y="298841"/>
                      <a:pt x="135837" y="262280"/>
                      <a:pt x="135837" y="217339"/>
                    </a:cubicBezTo>
                    <a:cubicBezTo>
                      <a:pt x="135837" y="172398"/>
                      <a:pt x="172398" y="135837"/>
                      <a:pt x="217339" y="135837"/>
                    </a:cubicBezTo>
                    <a:close/>
                    <a:moveTo>
                      <a:pt x="217339" y="67502"/>
                    </a:moveTo>
                    <a:cubicBezTo>
                      <a:pt x="230797" y="67502"/>
                      <a:pt x="244147" y="69291"/>
                      <a:pt x="257018" y="72819"/>
                    </a:cubicBezTo>
                    <a:cubicBezTo>
                      <a:pt x="263052" y="74473"/>
                      <a:pt x="267015" y="79945"/>
                      <a:pt x="267014" y="85914"/>
                    </a:cubicBezTo>
                    <a:cubicBezTo>
                      <a:pt x="267014" y="87101"/>
                      <a:pt x="266856" y="88309"/>
                      <a:pt x="266527" y="89510"/>
                    </a:cubicBezTo>
                    <a:cubicBezTo>
                      <a:pt x="264545" y="96745"/>
                      <a:pt x="257073" y="101005"/>
                      <a:pt x="249837" y="99019"/>
                    </a:cubicBezTo>
                    <a:cubicBezTo>
                      <a:pt x="239305" y="96133"/>
                      <a:pt x="228371" y="94669"/>
                      <a:pt x="217339" y="94669"/>
                    </a:cubicBezTo>
                    <a:cubicBezTo>
                      <a:pt x="149698" y="94669"/>
                      <a:pt x="94669" y="149698"/>
                      <a:pt x="94669" y="217339"/>
                    </a:cubicBezTo>
                    <a:cubicBezTo>
                      <a:pt x="94669" y="284980"/>
                      <a:pt x="149698" y="340009"/>
                      <a:pt x="217339" y="340009"/>
                    </a:cubicBezTo>
                    <a:cubicBezTo>
                      <a:pt x="284979" y="340009"/>
                      <a:pt x="340008" y="284980"/>
                      <a:pt x="340008" y="217339"/>
                    </a:cubicBezTo>
                    <a:cubicBezTo>
                      <a:pt x="340008" y="206307"/>
                      <a:pt x="338545" y="195373"/>
                      <a:pt x="335658" y="184841"/>
                    </a:cubicBezTo>
                    <a:cubicBezTo>
                      <a:pt x="333675" y="177606"/>
                      <a:pt x="337933" y="170133"/>
                      <a:pt x="345168" y="168150"/>
                    </a:cubicBezTo>
                    <a:cubicBezTo>
                      <a:pt x="352398" y="166168"/>
                      <a:pt x="359875" y="170424"/>
                      <a:pt x="361858" y="177659"/>
                    </a:cubicBezTo>
                    <a:cubicBezTo>
                      <a:pt x="365386" y="190531"/>
                      <a:pt x="367176" y="203881"/>
                      <a:pt x="367176" y="217339"/>
                    </a:cubicBezTo>
                    <a:cubicBezTo>
                      <a:pt x="367176" y="299959"/>
                      <a:pt x="299959" y="367176"/>
                      <a:pt x="217339" y="367176"/>
                    </a:cubicBezTo>
                    <a:cubicBezTo>
                      <a:pt x="134718" y="367176"/>
                      <a:pt x="67501" y="299959"/>
                      <a:pt x="67501" y="217339"/>
                    </a:cubicBezTo>
                    <a:cubicBezTo>
                      <a:pt x="67501" y="134719"/>
                      <a:pt x="134718" y="67502"/>
                      <a:pt x="217339" y="67502"/>
                    </a:cubicBezTo>
                    <a:close/>
                    <a:moveTo>
                      <a:pt x="217339" y="0"/>
                    </a:moveTo>
                    <a:cubicBezTo>
                      <a:pt x="238352" y="0"/>
                      <a:pt x="259133" y="2998"/>
                      <a:pt x="279108" y="8912"/>
                    </a:cubicBezTo>
                    <a:cubicBezTo>
                      <a:pt x="285016" y="10662"/>
                      <a:pt x="288840" y="16072"/>
                      <a:pt x="288839" y="21935"/>
                    </a:cubicBezTo>
                    <a:cubicBezTo>
                      <a:pt x="288839" y="23211"/>
                      <a:pt x="288657" y="24507"/>
                      <a:pt x="288277" y="25793"/>
                    </a:cubicBezTo>
                    <a:cubicBezTo>
                      <a:pt x="286147" y="32986"/>
                      <a:pt x="278590" y="37093"/>
                      <a:pt x="271396" y="34962"/>
                    </a:cubicBezTo>
                    <a:cubicBezTo>
                      <a:pt x="253927" y="29790"/>
                      <a:pt x="235739" y="27168"/>
                      <a:pt x="217339" y="27168"/>
                    </a:cubicBezTo>
                    <a:cubicBezTo>
                      <a:pt x="112478" y="27168"/>
                      <a:pt x="27167" y="112478"/>
                      <a:pt x="27167" y="217339"/>
                    </a:cubicBezTo>
                    <a:cubicBezTo>
                      <a:pt x="27167" y="322200"/>
                      <a:pt x="112478" y="407510"/>
                      <a:pt x="217339" y="407510"/>
                    </a:cubicBezTo>
                    <a:cubicBezTo>
                      <a:pt x="322199" y="407510"/>
                      <a:pt x="407510" y="322200"/>
                      <a:pt x="407510" y="217339"/>
                    </a:cubicBezTo>
                    <a:cubicBezTo>
                      <a:pt x="407510" y="198939"/>
                      <a:pt x="404887" y="180751"/>
                      <a:pt x="399714" y="163279"/>
                    </a:cubicBezTo>
                    <a:cubicBezTo>
                      <a:pt x="397584" y="156085"/>
                      <a:pt x="401690" y="148528"/>
                      <a:pt x="408883" y="146398"/>
                    </a:cubicBezTo>
                    <a:cubicBezTo>
                      <a:pt x="416076" y="144272"/>
                      <a:pt x="423635" y="148374"/>
                      <a:pt x="425764" y="155567"/>
                    </a:cubicBezTo>
                    <a:cubicBezTo>
                      <a:pt x="431678" y="175545"/>
                      <a:pt x="434677" y="196328"/>
                      <a:pt x="434677" y="217339"/>
                    </a:cubicBezTo>
                    <a:cubicBezTo>
                      <a:pt x="434677" y="275392"/>
                      <a:pt x="412070" y="329971"/>
                      <a:pt x="371021" y="371021"/>
                    </a:cubicBezTo>
                    <a:cubicBezTo>
                      <a:pt x="329970" y="412070"/>
                      <a:pt x="275392" y="434677"/>
                      <a:pt x="217339" y="434677"/>
                    </a:cubicBezTo>
                    <a:cubicBezTo>
                      <a:pt x="159285" y="434677"/>
                      <a:pt x="104705" y="412071"/>
                      <a:pt x="63656" y="371021"/>
                    </a:cubicBezTo>
                    <a:cubicBezTo>
                      <a:pt x="22607" y="329971"/>
                      <a:pt x="0" y="275392"/>
                      <a:pt x="0" y="217339"/>
                    </a:cubicBezTo>
                    <a:cubicBezTo>
                      <a:pt x="0" y="159286"/>
                      <a:pt x="22607" y="104708"/>
                      <a:pt x="63656" y="63657"/>
                    </a:cubicBezTo>
                    <a:cubicBezTo>
                      <a:pt x="104706" y="22608"/>
                      <a:pt x="159285" y="0"/>
                      <a:pt x="217339" y="0"/>
                    </a:cubicBezTo>
                    <a:close/>
                  </a:path>
                </a:pathLst>
              </a:custGeom>
              <a:solidFill>
                <a:schemeClr val="tx2"/>
              </a:solidFill>
              <a:ln w="837" cap="flat">
                <a:noFill/>
                <a:prstDash val="solid"/>
                <a:miter/>
              </a:ln>
            </p:spPr>
            <p:txBody>
              <a:bodyPr rtlCol="0" anchor="ctr"/>
              <a:lstStyle/>
              <a:p>
                <a:endParaRPr lang="nl-NL"/>
              </a:p>
            </p:txBody>
          </p:sp>
          <p:sp>
            <p:nvSpPr>
              <p:cNvPr id="85" name="Vrije vorm: vorm 84">
                <a:extLst>
                  <a:ext uri="{FF2B5EF4-FFF2-40B4-BE49-F238E27FC236}">
                    <a16:creationId xmlns:a16="http://schemas.microsoft.com/office/drawing/2014/main" id="{A82453D2-EAE3-D542-80D9-46DD84AABED6}"/>
                  </a:ext>
                </a:extLst>
              </p:cNvPr>
              <p:cNvSpPr/>
              <p:nvPr/>
            </p:nvSpPr>
            <p:spPr>
              <a:xfrm rot="13500000">
                <a:off x="1874106" y="4359440"/>
                <a:ext cx="119728" cy="269040"/>
              </a:xfrm>
              <a:custGeom>
                <a:avLst/>
                <a:gdLst>
                  <a:gd name="connsiteX0" fmla="*/ 92558 w 119728"/>
                  <a:gd name="connsiteY0" fmla="*/ 225986 h 269040"/>
                  <a:gd name="connsiteX1" fmla="*/ 92559 w 119728"/>
                  <a:gd name="connsiteY1" fmla="*/ 191485 h 269040"/>
                  <a:gd name="connsiteX2" fmla="*/ 59863 w 119728"/>
                  <a:gd name="connsiteY2" fmla="*/ 151546 h 269040"/>
                  <a:gd name="connsiteX3" fmla="*/ 27167 w 119728"/>
                  <a:gd name="connsiteY3" fmla="*/ 191485 h 269040"/>
                  <a:gd name="connsiteX4" fmla="*/ 27168 w 119728"/>
                  <a:gd name="connsiteY4" fmla="*/ 225985 h 269040"/>
                  <a:gd name="connsiteX5" fmla="*/ 51039 w 119728"/>
                  <a:gd name="connsiteY5" fmla="*/ 205591 h 269040"/>
                  <a:gd name="connsiteX6" fmla="*/ 68686 w 119728"/>
                  <a:gd name="connsiteY6" fmla="*/ 205591 h 269040"/>
                  <a:gd name="connsiteX7" fmla="*/ 111830 w 119728"/>
                  <a:gd name="connsiteY7" fmla="*/ 267793 h 269040"/>
                  <a:gd name="connsiteX8" fmla="*/ 97320 w 119728"/>
                  <a:gd name="connsiteY8" fmla="*/ 265785 h 269040"/>
                  <a:gd name="connsiteX9" fmla="*/ 59863 w 119728"/>
                  <a:gd name="connsiteY9" fmla="*/ 233785 h 269040"/>
                  <a:gd name="connsiteX10" fmla="*/ 22407 w 119728"/>
                  <a:gd name="connsiteY10" fmla="*/ 265785 h 269040"/>
                  <a:gd name="connsiteX11" fmla="*/ 7898 w 119728"/>
                  <a:gd name="connsiteY11" fmla="*/ 267793 h 269040"/>
                  <a:gd name="connsiteX12" fmla="*/ 0 w 119728"/>
                  <a:gd name="connsiteY12" fmla="*/ 255457 h 269040"/>
                  <a:gd name="connsiteX13" fmla="*/ 0 w 119728"/>
                  <a:gd name="connsiteY13" fmla="*/ 186635 h 269040"/>
                  <a:gd name="connsiteX14" fmla="*/ 3074 w 119728"/>
                  <a:gd name="connsiteY14" fmla="*/ 178030 h 269040"/>
                  <a:gd name="connsiteX15" fmla="*/ 46279 w 119728"/>
                  <a:gd name="connsiteY15" fmla="*/ 125251 h 269040"/>
                  <a:gd name="connsiteX16" fmla="*/ 46280 w 119728"/>
                  <a:gd name="connsiteY16" fmla="*/ 13584 h 269040"/>
                  <a:gd name="connsiteX17" fmla="*/ 50258 w 119728"/>
                  <a:gd name="connsiteY17" fmla="*/ 3979 h 269040"/>
                  <a:gd name="connsiteX18" fmla="*/ 59864 w 119728"/>
                  <a:gd name="connsiteY18" fmla="*/ 1 h 269040"/>
                  <a:gd name="connsiteX19" fmla="*/ 73447 w 119728"/>
                  <a:gd name="connsiteY19" fmla="*/ 13584 h 269040"/>
                  <a:gd name="connsiteX20" fmla="*/ 73446 w 119728"/>
                  <a:gd name="connsiteY20" fmla="*/ 125251 h 269040"/>
                  <a:gd name="connsiteX21" fmla="*/ 116655 w 119728"/>
                  <a:gd name="connsiteY21" fmla="*/ 178029 h 269040"/>
                  <a:gd name="connsiteX22" fmla="*/ 119728 w 119728"/>
                  <a:gd name="connsiteY22" fmla="*/ 186635 h 269040"/>
                  <a:gd name="connsiteX23" fmla="*/ 119727 w 119728"/>
                  <a:gd name="connsiteY23" fmla="*/ 255457 h 269040"/>
                  <a:gd name="connsiteX24" fmla="*/ 111830 w 119728"/>
                  <a:gd name="connsiteY24" fmla="*/ 267793 h 269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9728" h="269040">
                    <a:moveTo>
                      <a:pt x="92558" y="225986"/>
                    </a:moveTo>
                    <a:lnTo>
                      <a:pt x="92559" y="191485"/>
                    </a:lnTo>
                    <a:lnTo>
                      <a:pt x="59863" y="151546"/>
                    </a:lnTo>
                    <a:lnTo>
                      <a:pt x="27167" y="191485"/>
                    </a:lnTo>
                    <a:lnTo>
                      <a:pt x="27168" y="225985"/>
                    </a:lnTo>
                    <a:lnTo>
                      <a:pt x="51039" y="205591"/>
                    </a:lnTo>
                    <a:cubicBezTo>
                      <a:pt x="56121" y="201250"/>
                      <a:pt x="63605" y="201251"/>
                      <a:pt x="68686" y="205591"/>
                    </a:cubicBezTo>
                    <a:close/>
                    <a:moveTo>
                      <a:pt x="111830" y="267793"/>
                    </a:moveTo>
                    <a:cubicBezTo>
                      <a:pt x="107016" y="270012"/>
                      <a:pt x="101351" y="269229"/>
                      <a:pt x="97320" y="265785"/>
                    </a:cubicBezTo>
                    <a:lnTo>
                      <a:pt x="59863" y="233785"/>
                    </a:lnTo>
                    <a:lnTo>
                      <a:pt x="22407" y="265785"/>
                    </a:lnTo>
                    <a:cubicBezTo>
                      <a:pt x="18377" y="269228"/>
                      <a:pt x="12711" y="270012"/>
                      <a:pt x="7898" y="267793"/>
                    </a:cubicBezTo>
                    <a:cubicBezTo>
                      <a:pt x="3084" y="265575"/>
                      <a:pt x="0" y="260758"/>
                      <a:pt x="0" y="255457"/>
                    </a:cubicBezTo>
                    <a:lnTo>
                      <a:pt x="0" y="186635"/>
                    </a:lnTo>
                    <a:cubicBezTo>
                      <a:pt x="0" y="183498"/>
                      <a:pt x="1086" y="180457"/>
                      <a:pt x="3074" y="178030"/>
                    </a:cubicBezTo>
                    <a:lnTo>
                      <a:pt x="46279" y="125251"/>
                    </a:lnTo>
                    <a:lnTo>
                      <a:pt x="46280" y="13584"/>
                    </a:lnTo>
                    <a:cubicBezTo>
                      <a:pt x="46280" y="9832"/>
                      <a:pt x="47800" y="6437"/>
                      <a:pt x="50258" y="3979"/>
                    </a:cubicBezTo>
                    <a:cubicBezTo>
                      <a:pt x="52717" y="1520"/>
                      <a:pt x="56112" y="0"/>
                      <a:pt x="59864" y="1"/>
                    </a:cubicBezTo>
                    <a:cubicBezTo>
                      <a:pt x="67366" y="1"/>
                      <a:pt x="73448" y="6083"/>
                      <a:pt x="73447" y="13584"/>
                    </a:cubicBezTo>
                    <a:lnTo>
                      <a:pt x="73446" y="125251"/>
                    </a:lnTo>
                    <a:lnTo>
                      <a:pt x="116655" y="178029"/>
                    </a:lnTo>
                    <a:cubicBezTo>
                      <a:pt x="118643" y="180457"/>
                      <a:pt x="119729" y="183497"/>
                      <a:pt x="119728" y="186635"/>
                    </a:cubicBezTo>
                    <a:lnTo>
                      <a:pt x="119727" y="255457"/>
                    </a:lnTo>
                    <a:cubicBezTo>
                      <a:pt x="119726" y="260758"/>
                      <a:pt x="116645" y="265574"/>
                      <a:pt x="111830" y="267793"/>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44000" tIns="144000" rIns="144000" bIns="144000" rtlCol="0" anchor="ctr">
                <a:noAutofit/>
              </a:bodyPr>
              <a:lstStyle/>
              <a:p>
                <a:pPr algn="ctr">
                  <a:lnSpc>
                    <a:spcPct val="90000"/>
                  </a:lnSpc>
                  <a:spcBef>
                    <a:spcPts val="200"/>
                  </a:spcBef>
                  <a:spcAft>
                    <a:spcPts val="200"/>
                  </a:spcAft>
                </a:pPr>
                <a:endParaRPr lang="nl-NL" sz="1600" dirty="0" err="1"/>
              </a:p>
            </p:txBody>
          </p:sp>
        </p:grpSp>
      </p:grpSp>
      <p:sp>
        <p:nvSpPr>
          <p:cNvPr id="7" name="Tijdelijke aanduiding voor tekst 48">
            <a:extLst>
              <a:ext uri="{FF2B5EF4-FFF2-40B4-BE49-F238E27FC236}">
                <a16:creationId xmlns:a16="http://schemas.microsoft.com/office/drawing/2014/main" id="{6B85CC39-BA9B-62A9-286A-DA4FD34040EF}"/>
              </a:ext>
            </a:extLst>
          </p:cNvPr>
          <p:cNvSpPr txBox="1">
            <a:spLocks/>
          </p:cNvSpPr>
          <p:nvPr/>
        </p:nvSpPr>
        <p:spPr>
          <a:xfrm>
            <a:off x="719139" y="6270625"/>
            <a:ext cx="1316183" cy="301625"/>
          </a:xfrm>
          <a:prstGeom prst="rect">
            <a:avLst/>
          </a:prstGeom>
          <a:blipFill>
            <a:blip r:embed="rId7"/>
            <a:srcRect/>
            <a:stretch>
              <a:fillRect t="107" b="107"/>
            </a:stretch>
          </a:blipFill>
        </p:spPr>
        <p:txBody>
          <a:bodyPr vert="horz" wrap="square" lIns="0" tIns="0" rIns="0" bIns="1260000" rtlCol="0" anchor="b" anchorCtr="0">
            <a:noAutofit/>
          </a:bodyPr>
          <a:lstStyle>
            <a:lvl1pPr marL="0" indent="0" algn="ctr" defTabSz="914400" rtl="0" eaLnBrk="1" latinLnBrk="0" hangingPunct="1">
              <a:lnSpc>
                <a:spcPct val="100000"/>
              </a:lnSpc>
              <a:spcBef>
                <a:spcPts val="0"/>
              </a:spcBef>
              <a:spcAft>
                <a:spcPts val="0"/>
              </a:spcAft>
              <a:buClr>
                <a:schemeClr val="accent1"/>
              </a:buClr>
              <a:buSzPct val="75000"/>
              <a:buFontTx/>
              <a:buNone/>
              <a:defRPr sz="100" i="1" kern="1200" baseline="0">
                <a:solidFill>
                  <a:schemeClr val="tx1">
                    <a:alpha val="0"/>
                  </a:schemeClr>
                </a:solidFill>
                <a:latin typeface="+mn-lt"/>
                <a:ea typeface="+mn-ea"/>
                <a:cs typeface="+mn-cs"/>
              </a:defRPr>
            </a:lvl1pPr>
            <a:lvl2pPr marL="355600" indent="-177800" algn="l" defTabSz="914400" rtl="0" eaLnBrk="1" latinLnBrk="0" hangingPunct="1">
              <a:lnSpc>
                <a:spcPct val="95000"/>
              </a:lnSpc>
              <a:spcBef>
                <a:spcPts val="500"/>
              </a:spcBef>
              <a:spcAft>
                <a:spcPts val="500"/>
              </a:spcAft>
              <a:buClr>
                <a:schemeClr val="accent2">
                  <a:lumMod val="90000"/>
                </a:schemeClr>
              </a:buClr>
              <a:buSzPct val="110000"/>
              <a:buFont typeface="Arial" panose="020B0604020202020204" pitchFamily="34" charset="0"/>
              <a:buChar char="•"/>
              <a:tabLst/>
              <a:defRPr sz="1600" kern="1200" baseline="0">
                <a:solidFill>
                  <a:schemeClr val="tx2">
                    <a:lumMod val="90000"/>
                    <a:lumOff val="10000"/>
                  </a:schemeClr>
                </a:solidFill>
                <a:latin typeface="+mn-lt"/>
                <a:ea typeface="+mn-ea"/>
                <a:cs typeface="+mn-cs"/>
              </a:defRPr>
            </a:lvl2pPr>
            <a:lvl3pPr marL="531813" indent="-171450" algn="l" defTabSz="914400" rtl="0" eaLnBrk="1" latinLnBrk="0" hangingPunct="1">
              <a:lnSpc>
                <a:spcPct val="95000"/>
              </a:lnSpc>
              <a:spcBef>
                <a:spcPts val="500"/>
              </a:spcBef>
              <a:spcAft>
                <a:spcPts val="500"/>
              </a:spcAft>
              <a:buClr>
                <a:schemeClr val="accent3"/>
              </a:buClr>
              <a:buFont typeface="Segoe UI Light" panose="020B0502040204020203" pitchFamily="34" charset="0"/>
              <a:buChar char="–"/>
              <a:defRPr sz="1600" kern="1200" baseline="0">
                <a:solidFill>
                  <a:schemeClr val="tx2">
                    <a:lumMod val="90000"/>
                    <a:lumOff val="10000"/>
                  </a:schemeClr>
                </a:solidFill>
                <a:latin typeface="+mn-lt"/>
                <a:ea typeface="+mn-ea"/>
                <a:cs typeface="+mn-cs"/>
              </a:defRPr>
            </a:lvl3pPr>
            <a:lvl4pPr marL="0" indent="0" algn="l" defTabSz="914400" rtl="0" eaLnBrk="1" latinLnBrk="0" hangingPunct="1">
              <a:lnSpc>
                <a:spcPct val="95000"/>
              </a:lnSpc>
              <a:spcBef>
                <a:spcPts val="500"/>
              </a:spcBef>
              <a:spcAft>
                <a:spcPts val="500"/>
              </a:spcAft>
              <a:buFont typeface="Arial" panose="020B0604020202020204" pitchFamily="34" charset="0"/>
              <a:buNone/>
              <a:defRPr sz="1600" kern="1200" baseline="0">
                <a:solidFill>
                  <a:schemeClr val="tx2">
                    <a:lumMod val="90000"/>
                    <a:lumOff val="10000"/>
                  </a:schemeClr>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800" b="0" kern="1200" spc="-30" baseline="0">
                <a:ln w="6350">
                  <a:noFill/>
                </a:ln>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kern="1200" cap="none" spc="-50" baseline="0">
                <a:ln w="12700">
                  <a:noFill/>
                </a:ln>
                <a:solidFill>
                  <a:schemeClr val="accent3"/>
                </a:solidFill>
                <a:latin typeface="Arial" panose="020B0604020202020204" pitchFamily="34" charset="0"/>
                <a:ea typeface="+mn-ea"/>
                <a:cs typeface="+mn-cs"/>
              </a:defRPr>
            </a:lvl6pPr>
            <a:lvl7pPr marL="268288" indent="-268288" algn="l" defTabSz="914400" rtl="0" eaLnBrk="1" latinLnBrk="0" hangingPunct="1">
              <a:lnSpc>
                <a:spcPct val="95000"/>
              </a:lnSpc>
              <a:spcBef>
                <a:spcPts val="500"/>
              </a:spcBef>
              <a:spcAft>
                <a:spcPts val="500"/>
              </a:spcAft>
              <a:buClr>
                <a:schemeClr val="accent1"/>
              </a:buClr>
              <a:buFont typeface="+mj-lt"/>
              <a:buAutoNum type="arabicPeriod"/>
              <a:tabLst/>
              <a:defRPr sz="1600" kern="1200" baseline="0">
                <a:solidFill>
                  <a:schemeClr val="tx2">
                    <a:lumMod val="90000"/>
                    <a:lumOff val="10000"/>
                  </a:schemeClr>
                </a:solidFill>
                <a:latin typeface="+mn-lt"/>
                <a:ea typeface="+mn-ea"/>
                <a:cs typeface="+mn-cs"/>
              </a:defRPr>
            </a:lvl7pPr>
            <a:lvl8pPr marL="536575" indent="-268288" algn="l" defTabSz="914400" rtl="0" eaLnBrk="1" latinLnBrk="0" hangingPunct="1">
              <a:lnSpc>
                <a:spcPct val="95000"/>
              </a:lnSpc>
              <a:spcBef>
                <a:spcPts val="500"/>
              </a:spcBef>
              <a:spcAft>
                <a:spcPts val="500"/>
              </a:spcAft>
              <a:buClr>
                <a:schemeClr val="accent2">
                  <a:lumMod val="90000"/>
                </a:schemeClr>
              </a:buClr>
              <a:buFont typeface="+mj-lt"/>
              <a:buAutoNum type="alphaLcPeriod"/>
              <a:defRPr sz="1600" kern="1200" baseline="0">
                <a:solidFill>
                  <a:schemeClr val="tx2">
                    <a:lumMod val="90000"/>
                    <a:lumOff val="10000"/>
                  </a:schemeClr>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800" b="1" i="0" kern="1200" spc="50" baseline="0">
                <a:ln w="12700" cap="rnd">
                  <a:solidFill>
                    <a:schemeClr val="bg2">
                      <a:lumMod val="75000"/>
                    </a:schemeClr>
                  </a:solidFill>
                </a:ln>
                <a:solidFill>
                  <a:schemeClr val="bg2">
                    <a:lumMod val="75000"/>
                  </a:schemeClr>
                </a:solidFill>
                <a:latin typeface="Arial" panose="020B0604020202020204" pitchFamily="34" charset="0"/>
                <a:ea typeface="+mn-ea"/>
                <a:cs typeface="+mn-cs"/>
              </a:defRPr>
            </a:lvl9pPr>
          </a:lstStyle>
          <a:p>
            <a:r>
              <a:rPr lang="nl-NL"/>
              <a:t>(leeg)</a:t>
            </a:r>
            <a:endParaRPr lang="nl-NL" dirty="0"/>
          </a:p>
        </p:txBody>
      </p:sp>
      <p:sp>
        <p:nvSpPr>
          <p:cNvPr id="8" name="Tijdelijke aanduiding voor datum 7">
            <a:extLst>
              <a:ext uri="{FF2B5EF4-FFF2-40B4-BE49-F238E27FC236}">
                <a16:creationId xmlns:a16="http://schemas.microsoft.com/office/drawing/2014/main" id="{00A04138-C54B-47FD-D893-96CE2037D47C}"/>
              </a:ext>
            </a:extLst>
          </p:cNvPr>
          <p:cNvSpPr>
            <a:spLocks noGrp="1"/>
          </p:cNvSpPr>
          <p:nvPr>
            <p:ph type="dt" sz="half" idx="27"/>
          </p:nvPr>
        </p:nvSpPr>
        <p:spPr/>
        <p:txBody>
          <a:bodyPr/>
          <a:lstStyle/>
          <a:p>
            <a:fld id="{0F2E5B1A-DDF6-48B2-8157-CE5B1A1EAC2C}" type="datetime4">
              <a:rPr lang="nl-NL" smtClean="0"/>
              <a:t>10 oktober 2023</a:t>
            </a:fld>
            <a:endParaRPr lang="nl-NL" dirty="0"/>
          </a:p>
        </p:txBody>
      </p:sp>
      <p:sp>
        <p:nvSpPr>
          <p:cNvPr id="9" name="Tijdelijke aanduiding voor voettekst 8">
            <a:extLst>
              <a:ext uri="{FF2B5EF4-FFF2-40B4-BE49-F238E27FC236}">
                <a16:creationId xmlns:a16="http://schemas.microsoft.com/office/drawing/2014/main" id="{A3D32A22-C657-79DD-F963-5F2FD263F785}"/>
              </a:ext>
            </a:extLst>
          </p:cNvPr>
          <p:cNvSpPr>
            <a:spLocks noGrp="1"/>
          </p:cNvSpPr>
          <p:nvPr>
            <p:ph type="ftr" sz="quarter" idx="28"/>
          </p:nvPr>
        </p:nvSpPr>
        <p:spPr/>
        <p:txBody>
          <a:bodyPr/>
          <a:lstStyle/>
          <a:p>
            <a:pPr algn="r"/>
            <a:r>
              <a:rPr lang="nl-NL"/>
              <a:t>Zeeuwse Zorg Coalitie  |  Plaats hier je voettekst</a:t>
            </a:r>
            <a:endParaRPr lang="nl-NL" dirty="0"/>
          </a:p>
        </p:txBody>
      </p:sp>
      <p:sp>
        <p:nvSpPr>
          <p:cNvPr id="10" name="Tijdelijke aanduiding voor dianummer 9">
            <a:extLst>
              <a:ext uri="{FF2B5EF4-FFF2-40B4-BE49-F238E27FC236}">
                <a16:creationId xmlns:a16="http://schemas.microsoft.com/office/drawing/2014/main" id="{CDCAD4AF-57F9-69B6-D4B3-43475DDF2C82}"/>
              </a:ext>
            </a:extLst>
          </p:cNvPr>
          <p:cNvSpPr>
            <a:spLocks noGrp="1"/>
          </p:cNvSpPr>
          <p:nvPr>
            <p:ph type="sldNum" sz="quarter" idx="29"/>
          </p:nvPr>
        </p:nvSpPr>
        <p:spPr/>
        <p:txBody>
          <a:bodyPr/>
          <a:lstStyle/>
          <a:p>
            <a:fld id="{9E843DB9-9987-4157-AB9C-CEA8D7D910BB}" type="slidenum">
              <a:rPr lang="nl-NL" smtClean="0"/>
              <a:pPr/>
              <a:t>10</a:t>
            </a:fld>
            <a:endParaRPr lang="nl-NL" dirty="0"/>
          </a:p>
        </p:txBody>
      </p:sp>
    </p:spTree>
    <p:custDataLst>
      <p:tags r:id="rId1"/>
    </p:custDataLst>
    <p:extLst>
      <p:ext uri="{BB962C8B-B14F-4D97-AF65-F5344CB8AC3E}">
        <p14:creationId xmlns:p14="http://schemas.microsoft.com/office/powerpoint/2010/main" val="2757534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42" presetClass="path" presetSubtype="0" decel="100000" fill="hold" grpId="1" nodeType="withEffect">
                                  <p:stCondLst>
                                    <p:cond delay="0"/>
                                  </p:stCondLst>
                                  <p:iterate type="lt">
                                    <p:tmPct val="10000"/>
                                  </p:iterate>
                                  <p:childTnLst>
                                    <p:animMotion origin="layout" path="M -0.01719 -0.00023 L 0 2.22222E-6 " pathEditMode="relative" rAng="0" ptsTypes="AA">
                                      <p:cBhvr>
                                        <p:cTn id="9" dur="400" fill="hold"/>
                                        <p:tgtEl>
                                          <p:spTgt spid="13"/>
                                        </p:tgtEl>
                                        <p:attrNameLst>
                                          <p:attrName>ppt_x</p:attrName>
                                          <p:attrName>ppt_y</p:attrName>
                                        </p:attrNameLst>
                                      </p:cBhvr>
                                      <p:rCtr x="859" y="0"/>
                                    </p:animMotion>
                                  </p:childTnLst>
                                </p:cTn>
                              </p:par>
                            </p:childTnLst>
                          </p:cTn>
                        </p:par>
                        <p:par>
                          <p:cTn id="10" fill="hold">
                            <p:stCondLst>
                              <p:cond delay="1440"/>
                            </p:stCondLst>
                            <p:childTnLst>
                              <p:par>
                                <p:cTn id="11" presetID="10" presetClass="entr" presetSubtype="0" fill="hold" nodeType="after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animEffect transition="in" filter="fade">
                                      <p:cBhvr>
                                        <p:cTn id="13" dur="750"/>
                                        <p:tgtEl>
                                          <p:spTgt spid="12">
                                            <p:txEl>
                                              <p:pRg st="0" end="0"/>
                                            </p:txEl>
                                          </p:spTgt>
                                        </p:tgtEl>
                                      </p:cBhvr>
                                    </p:animEffect>
                                  </p:childTnLst>
                                </p:cTn>
                              </p:par>
                              <p:par>
                                <p:cTn id="14" presetID="53" presetClass="entr" presetSubtype="16" fill="hold" nodeType="with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250" fill="hold"/>
                                        <p:tgtEl>
                                          <p:spTgt spid="2"/>
                                        </p:tgtEl>
                                        <p:attrNameLst>
                                          <p:attrName>ppt_w</p:attrName>
                                        </p:attrNameLst>
                                      </p:cBhvr>
                                      <p:tavLst>
                                        <p:tav tm="0">
                                          <p:val>
                                            <p:fltVal val="0"/>
                                          </p:val>
                                        </p:tav>
                                        <p:tav tm="100000">
                                          <p:val>
                                            <p:strVal val="#ppt_w"/>
                                          </p:val>
                                        </p:tav>
                                      </p:tavLst>
                                    </p:anim>
                                    <p:anim calcmode="lin" valueType="num">
                                      <p:cBhvr>
                                        <p:cTn id="17" dur="250" fill="hold"/>
                                        <p:tgtEl>
                                          <p:spTgt spid="2"/>
                                        </p:tgtEl>
                                        <p:attrNameLst>
                                          <p:attrName>ppt_h</p:attrName>
                                        </p:attrNameLst>
                                      </p:cBhvr>
                                      <p:tavLst>
                                        <p:tav tm="0">
                                          <p:val>
                                            <p:fltVal val="0"/>
                                          </p:val>
                                        </p:tav>
                                        <p:tav tm="100000">
                                          <p:val>
                                            <p:strVal val="#ppt_h"/>
                                          </p:val>
                                        </p:tav>
                                      </p:tavLst>
                                    </p:anim>
                                    <p:animEffect transition="in" filter="fade">
                                      <p:cBhvr>
                                        <p:cTn id="18" dur="250"/>
                                        <p:tgtEl>
                                          <p:spTgt spid="2"/>
                                        </p:tgtEl>
                                      </p:cBhvr>
                                    </p:animEffect>
                                  </p:childTnLst>
                                </p:cTn>
                              </p:par>
                              <p:par>
                                <p:cTn id="19" presetID="6" presetClass="emph" presetSubtype="0" accel="47000" decel="47000" autoRev="1" fill="hold" nodeType="withEffect">
                                  <p:stCondLst>
                                    <p:cond delay="0"/>
                                  </p:stCondLst>
                                  <p:childTnLst>
                                    <p:animScale>
                                      <p:cBhvr>
                                        <p:cTn id="20" dur="250" fill="hold"/>
                                        <p:tgtEl>
                                          <p:spTgt spid="2"/>
                                        </p:tgtEl>
                                      </p:cBhvr>
                                      <p:by x="110000" y="110000"/>
                                    </p:animScale>
                                  </p:childTnLst>
                                </p:cTn>
                              </p:par>
                            </p:childTnLst>
                          </p:cTn>
                        </p:par>
                        <p:par>
                          <p:cTn id="21" fill="hold">
                            <p:stCondLst>
                              <p:cond delay="2190"/>
                            </p:stCondLst>
                            <p:childTnLst>
                              <p:par>
                                <p:cTn id="22" presetID="10" presetClass="entr" presetSubtype="0" fill="hold" nodeType="afterEffect">
                                  <p:stCondLst>
                                    <p:cond delay="0"/>
                                  </p:stCondLst>
                                  <p:childTnLst>
                                    <p:set>
                                      <p:cBhvr>
                                        <p:cTn id="23" dur="1" fill="hold">
                                          <p:stCondLst>
                                            <p:cond delay="0"/>
                                          </p:stCondLst>
                                        </p:cTn>
                                        <p:tgtEl>
                                          <p:spTgt spid="12">
                                            <p:txEl>
                                              <p:pRg st="1" end="1"/>
                                            </p:txEl>
                                          </p:spTgt>
                                        </p:tgtEl>
                                        <p:attrNameLst>
                                          <p:attrName>style.visibility</p:attrName>
                                        </p:attrNameLst>
                                      </p:cBhvr>
                                      <p:to>
                                        <p:strVal val="visible"/>
                                      </p:to>
                                    </p:set>
                                    <p:animEffect transition="in" filter="fade">
                                      <p:cBhvr>
                                        <p:cTn id="24" dur="750"/>
                                        <p:tgtEl>
                                          <p:spTgt spid="12">
                                            <p:txEl>
                                              <p:pRg st="1" end="1"/>
                                            </p:txEl>
                                          </p:spTgt>
                                        </p:tgtEl>
                                      </p:cBhvr>
                                    </p:animEffect>
                                  </p:childTnLst>
                                </p:cTn>
                              </p:par>
                              <p:par>
                                <p:cTn id="25" presetID="53" presetClass="entr" presetSubtype="16" fill="hold" nodeType="withEffect">
                                  <p:stCondLst>
                                    <p:cond delay="0"/>
                                  </p:stCondLst>
                                  <p:childTnLst>
                                    <p:set>
                                      <p:cBhvr>
                                        <p:cTn id="26" dur="1" fill="hold">
                                          <p:stCondLst>
                                            <p:cond delay="0"/>
                                          </p:stCondLst>
                                        </p:cTn>
                                        <p:tgtEl>
                                          <p:spTgt spid="78"/>
                                        </p:tgtEl>
                                        <p:attrNameLst>
                                          <p:attrName>style.visibility</p:attrName>
                                        </p:attrNameLst>
                                      </p:cBhvr>
                                      <p:to>
                                        <p:strVal val="visible"/>
                                      </p:to>
                                    </p:set>
                                    <p:anim calcmode="lin" valueType="num">
                                      <p:cBhvr>
                                        <p:cTn id="27" dur="250" fill="hold"/>
                                        <p:tgtEl>
                                          <p:spTgt spid="78"/>
                                        </p:tgtEl>
                                        <p:attrNameLst>
                                          <p:attrName>ppt_w</p:attrName>
                                        </p:attrNameLst>
                                      </p:cBhvr>
                                      <p:tavLst>
                                        <p:tav tm="0">
                                          <p:val>
                                            <p:fltVal val="0"/>
                                          </p:val>
                                        </p:tav>
                                        <p:tav tm="100000">
                                          <p:val>
                                            <p:strVal val="#ppt_w"/>
                                          </p:val>
                                        </p:tav>
                                      </p:tavLst>
                                    </p:anim>
                                    <p:anim calcmode="lin" valueType="num">
                                      <p:cBhvr>
                                        <p:cTn id="28" dur="250" fill="hold"/>
                                        <p:tgtEl>
                                          <p:spTgt spid="78"/>
                                        </p:tgtEl>
                                        <p:attrNameLst>
                                          <p:attrName>ppt_h</p:attrName>
                                        </p:attrNameLst>
                                      </p:cBhvr>
                                      <p:tavLst>
                                        <p:tav tm="0">
                                          <p:val>
                                            <p:fltVal val="0"/>
                                          </p:val>
                                        </p:tav>
                                        <p:tav tm="100000">
                                          <p:val>
                                            <p:strVal val="#ppt_h"/>
                                          </p:val>
                                        </p:tav>
                                      </p:tavLst>
                                    </p:anim>
                                    <p:animEffect transition="in" filter="fade">
                                      <p:cBhvr>
                                        <p:cTn id="29" dur="250"/>
                                        <p:tgtEl>
                                          <p:spTgt spid="78"/>
                                        </p:tgtEl>
                                      </p:cBhvr>
                                    </p:animEffect>
                                  </p:childTnLst>
                                </p:cTn>
                              </p:par>
                              <p:par>
                                <p:cTn id="30" presetID="6" presetClass="emph" presetSubtype="0" accel="47000" decel="47000" autoRev="1" fill="hold" nodeType="withEffect">
                                  <p:stCondLst>
                                    <p:cond delay="0"/>
                                  </p:stCondLst>
                                  <p:childTnLst>
                                    <p:animScale>
                                      <p:cBhvr>
                                        <p:cTn id="31" dur="250" fill="hold"/>
                                        <p:tgtEl>
                                          <p:spTgt spid="78"/>
                                        </p:tgtEl>
                                      </p:cBhvr>
                                      <p:by x="110000" y="110000"/>
                                    </p:animScale>
                                  </p:childTnLst>
                                </p:cTn>
                              </p:par>
                            </p:childTnLst>
                          </p:cTn>
                        </p:par>
                        <p:par>
                          <p:cTn id="32" fill="hold">
                            <p:stCondLst>
                              <p:cond delay="2940"/>
                            </p:stCondLst>
                            <p:childTnLst>
                              <p:par>
                                <p:cTn id="33" presetID="10" presetClass="entr" presetSubtype="0" fill="hold" nodeType="afterEffect">
                                  <p:stCondLst>
                                    <p:cond delay="0"/>
                                  </p:stCondLst>
                                  <p:childTnLst>
                                    <p:set>
                                      <p:cBhvr>
                                        <p:cTn id="34" dur="1" fill="hold">
                                          <p:stCondLst>
                                            <p:cond delay="0"/>
                                          </p:stCondLst>
                                        </p:cTn>
                                        <p:tgtEl>
                                          <p:spTgt spid="12">
                                            <p:txEl>
                                              <p:pRg st="2" end="2"/>
                                            </p:txEl>
                                          </p:spTgt>
                                        </p:tgtEl>
                                        <p:attrNameLst>
                                          <p:attrName>style.visibility</p:attrName>
                                        </p:attrNameLst>
                                      </p:cBhvr>
                                      <p:to>
                                        <p:strVal val="visible"/>
                                      </p:to>
                                    </p:set>
                                    <p:animEffect transition="in" filter="fade">
                                      <p:cBhvr>
                                        <p:cTn id="35" dur="750"/>
                                        <p:tgtEl>
                                          <p:spTgt spid="12">
                                            <p:txEl>
                                              <p:pRg st="2" end="2"/>
                                            </p:txEl>
                                          </p:spTgt>
                                        </p:tgtEl>
                                      </p:cBhvr>
                                    </p:animEffect>
                                  </p:childTnLst>
                                </p:cTn>
                              </p:par>
                              <p:par>
                                <p:cTn id="36" presetID="53" presetClass="entr" presetSubtype="16" fill="hold" nodeType="withEffect">
                                  <p:stCondLst>
                                    <p:cond delay="0"/>
                                  </p:stCondLst>
                                  <p:childTnLst>
                                    <p:set>
                                      <p:cBhvr>
                                        <p:cTn id="37" dur="1" fill="hold">
                                          <p:stCondLst>
                                            <p:cond delay="0"/>
                                          </p:stCondLst>
                                        </p:cTn>
                                        <p:tgtEl>
                                          <p:spTgt spid="77"/>
                                        </p:tgtEl>
                                        <p:attrNameLst>
                                          <p:attrName>style.visibility</p:attrName>
                                        </p:attrNameLst>
                                      </p:cBhvr>
                                      <p:to>
                                        <p:strVal val="visible"/>
                                      </p:to>
                                    </p:set>
                                    <p:anim calcmode="lin" valueType="num">
                                      <p:cBhvr>
                                        <p:cTn id="38" dur="250" fill="hold"/>
                                        <p:tgtEl>
                                          <p:spTgt spid="77"/>
                                        </p:tgtEl>
                                        <p:attrNameLst>
                                          <p:attrName>ppt_w</p:attrName>
                                        </p:attrNameLst>
                                      </p:cBhvr>
                                      <p:tavLst>
                                        <p:tav tm="0">
                                          <p:val>
                                            <p:fltVal val="0"/>
                                          </p:val>
                                        </p:tav>
                                        <p:tav tm="100000">
                                          <p:val>
                                            <p:strVal val="#ppt_w"/>
                                          </p:val>
                                        </p:tav>
                                      </p:tavLst>
                                    </p:anim>
                                    <p:anim calcmode="lin" valueType="num">
                                      <p:cBhvr>
                                        <p:cTn id="39" dur="250" fill="hold"/>
                                        <p:tgtEl>
                                          <p:spTgt spid="77"/>
                                        </p:tgtEl>
                                        <p:attrNameLst>
                                          <p:attrName>ppt_h</p:attrName>
                                        </p:attrNameLst>
                                      </p:cBhvr>
                                      <p:tavLst>
                                        <p:tav tm="0">
                                          <p:val>
                                            <p:fltVal val="0"/>
                                          </p:val>
                                        </p:tav>
                                        <p:tav tm="100000">
                                          <p:val>
                                            <p:strVal val="#ppt_h"/>
                                          </p:val>
                                        </p:tav>
                                      </p:tavLst>
                                    </p:anim>
                                    <p:animEffect transition="in" filter="fade">
                                      <p:cBhvr>
                                        <p:cTn id="40" dur="250"/>
                                        <p:tgtEl>
                                          <p:spTgt spid="77"/>
                                        </p:tgtEl>
                                      </p:cBhvr>
                                    </p:animEffect>
                                  </p:childTnLst>
                                </p:cTn>
                              </p:par>
                              <p:par>
                                <p:cTn id="41" presetID="6" presetClass="emph" presetSubtype="0" accel="47000" decel="47000" autoRev="1" fill="hold" nodeType="withEffect">
                                  <p:stCondLst>
                                    <p:cond delay="0"/>
                                  </p:stCondLst>
                                  <p:childTnLst>
                                    <p:animScale>
                                      <p:cBhvr>
                                        <p:cTn id="42" dur="250" fill="hold"/>
                                        <p:tgtEl>
                                          <p:spTgt spid="77"/>
                                        </p:tgtEl>
                                      </p:cBhvr>
                                      <p:by x="110000" y="110000"/>
                                    </p:animScale>
                                  </p:childTnLst>
                                </p:cTn>
                              </p:par>
                            </p:childTnLst>
                          </p:cTn>
                        </p:par>
                        <p:par>
                          <p:cTn id="43" fill="hold">
                            <p:stCondLst>
                              <p:cond delay="3690"/>
                            </p:stCondLst>
                            <p:childTnLst>
                              <p:par>
                                <p:cTn id="44" presetID="10" presetClass="entr" presetSubtype="0" fill="hold" nodeType="afterEffect">
                                  <p:stCondLst>
                                    <p:cond delay="0"/>
                                  </p:stCondLst>
                                  <p:childTnLst>
                                    <p:set>
                                      <p:cBhvr>
                                        <p:cTn id="45" dur="1" fill="hold">
                                          <p:stCondLst>
                                            <p:cond delay="0"/>
                                          </p:stCondLst>
                                        </p:cTn>
                                        <p:tgtEl>
                                          <p:spTgt spid="12">
                                            <p:txEl>
                                              <p:pRg st="3" end="3"/>
                                            </p:txEl>
                                          </p:spTgt>
                                        </p:tgtEl>
                                        <p:attrNameLst>
                                          <p:attrName>style.visibility</p:attrName>
                                        </p:attrNameLst>
                                      </p:cBhvr>
                                      <p:to>
                                        <p:strVal val="visible"/>
                                      </p:to>
                                    </p:set>
                                    <p:animEffect transition="in" filter="fade">
                                      <p:cBhvr>
                                        <p:cTn id="46" dur="750"/>
                                        <p:tgtEl>
                                          <p:spTgt spid="12">
                                            <p:txEl>
                                              <p:pRg st="3" end="3"/>
                                            </p:txEl>
                                          </p:spTgt>
                                        </p:tgtEl>
                                      </p:cBhvr>
                                    </p:animEffect>
                                  </p:childTnLst>
                                </p:cTn>
                              </p:par>
                              <p:par>
                                <p:cTn id="47" presetID="53" presetClass="entr" presetSubtype="16" fill="hold" nodeType="withEffect">
                                  <p:stCondLst>
                                    <p:cond delay="0"/>
                                  </p:stCondLst>
                                  <p:childTnLst>
                                    <p:set>
                                      <p:cBhvr>
                                        <p:cTn id="48" dur="1" fill="hold">
                                          <p:stCondLst>
                                            <p:cond delay="0"/>
                                          </p:stCondLst>
                                        </p:cTn>
                                        <p:tgtEl>
                                          <p:spTgt spid="76"/>
                                        </p:tgtEl>
                                        <p:attrNameLst>
                                          <p:attrName>style.visibility</p:attrName>
                                        </p:attrNameLst>
                                      </p:cBhvr>
                                      <p:to>
                                        <p:strVal val="visible"/>
                                      </p:to>
                                    </p:set>
                                    <p:anim calcmode="lin" valueType="num">
                                      <p:cBhvr>
                                        <p:cTn id="49" dur="250" fill="hold"/>
                                        <p:tgtEl>
                                          <p:spTgt spid="76"/>
                                        </p:tgtEl>
                                        <p:attrNameLst>
                                          <p:attrName>ppt_w</p:attrName>
                                        </p:attrNameLst>
                                      </p:cBhvr>
                                      <p:tavLst>
                                        <p:tav tm="0">
                                          <p:val>
                                            <p:fltVal val="0"/>
                                          </p:val>
                                        </p:tav>
                                        <p:tav tm="100000">
                                          <p:val>
                                            <p:strVal val="#ppt_w"/>
                                          </p:val>
                                        </p:tav>
                                      </p:tavLst>
                                    </p:anim>
                                    <p:anim calcmode="lin" valueType="num">
                                      <p:cBhvr>
                                        <p:cTn id="50" dur="250" fill="hold"/>
                                        <p:tgtEl>
                                          <p:spTgt spid="76"/>
                                        </p:tgtEl>
                                        <p:attrNameLst>
                                          <p:attrName>ppt_h</p:attrName>
                                        </p:attrNameLst>
                                      </p:cBhvr>
                                      <p:tavLst>
                                        <p:tav tm="0">
                                          <p:val>
                                            <p:fltVal val="0"/>
                                          </p:val>
                                        </p:tav>
                                        <p:tav tm="100000">
                                          <p:val>
                                            <p:strVal val="#ppt_h"/>
                                          </p:val>
                                        </p:tav>
                                      </p:tavLst>
                                    </p:anim>
                                    <p:animEffect transition="in" filter="fade">
                                      <p:cBhvr>
                                        <p:cTn id="51" dur="250"/>
                                        <p:tgtEl>
                                          <p:spTgt spid="76"/>
                                        </p:tgtEl>
                                      </p:cBhvr>
                                    </p:animEffect>
                                  </p:childTnLst>
                                </p:cTn>
                              </p:par>
                              <p:par>
                                <p:cTn id="52" presetID="6" presetClass="emph" presetSubtype="0" accel="47000" decel="47000" autoRev="1" fill="hold" nodeType="withEffect">
                                  <p:stCondLst>
                                    <p:cond delay="0"/>
                                  </p:stCondLst>
                                  <p:childTnLst>
                                    <p:animScale>
                                      <p:cBhvr>
                                        <p:cTn id="53" dur="250" fill="hold"/>
                                        <p:tgtEl>
                                          <p:spTgt spid="76"/>
                                        </p:tgtEl>
                                      </p:cBhvr>
                                      <p:by x="110000" y="110000"/>
                                    </p:animScale>
                                  </p:childTnLst>
                                </p:cTn>
                              </p:par>
                            </p:childTnLst>
                          </p:cTn>
                        </p:par>
                        <p:par>
                          <p:cTn id="54" fill="hold">
                            <p:stCondLst>
                              <p:cond delay="4440"/>
                            </p:stCondLst>
                            <p:childTnLst>
                              <p:par>
                                <p:cTn id="55" presetID="10" presetClass="entr" presetSubtype="0" fill="hold" nodeType="afterEffect">
                                  <p:stCondLst>
                                    <p:cond delay="0"/>
                                  </p:stCondLst>
                                  <p:childTnLst>
                                    <p:set>
                                      <p:cBhvr>
                                        <p:cTn id="56" dur="1" fill="hold">
                                          <p:stCondLst>
                                            <p:cond delay="0"/>
                                          </p:stCondLst>
                                        </p:cTn>
                                        <p:tgtEl>
                                          <p:spTgt spid="12">
                                            <p:txEl>
                                              <p:pRg st="4" end="4"/>
                                            </p:txEl>
                                          </p:spTgt>
                                        </p:tgtEl>
                                        <p:attrNameLst>
                                          <p:attrName>style.visibility</p:attrName>
                                        </p:attrNameLst>
                                      </p:cBhvr>
                                      <p:to>
                                        <p:strVal val="visible"/>
                                      </p:to>
                                    </p:set>
                                    <p:animEffect transition="in" filter="fade">
                                      <p:cBhvr>
                                        <p:cTn id="57" dur="750"/>
                                        <p:tgtEl>
                                          <p:spTgt spid="12">
                                            <p:txEl>
                                              <p:pRg st="4" end="4"/>
                                            </p:txEl>
                                          </p:spTgt>
                                        </p:tgtEl>
                                      </p:cBhvr>
                                    </p:animEffect>
                                  </p:childTnLst>
                                </p:cTn>
                              </p:par>
                              <p:par>
                                <p:cTn id="58" presetID="53" presetClass="entr" presetSubtype="16" fill="hold" nodeType="withEffect">
                                  <p:stCondLst>
                                    <p:cond delay="0"/>
                                  </p:stCondLst>
                                  <p:childTnLst>
                                    <p:set>
                                      <p:cBhvr>
                                        <p:cTn id="59" dur="1" fill="hold">
                                          <p:stCondLst>
                                            <p:cond delay="0"/>
                                          </p:stCondLst>
                                        </p:cTn>
                                        <p:tgtEl>
                                          <p:spTgt spid="75"/>
                                        </p:tgtEl>
                                        <p:attrNameLst>
                                          <p:attrName>style.visibility</p:attrName>
                                        </p:attrNameLst>
                                      </p:cBhvr>
                                      <p:to>
                                        <p:strVal val="visible"/>
                                      </p:to>
                                    </p:set>
                                    <p:anim calcmode="lin" valueType="num">
                                      <p:cBhvr>
                                        <p:cTn id="60" dur="250" fill="hold"/>
                                        <p:tgtEl>
                                          <p:spTgt spid="75"/>
                                        </p:tgtEl>
                                        <p:attrNameLst>
                                          <p:attrName>ppt_w</p:attrName>
                                        </p:attrNameLst>
                                      </p:cBhvr>
                                      <p:tavLst>
                                        <p:tav tm="0">
                                          <p:val>
                                            <p:fltVal val="0"/>
                                          </p:val>
                                        </p:tav>
                                        <p:tav tm="100000">
                                          <p:val>
                                            <p:strVal val="#ppt_w"/>
                                          </p:val>
                                        </p:tav>
                                      </p:tavLst>
                                    </p:anim>
                                    <p:anim calcmode="lin" valueType="num">
                                      <p:cBhvr>
                                        <p:cTn id="61" dur="250" fill="hold"/>
                                        <p:tgtEl>
                                          <p:spTgt spid="75"/>
                                        </p:tgtEl>
                                        <p:attrNameLst>
                                          <p:attrName>ppt_h</p:attrName>
                                        </p:attrNameLst>
                                      </p:cBhvr>
                                      <p:tavLst>
                                        <p:tav tm="0">
                                          <p:val>
                                            <p:fltVal val="0"/>
                                          </p:val>
                                        </p:tav>
                                        <p:tav tm="100000">
                                          <p:val>
                                            <p:strVal val="#ppt_h"/>
                                          </p:val>
                                        </p:tav>
                                      </p:tavLst>
                                    </p:anim>
                                    <p:animEffect transition="in" filter="fade">
                                      <p:cBhvr>
                                        <p:cTn id="62" dur="250"/>
                                        <p:tgtEl>
                                          <p:spTgt spid="75"/>
                                        </p:tgtEl>
                                      </p:cBhvr>
                                    </p:animEffect>
                                  </p:childTnLst>
                                </p:cTn>
                              </p:par>
                              <p:par>
                                <p:cTn id="63" presetID="6" presetClass="emph" presetSubtype="0" accel="47000" decel="47000" autoRev="1" fill="hold" nodeType="withEffect">
                                  <p:stCondLst>
                                    <p:cond delay="0"/>
                                  </p:stCondLst>
                                  <p:childTnLst>
                                    <p:animScale>
                                      <p:cBhvr>
                                        <p:cTn id="64" dur="250" fill="hold"/>
                                        <p:tgtEl>
                                          <p:spTgt spid="75"/>
                                        </p:tgtEl>
                                      </p:cBhvr>
                                      <p:by x="110000" y="110000"/>
                                    </p:animScale>
                                  </p:childTnLst>
                                </p:cTn>
                              </p:par>
                            </p:childTnLst>
                          </p:cTn>
                        </p:par>
                        <p:par>
                          <p:cTn id="65" fill="hold">
                            <p:stCondLst>
                              <p:cond delay="5190"/>
                            </p:stCondLst>
                            <p:childTnLst>
                              <p:par>
                                <p:cTn id="66" presetID="10" presetClass="entr" presetSubtype="0" fill="hold" nodeType="afterEffect">
                                  <p:stCondLst>
                                    <p:cond delay="0"/>
                                  </p:stCondLst>
                                  <p:childTnLst>
                                    <p:set>
                                      <p:cBhvr>
                                        <p:cTn id="67" dur="1" fill="hold">
                                          <p:stCondLst>
                                            <p:cond delay="0"/>
                                          </p:stCondLst>
                                        </p:cTn>
                                        <p:tgtEl>
                                          <p:spTgt spid="12">
                                            <p:txEl>
                                              <p:pRg st="5" end="5"/>
                                            </p:txEl>
                                          </p:spTgt>
                                        </p:tgtEl>
                                        <p:attrNameLst>
                                          <p:attrName>style.visibility</p:attrName>
                                        </p:attrNameLst>
                                      </p:cBhvr>
                                      <p:to>
                                        <p:strVal val="visible"/>
                                      </p:to>
                                    </p:set>
                                    <p:animEffect transition="in" filter="fade">
                                      <p:cBhvr>
                                        <p:cTn id="68" dur="750"/>
                                        <p:tgtEl>
                                          <p:spTgt spid="12">
                                            <p:txEl>
                                              <p:pRg st="5" end="5"/>
                                            </p:txEl>
                                          </p:spTgt>
                                        </p:tgtEl>
                                      </p:cBhvr>
                                    </p:animEffect>
                                  </p:childTnLst>
                                </p:cTn>
                              </p:par>
                              <p:par>
                                <p:cTn id="69" presetID="53" presetClass="entr" presetSubtype="16" fill="hold" nodeType="withEffect">
                                  <p:stCondLst>
                                    <p:cond delay="0"/>
                                  </p:stCondLst>
                                  <p:childTnLst>
                                    <p:set>
                                      <p:cBhvr>
                                        <p:cTn id="70" dur="1" fill="hold">
                                          <p:stCondLst>
                                            <p:cond delay="0"/>
                                          </p:stCondLst>
                                        </p:cTn>
                                        <p:tgtEl>
                                          <p:spTgt spid="74"/>
                                        </p:tgtEl>
                                        <p:attrNameLst>
                                          <p:attrName>style.visibility</p:attrName>
                                        </p:attrNameLst>
                                      </p:cBhvr>
                                      <p:to>
                                        <p:strVal val="visible"/>
                                      </p:to>
                                    </p:set>
                                    <p:anim calcmode="lin" valueType="num">
                                      <p:cBhvr>
                                        <p:cTn id="71" dur="250" fill="hold"/>
                                        <p:tgtEl>
                                          <p:spTgt spid="74"/>
                                        </p:tgtEl>
                                        <p:attrNameLst>
                                          <p:attrName>ppt_w</p:attrName>
                                        </p:attrNameLst>
                                      </p:cBhvr>
                                      <p:tavLst>
                                        <p:tav tm="0">
                                          <p:val>
                                            <p:fltVal val="0"/>
                                          </p:val>
                                        </p:tav>
                                        <p:tav tm="100000">
                                          <p:val>
                                            <p:strVal val="#ppt_w"/>
                                          </p:val>
                                        </p:tav>
                                      </p:tavLst>
                                    </p:anim>
                                    <p:anim calcmode="lin" valueType="num">
                                      <p:cBhvr>
                                        <p:cTn id="72" dur="250" fill="hold"/>
                                        <p:tgtEl>
                                          <p:spTgt spid="74"/>
                                        </p:tgtEl>
                                        <p:attrNameLst>
                                          <p:attrName>ppt_h</p:attrName>
                                        </p:attrNameLst>
                                      </p:cBhvr>
                                      <p:tavLst>
                                        <p:tav tm="0">
                                          <p:val>
                                            <p:fltVal val="0"/>
                                          </p:val>
                                        </p:tav>
                                        <p:tav tm="100000">
                                          <p:val>
                                            <p:strVal val="#ppt_h"/>
                                          </p:val>
                                        </p:tav>
                                      </p:tavLst>
                                    </p:anim>
                                    <p:animEffect transition="in" filter="fade">
                                      <p:cBhvr>
                                        <p:cTn id="73" dur="250"/>
                                        <p:tgtEl>
                                          <p:spTgt spid="74"/>
                                        </p:tgtEl>
                                      </p:cBhvr>
                                    </p:animEffect>
                                  </p:childTnLst>
                                </p:cTn>
                              </p:par>
                              <p:par>
                                <p:cTn id="74" presetID="6" presetClass="emph" presetSubtype="0" accel="47000" decel="47000" autoRev="1" fill="hold" nodeType="withEffect">
                                  <p:stCondLst>
                                    <p:cond delay="0"/>
                                  </p:stCondLst>
                                  <p:childTnLst>
                                    <p:animScale>
                                      <p:cBhvr>
                                        <p:cTn id="75" dur="250" fill="hold"/>
                                        <p:tgtEl>
                                          <p:spTgt spid="74"/>
                                        </p:tgtEl>
                                      </p:cBhvr>
                                      <p:by x="110000" y="11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Tijdelijke aanduiding voor afbeelding 16" descr="Afbeelding met buitenshuis, hemel, grond, zand&#10;&#10;Automatisch gegenereerde beschrijving">
            <a:extLst>
              <a:ext uri="{FF2B5EF4-FFF2-40B4-BE49-F238E27FC236}">
                <a16:creationId xmlns:a16="http://schemas.microsoft.com/office/drawing/2014/main" id="{455DF1F6-F4C4-0A7A-DD95-A2E287B11E69}"/>
              </a:ext>
            </a:extLst>
          </p:cNvPr>
          <p:cNvPicPr>
            <a:picLocks noGrp="1" noChangeAspect="1"/>
          </p:cNvPicPr>
          <p:nvPr>
            <p:ph type="pic" sz="quarter" idx="14"/>
          </p:nvPr>
        </p:nvPicPr>
        <p:blipFill rotWithShape="1">
          <a:blip r:embed="rId4">
            <a:extLst>
              <a:ext uri="{28A0092B-C50C-407E-A947-70E740481C1C}">
                <a14:useLocalDpi xmlns:a14="http://schemas.microsoft.com/office/drawing/2010/main" val="0"/>
              </a:ext>
            </a:extLst>
          </a:blip>
          <a:srcRect t="3349" r="16883" b="10547"/>
          <a:stretch/>
        </p:blipFill>
        <p:spPr>
          <a:xfrm>
            <a:off x="0" y="0"/>
            <a:ext cx="12191999" cy="6858000"/>
          </a:xfrm>
        </p:spPr>
      </p:pic>
      <p:sp>
        <p:nvSpPr>
          <p:cNvPr id="14" name="Rechthoek 13">
            <a:extLst>
              <a:ext uri="{FF2B5EF4-FFF2-40B4-BE49-F238E27FC236}">
                <a16:creationId xmlns:a16="http://schemas.microsoft.com/office/drawing/2014/main" id="{73257F3E-B1E4-0A0E-22BE-01EFE5212426}"/>
              </a:ext>
            </a:extLst>
          </p:cNvPr>
          <p:cNvSpPr/>
          <p:nvPr/>
        </p:nvSpPr>
        <p:spPr>
          <a:xfrm>
            <a:off x="-1" y="0"/>
            <a:ext cx="10044000" cy="6858000"/>
          </a:xfrm>
          <a:prstGeom prst="rect">
            <a:avLst/>
          </a:prstGeom>
          <a:gradFill>
            <a:gsLst>
              <a:gs pos="54000">
                <a:srgbClr val="F0F4F6">
                  <a:alpha val="85000"/>
                </a:srgbClr>
              </a:gs>
              <a:gs pos="2000">
                <a:schemeClr val="bg2"/>
              </a:gs>
              <a:gs pos="100000">
                <a:schemeClr val="bg2">
                  <a:alpha val="0"/>
                </a:schemeClr>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3" name="Titel 8">
            <a:extLst>
              <a:ext uri="{FF2B5EF4-FFF2-40B4-BE49-F238E27FC236}">
                <a16:creationId xmlns:a16="http://schemas.microsoft.com/office/drawing/2014/main" id="{382778A3-BEF8-A747-87B5-D8CE23358846}"/>
              </a:ext>
            </a:extLst>
          </p:cNvPr>
          <p:cNvSpPr txBox="1">
            <a:spLocks/>
          </p:cNvSpPr>
          <p:nvPr/>
        </p:nvSpPr>
        <p:spPr>
          <a:xfrm>
            <a:off x="719999" y="735013"/>
            <a:ext cx="10751276" cy="541687"/>
          </a:xfrm>
          <a:prstGeom prst="rect">
            <a:avLst/>
          </a:prstGeom>
        </p:spPr>
        <p:txBody>
          <a:bodyPr vert="horz" wrap="square" lIns="0" tIns="0" rIns="72000" bIns="0" rtlCol="0" anchor="t" anchorCtr="0">
            <a:spAutoFit/>
          </a:bodyPr>
          <a:lstStyle>
            <a:defPPr>
              <a:defRPr lang="nl-NL"/>
            </a:defPPr>
            <a:lvl1pPr>
              <a:lnSpc>
                <a:spcPct val="80000"/>
              </a:lnSpc>
              <a:spcBef>
                <a:spcPct val="0"/>
              </a:spcBef>
              <a:buNone/>
              <a:defRPr sz="4400" b="1" spc="0" baseline="0">
                <a:ln w="19050">
                  <a:noFill/>
                </a:ln>
                <a:solidFill>
                  <a:schemeClr val="accent1"/>
                </a:solidFill>
                <a:effectLst/>
                <a:latin typeface="+mj-lt"/>
                <a:ea typeface="+mj-ea"/>
                <a:cs typeface="+mj-cs"/>
              </a:defRPr>
            </a:lvl1pPr>
          </a:lstStyle>
          <a:p>
            <a:r>
              <a:rPr lang="nl-NL" dirty="0"/>
              <a:t>Innovatie in de zorgsector</a:t>
            </a:r>
            <a:r>
              <a:rPr lang="nl-NL" dirty="0">
                <a:solidFill>
                  <a:schemeClr val="accent3"/>
                </a:solidFill>
              </a:rPr>
              <a:t>.</a:t>
            </a:r>
          </a:p>
        </p:txBody>
      </p:sp>
      <p:sp>
        <p:nvSpPr>
          <p:cNvPr id="9" name="Titel 8">
            <a:extLst>
              <a:ext uri="{FF2B5EF4-FFF2-40B4-BE49-F238E27FC236}">
                <a16:creationId xmlns:a16="http://schemas.microsoft.com/office/drawing/2014/main" id="{DA73D20F-9753-9C40-A42F-374B5041DE67}"/>
              </a:ext>
            </a:extLst>
          </p:cNvPr>
          <p:cNvSpPr>
            <a:spLocks noGrp="1"/>
          </p:cNvSpPr>
          <p:nvPr>
            <p:ph type="title"/>
          </p:nvPr>
        </p:nvSpPr>
        <p:spPr/>
        <p:txBody>
          <a:bodyPr/>
          <a:lstStyle/>
          <a:p>
            <a:endParaRPr lang="nl-NL"/>
          </a:p>
        </p:txBody>
      </p:sp>
      <p:sp>
        <p:nvSpPr>
          <p:cNvPr id="3" name="Vrije vorm: vorm 2">
            <a:extLst>
              <a:ext uri="{FF2B5EF4-FFF2-40B4-BE49-F238E27FC236}">
                <a16:creationId xmlns:a16="http://schemas.microsoft.com/office/drawing/2014/main" id="{589BFBAC-553F-E488-F345-90CFD1AE5242}"/>
              </a:ext>
            </a:extLst>
          </p:cNvPr>
          <p:cNvSpPr txBox="1">
            <a:spLocks/>
          </p:cNvSpPr>
          <p:nvPr/>
        </p:nvSpPr>
        <p:spPr>
          <a:xfrm>
            <a:off x="7865653" y="1593843"/>
            <a:ext cx="4326346" cy="5264157"/>
          </a:xfrm>
          <a:custGeom>
            <a:avLst/>
            <a:gdLst>
              <a:gd name="connsiteX0" fmla="*/ 1285623 w 4326346"/>
              <a:gd name="connsiteY0" fmla="*/ 4311889 h 5264157"/>
              <a:gd name="connsiteX1" fmla="*/ 1992088 w 4326346"/>
              <a:gd name="connsiteY1" fmla="*/ 4448045 h 5264157"/>
              <a:gd name="connsiteX2" fmla="*/ 2464404 w 4326346"/>
              <a:gd name="connsiteY2" fmla="*/ 4699864 h 5264157"/>
              <a:gd name="connsiteX3" fmla="*/ 2058754 w 4326346"/>
              <a:gd name="connsiteY3" fmla="*/ 5048077 h 5264157"/>
              <a:gd name="connsiteX4" fmla="*/ 2022609 w 4326346"/>
              <a:gd name="connsiteY4" fmla="*/ 5026791 h 5264157"/>
              <a:gd name="connsiteX5" fmla="*/ 1798101 w 4326346"/>
              <a:gd name="connsiteY5" fmla="*/ 4907103 h 5264157"/>
              <a:gd name="connsiteX6" fmla="*/ 1545876 w 4326346"/>
              <a:gd name="connsiteY6" fmla="*/ 4832403 h 5264157"/>
              <a:gd name="connsiteX7" fmla="*/ 1285223 w 4326346"/>
              <a:gd name="connsiteY7" fmla="*/ 4811117 h 5264157"/>
              <a:gd name="connsiteX8" fmla="*/ 549030 w 4326346"/>
              <a:gd name="connsiteY8" fmla="*/ 5027191 h 5264157"/>
              <a:gd name="connsiteX9" fmla="*/ 499233 w 4326346"/>
              <a:gd name="connsiteY9" fmla="*/ 5055710 h 5264157"/>
              <a:gd name="connsiteX10" fmla="*/ 6 w 4326346"/>
              <a:gd name="connsiteY10" fmla="*/ 5264157 h 5264157"/>
              <a:gd name="connsiteX11" fmla="*/ 6 w 4326346"/>
              <a:gd name="connsiteY11" fmla="*/ 4742436 h 5264157"/>
              <a:gd name="connsiteX12" fmla="*/ 298420 w 4326346"/>
              <a:gd name="connsiteY12" fmla="*/ 4595037 h 5264157"/>
              <a:gd name="connsiteX13" fmla="*/ 499233 w 4326346"/>
              <a:gd name="connsiteY13" fmla="*/ 4485391 h 5264157"/>
              <a:gd name="connsiteX14" fmla="*/ 1285623 w 4326346"/>
              <a:gd name="connsiteY14" fmla="*/ 4311889 h 5264157"/>
              <a:gd name="connsiteX15" fmla="*/ 1285615 w 4326346"/>
              <a:gd name="connsiteY15" fmla="*/ 2872051 h 5264157"/>
              <a:gd name="connsiteX16" fmla="*/ 3266045 w 4326346"/>
              <a:gd name="connsiteY16" fmla="*/ 3351193 h 5264157"/>
              <a:gd name="connsiteX17" fmla="*/ 3267253 w 4326346"/>
              <a:gd name="connsiteY17" fmla="*/ 3349985 h 5264157"/>
              <a:gd name="connsiteX18" fmla="*/ 3534331 w 4326346"/>
              <a:gd name="connsiteY18" fmla="*/ 3268860 h 5264157"/>
              <a:gd name="connsiteX19" fmla="*/ 4157661 w 4326346"/>
              <a:gd name="connsiteY19" fmla="*/ 2959603 h 5264157"/>
              <a:gd name="connsiteX20" fmla="*/ 3496177 w 4326346"/>
              <a:gd name="connsiteY20" fmla="*/ 3811866 h 5264157"/>
              <a:gd name="connsiteX21" fmla="*/ 2912208 w 4326346"/>
              <a:gd name="connsiteY21" fmla="*/ 3869297 h 5264157"/>
              <a:gd name="connsiteX22" fmla="*/ 2690110 w 4326346"/>
              <a:gd name="connsiteY22" fmla="*/ 3846803 h 5264157"/>
              <a:gd name="connsiteX23" fmla="*/ 2022600 w 4326346"/>
              <a:gd name="connsiteY23" fmla="*/ 3588559 h 5264157"/>
              <a:gd name="connsiteX24" fmla="*/ 1285215 w 4326346"/>
              <a:gd name="connsiteY24" fmla="*/ 3371278 h 5264157"/>
              <a:gd name="connsiteX25" fmla="*/ 549024 w 4326346"/>
              <a:gd name="connsiteY25" fmla="*/ 3587351 h 5264157"/>
              <a:gd name="connsiteX26" fmla="*/ 0 w 4326346"/>
              <a:gd name="connsiteY26" fmla="*/ 3824310 h 5264157"/>
              <a:gd name="connsiteX27" fmla="*/ 0 w 4326346"/>
              <a:gd name="connsiteY27" fmla="*/ 3302596 h 5264157"/>
              <a:gd name="connsiteX28" fmla="*/ 499226 w 4326346"/>
              <a:gd name="connsiteY28" fmla="*/ 3045553 h 5264157"/>
              <a:gd name="connsiteX29" fmla="*/ 1285615 w 4326346"/>
              <a:gd name="connsiteY29" fmla="*/ 2872051 h 5264157"/>
              <a:gd name="connsiteX30" fmla="*/ 2210961 w 4326346"/>
              <a:gd name="connsiteY30" fmla="*/ 0 h 5264157"/>
              <a:gd name="connsiteX31" fmla="*/ 3819086 w 4326346"/>
              <a:gd name="connsiteY31" fmla="*/ 736993 h 5264157"/>
              <a:gd name="connsiteX32" fmla="*/ 4231561 w 4326346"/>
              <a:gd name="connsiteY32" fmla="*/ 1477996 h 5264157"/>
              <a:gd name="connsiteX33" fmla="*/ 4320721 w 4326346"/>
              <a:gd name="connsiteY33" fmla="*/ 1904123 h 5264157"/>
              <a:gd name="connsiteX34" fmla="*/ 4326346 w 4326346"/>
              <a:gd name="connsiteY34" fmla="*/ 1983248 h 5264157"/>
              <a:gd name="connsiteX35" fmla="*/ 3998213 w 4326346"/>
              <a:gd name="connsiteY35" fmla="*/ 2169201 h 5264157"/>
              <a:gd name="connsiteX36" fmla="*/ 3831137 w 4326346"/>
              <a:gd name="connsiteY36" fmla="*/ 2261577 h 5264157"/>
              <a:gd name="connsiteX37" fmla="*/ 3826319 w 4326346"/>
              <a:gd name="connsiteY37" fmla="*/ 2263985 h 5264157"/>
              <a:gd name="connsiteX38" fmla="*/ 3823903 w 4326346"/>
              <a:gd name="connsiteY38" fmla="*/ 2265186 h 5264157"/>
              <a:gd name="connsiteX39" fmla="*/ 3011410 w 4326346"/>
              <a:gd name="connsiteY39" fmla="*/ 2452347 h 5264157"/>
              <a:gd name="connsiteX40" fmla="*/ 2023000 w 4326346"/>
              <a:gd name="connsiteY40" fmla="*/ 2169201 h 5264157"/>
              <a:gd name="connsiteX41" fmla="*/ 1285614 w 4326346"/>
              <a:gd name="connsiteY41" fmla="*/ 1953121 h 5264157"/>
              <a:gd name="connsiteX42" fmla="*/ 549422 w 4326346"/>
              <a:gd name="connsiteY42" fmla="*/ 2169201 h 5264157"/>
              <a:gd name="connsiteX43" fmla="*/ 499625 w 4326346"/>
              <a:gd name="connsiteY43" fmla="*/ 2197713 h 5264157"/>
              <a:gd name="connsiteX44" fmla="*/ 398 w 4326346"/>
              <a:gd name="connsiteY44" fmla="*/ 2404958 h 5264157"/>
              <a:gd name="connsiteX45" fmla="*/ 398 w 4326346"/>
              <a:gd name="connsiteY45" fmla="*/ 1884446 h 5264157"/>
              <a:gd name="connsiteX46" fmla="*/ 298812 w 4326346"/>
              <a:gd name="connsiteY46" fmla="*/ 1737047 h 5264157"/>
              <a:gd name="connsiteX47" fmla="*/ 499625 w 4326346"/>
              <a:gd name="connsiteY47" fmla="*/ 1626195 h 5264157"/>
              <a:gd name="connsiteX48" fmla="*/ 1286014 w 4326346"/>
              <a:gd name="connsiteY48" fmla="*/ 1453901 h 5264157"/>
              <a:gd name="connsiteX49" fmla="*/ 2274425 w 4326346"/>
              <a:gd name="connsiteY49" fmla="*/ 1737047 h 5264157"/>
              <a:gd name="connsiteX50" fmla="*/ 3011811 w 4326346"/>
              <a:gd name="connsiteY50" fmla="*/ 1953121 h 5264157"/>
              <a:gd name="connsiteX51" fmla="*/ 3698198 w 4326346"/>
              <a:gd name="connsiteY51" fmla="*/ 1765967 h 5264157"/>
              <a:gd name="connsiteX52" fmla="*/ 3781332 w 4326346"/>
              <a:gd name="connsiteY52" fmla="*/ 1719378 h 5264157"/>
              <a:gd name="connsiteX53" fmla="*/ 3440354 w 4326346"/>
              <a:gd name="connsiteY53" fmla="*/ 1062311 h 5264157"/>
              <a:gd name="connsiteX54" fmla="*/ 2210961 w 4326346"/>
              <a:gd name="connsiteY54" fmla="*/ 498827 h 5264157"/>
              <a:gd name="connsiteX55" fmla="*/ 1506912 w 4326346"/>
              <a:gd name="connsiteY55" fmla="*/ 660678 h 5264157"/>
              <a:gd name="connsiteX56" fmla="*/ 1438631 w 4326346"/>
              <a:gd name="connsiteY56" fmla="*/ 695622 h 5264157"/>
              <a:gd name="connsiteX57" fmla="*/ 1438631 w 4326346"/>
              <a:gd name="connsiteY57" fmla="*/ 145791 h 5264157"/>
              <a:gd name="connsiteX58" fmla="*/ 1506912 w 4326346"/>
              <a:gd name="connsiteY58" fmla="*/ 120888 h 5264157"/>
              <a:gd name="connsiteX59" fmla="*/ 2210961 w 4326346"/>
              <a:gd name="connsiteY59" fmla="*/ 0 h 526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326346" h="5264157">
                <a:moveTo>
                  <a:pt x="1285623" y="4311889"/>
                </a:moveTo>
                <a:cubicBezTo>
                  <a:pt x="1598890" y="4311889"/>
                  <a:pt x="1816171" y="4370529"/>
                  <a:pt x="1992088" y="4448045"/>
                </a:cubicBezTo>
                <a:cubicBezTo>
                  <a:pt x="2070805" y="4481782"/>
                  <a:pt x="2398939" y="4667735"/>
                  <a:pt x="2464404" y="4699864"/>
                </a:cubicBezTo>
                <a:lnTo>
                  <a:pt x="2058754" y="5048077"/>
                </a:lnTo>
                <a:cubicBezTo>
                  <a:pt x="2046310" y="5040450"/>
                  <a:pt x="2035060" y="5034424"/>
                  <a:pt x="2022609" y="5026791"/>
                </a:cubicBezTo>
                <a:cubicBezTo>
                  <a:pt x="1947909" y="4983011"/>
                  <a:pt x="1876818" y="4942048"/>
                  <a:pt x="1798101" y="4907103"/>
                </a:cubicBezTo>
                <a:cubicBezTo>
                  <a:pt x="1722994" y="4874975"/>
                  <a:pt x="1643069" y="4848471"/>
                  <a:pt x="1545876" y="4832403"/>
                </a:cubicBezTo>
                <a:cubicBezTo>
                  <a:pt x="1469968" y="4818744"/>
                  <a:pt x="1385225" y="4811117"/>
                  <a:pt x="1285223" y="4811117"/>
                </a:cubicBezTo>
                <a:cubicBezTo>
                  <a:pt x="922144" y="4811117"/>
                  <a:pt x="748642" y="4911120"/>
                  <a:pt x="549030" y="5027191"/>
                </a:cubicBezTo>
                <a:cubicBezTo>
                  <a:pt x="532970" y="5036833"/>
                  <a:pt x="516902" y="5045668"/>
                  <a:pt x="499233" y="5055710"/>
                </a:cubicBezTo>
                <a:cubicBezTo>
                  <a:pt x="361877" y="5134427"/>
                  <a:pt x="209654" y="5215560"/>
                  <a:pt x="6" y="5264157"/>
                </a:cubicBezTo>
                <a:lnTo>
                  <a:pt x="6" y="4742436"/>
                </a:lnTo>
                <a:cubicBezTo>
                  <a:pt x="110051" y="4704682"/>
                  <a:pt x="201219" y="4652475"/>
                  <a:pt x="298420" y="4595037"/>
                </a:cubicBezTo>
                <a:cubicBezTo>
                  <a:pt x="361877" y="4558891"/>
                  <a:pt x="426942" y="4520336"/>
                  <a:pt x="499233" y="4485391"/>
                </a:cubicBezTo>
                <a:cubicBezTo>
                  <a:pt x="689203" y="4391814"/>
                  <a:pt x="924960" y="4311889"/>
                  <a:pt x="1285623" y="4311889"/>
                </a:cubicBezTo>
                <a:close/>
                <a:moveTo>
                  <a:pt x="1285615" y="2872051"/>
                </a:moveTo>
                <a:cubicBezTo>
                  <a:pt x="2272017" y="2863217"/>
                  <a:pt x="2314188" y="3499793"/>
                  <a:pt x="3266045" y="3351193"/>
                </a:cubicBezTo>
                <a:lnTo>
                  <a:pt x="3267253" y="3349985"/>
                </a:lnTo>
                <a:cubicBezTo>
                  <a:pt x="3370872" y="3333924"/>
                  <a:pt x="3455614" y="3305005"/>
                  <a:pt x="3534331" y="3268860"/>
                </a:cubicBezTo>
                <a:cubicBezTo>
                  <a:pt x="3754828" y="3168857"/>
                  <a:pt x="3903835" y="3041136"/>
                  <a:pt x="4157661" y="2959603"/>
                </a:cubicBezTo>
                <a:cubicBezTo>
                  <a:pt x="4023114" y="3284927"/>
                  <a:pt x="3784548" y="3581326"/>
                  <a:pt x="3496177" y="3811866"/>
                </a:cubicBezTo>
                <a:cubicBezTo>
                  <a:pt x="3347177" y="3854437"/>
                  <a:pt x="3113829" y="3877731"/>
                  <a:pt x="2912208" y="3869297"/>
                </a:cubicBezTo>
                <a:cubicBezTo>
                  <a:pt x="2832283" y="3865680"/>
                  <a:pt x="2758785" y="3858047"/>
                  <a:pt x="2690110" y="3846803"/>
                </a:cubicBezTo>
                <a:cubicBezTo>
                  <a:pt x="2389288" y="3800615"/>
                  <a:pt x="2196109" y="3689770"/>
                  <a:pt x="2022600" y="3588559"/>
                </a:cubicBezTo>
                <a:cubicBezTo>
                  <a:pt x="1822995" y="3472489"/>
                  <a:pt x="1649487" y="3371278"/>
                  <a:pt x="1285215" y="3371278"/>
                </a:cubicBezTo>
                <a:cubicBezTo>
                  <a:pt x="922137" y="3371278"/>
                  <a:pt x="748635" y="3472489"/>
                  <a:pt x="549024" y="3587351"/>
                </a:cubicBezTo>
                <a:cubicBezTo>
                  <a:pt x="383956" y="3682136"/>
                  <a:pt x="236158" y="3768487"/>
                  <a:pt x="0" y="3824310"/>
                </a:cubicBezTo>
                <a:lnTo>
                  <a:pt x="0" y="3302596"/>
                </a:lnTo>
                <a:cubicBezTo>
                  <a:pt x="184345" y="3238739"/>
                  <a:pt x="323309" y="3130295"/>
                  <a:pt x="499226" y="3045553"/>
                </a:cubicBezTo>
                <a:cubicBezTo>
                  <a:pt x="689196" y="2951976"/>
                  <a:pt x="924953" y="2872051"/>
                  <a:pt x="1285615" y="2872051"/>
                </a:cubicBezTo>
                <a:close/>
                <a:moveTo>
                  <a:pt x="2210961" y="0"/>
                </a:moveTo>
                <a:cubicBezTo>
                  <a:pt x="2806981" y="0"/>
                  <a:pt x="3399384" y="249810"/>
                  <a:pt x="3819086" y="736993"/>
                </a:cubicBezTo>
                <a:cubicBezTo>
                  <a:pt x="4011464" y="960700"/>
                  <a:pt x="4147619" y="1213319"/>
                  <a:pt x="4231561" y="1477996"/>
                </a:cubicBezTo>
                <a:cubicBezTo>
                  <a:pt x="4276541" y="1611735"/>
                  <a:pt x="4303853" y="1761142"/>
                  <a:pt x="4320721" y="1904123"/>
                </a:cubicBezTo>
                <a:cubicBezTo>
                  <a:pt x="4324337" y="1931835"/>
                  <a:pt x="4325539" y="1955937"/>
                  <a:pt x="4326346" y="1983248"/>
                </a:cubicBezTo>
                <a:cubicBezTo>
                  <a:pt x="4211477" y="2041887"/>
                  <a:pt x="4068095" y="2127830"/>
                  <a:pt x="3998213" y="2169201"/>
                </a:cubicBezTo>
                <a:cubicBezTo>
                  <a:pt x="3944798" y="2200529"/>
                  <a:pt x="3889776" y="2231449"/>
                  <a:pt x="3831137" y="2261577"/>
                </a:cubicBezTo>
                <a:cubicBezTo>
                  <a:pt x="3829929" y="2262778"/>
                  <a:pt x="3827520" y="2262778"/>
                  <a:pt x="3826319" y="2263985"/>
                </a:cubicBezTo>
                <a:cubicBezTo>
                  <a:pt x="3825111" y="2263985"/>
                  <a:pt x="3825111" y="2265186"/>
                  <a:pt x="3823903" y="2265186"/>
                </a:cubicBezTo>
                <a:cubicBezTo>
                  <a:pt x="3629116" y="2366397"/>
                  <a:pt x="3388141" y="2452347"/>
                  <a:pt x="3011410" y="2452347"/>
                </a:cubicBezTo>
                <a:cubicBezTo>
                  <a:pt x="2513392" y="2452347"/>
                  <a:pt x="2252732" y="2301339"/>
                  <a:pt x="2023000" y="2169201"/>
                </a:cubicBezTo>
                <a:cubicBezTo>
                  <a:pt x="1823395" y="2053130"/>
                  <a:pt x="1649886" y="1953121"/>
                  <a:pt x="1285614" y="1953121"/>
                </a:cubicBezTo>
                <a:cubicBezTo>
                  <a:pt x="922536" y="1953121"/>
                  <a:pt x="749034" y="2053130"/>
                  <a:pt x="549422" y="2169201"/>
                </a:cubicBezTo>
                <a:cubicBezTo>
                  <a:pt x="533361" y="2178836"/>
                  <a:pt x="517293" y="2187677"/>
                  <a:pt x="499625" y="2197713"/>
                </a:cubicBezTo>
                <a:cubicBezTo>
                  <a:pt x="362268" y="2275229"/>
                  <a:pt x="210045" y="2356362"/>
                  <a:pt x="398" y="2404958"/>
                </a:cubicBezTo>
                <a:lnTo>
                  <a:pt x="398" y="1884446"/>
                </a:lnTo>
                <a:cubicBezTo>
                  <a:pt x="110443" y="1847092"/>
                  <a:pt x="201611" y="1793278"/>
                  <a:pt x="298812" y="1737047"/>
                </a:cubicBezTo>
                <a:cubicBezTo>
                  <a:pt x="362268" y="1699694"/>
                  <a:pt x="427326" y="1662340"/>
                  <a:pt x="499625" y="1626195"/>
                </a:cubicBezTo>
                <a:cubicBezTo>
                  <a:pt x="689594" y="1532618"/>
                  <a:pt x="925352" y="1453901"/>
                  <a:pt x="1286014" y="1453901"/>
                </a:cubicBezTo>
                <a:cubicBezTo>
                  <a:pt x="1785241" y="1453901"/>
                  <a:pt x="2044693" y="1603708"/>
                  <a:pt x="2274425" y="1737047"/>
                </a:cubicBezTo>
                <a:cubicBezTo>
                  <a:pt x="2474030" y="1853118"/>
                  <a:pt x="2647539" y="1953121"/>
                  <a:pt x="3011811" y="1953121"/>
                </a:cubicBezTo>
                <a:cubicBezTo>
                  <a:pt x="3345162" y="1953121"/>
                  <a:pt x="3517063" y="1869586"/>
                  <a:pt x="3698198" y="1765967"/>
                </a:cubicBezTo>
                <a:lnTo>
                  <a:pt x="3781332" y="1719378"/>
                </a:lnTo>
                <a:cubicBezTo>
                  <a:pt x="3720691" y="1479604"/>
                  <a:pt x="3606222" y="1255089"/>
                  <a:pt x="3440354" y="1062311"/>
                </a:cubicBezTo>
                <a:cubicBezTo>
                  <a:pt x="3132298" y="704057"/>
                  <a:pt x="2684084" y="498827"/>
                  <a:pt x="2210961" y="498827"/>
                </a:cubicBezTo>
                <a:cubicBezTo>
                  <a:pt x="1965569" y="498827"/>
                  <a:pt x="1724993" y="555050"/>
                  <a:pt x="1506912" y="660678"/>
                </a:cubicBezTo>
                <a:lnTo>
                  <a:pt x="1438631" y="695622"/>
                </a:lnTo>
                <a:lnTo>
                  <a:pt x="1438631" y="145791"/>
                </a:lnTo>
                <a:lnTo>
                  <a:pt x="1506912" y="120888"/>
                </a:lnTo>
                <a:cubicBezTo>
                  <a:pt x="1735036" y="40563"/>
                  <a:pt x="1973202" y="0"/>
                  <a:pt x="2210961" y="0"/>
                </a:cubicBezTo>
                <a:close/>
              </a:path>
            </a:pathLst>
          </a:custGeom>
          <a:gradFill>
            <a:gsLst>
              <a:gs pos="5000">
                <a:schemeClr val="bg1">
                  <a:alpha val="80000"/>
                </a:schemeClr>
              </a:gs>
              <a:gs pos="100000">
                <a:schemeClr val="bg1">
                  <a:alpha val="75000"/>
                </a:schemeClr>
              </a:gs>
            </a:gsLst>
            <a:lin ang="18900000" scaled="1"/>
          </a:gradFill>
        </p:spPr>
        <p:txBody>
          <a:bodyPr wrap="square" anchor="b">
            <a:noAutofit/>
          </a:bodyPr>
          <a:lstStyle>
            <a:lvl1pPr marL="0" indent="0" algn="ctr" defTabSz="914400" rtl="0" eaLnBrk="1" latinLnBrk="0" hangingPunct="1">
              <a:lnSpc>
                <a:spcPct val="95000"/>
              </a:lnSpc>
              <a:spcBef>
                <a:spcPts val="500"/>
              </a:spcBef>
              <a:spcAft>
                <a:spcPts val="500"/>
              </a:spcAft>
              <a:buClr>
                <a:schemeClr val="accent1"/>
              </a:buClr>
              <a:buSzPct val="75000"/>
              <a:buFontTx/>
              <a:buNone/>
              <a:defRPr sz="100" kern="1200" baseline="0">
                <a:solidFill>
                  <a:schemeClr val="tx1">
                    <a:alpha val="0"/>
                  </a:schemeClr>
                </a:solidFill>
                <a:latin typeface="+mn-lt"/>
                <a:ea typeface="+mn-ea"/>
                <a:cs typeface="+mn-cs"/>
              </a:defRPr>
            </a:lvl1pPr>
            <a:lvl2pPr marL="355600" indent="-177800" algn="l" defTabSz="914400" rtl="0" eaLnBrk="1" latinLnBrk="0" hangingPunct="1">
              <a:lnSpc>
                <a:spcPct val="95000"/>
              </a:lnSpc>
              <a:spcBef>
                <a:spcPts val="500"/>
              </a:spcBef>
              <a:spcAft>
                <a:spcPts val="500"/>
              </a:spcAft>
              <a:buClr>
                <a:schemeClr val="accent2">
                  <a:lumMod val="90000"/>
                </a:schemeClr>
              </a:buClr>
              <a:buSzPct val="110000"/>
              <a:buFont typeface="Arial" panose="020B0604020202020204" pitchFamily="34" charset="0"/>
              <a:buChar char="•"/>
              <a:tabLst/>
              <a:defRPr sz="1600" kern="1200" baseline="0">
                <a:solidFill>
                  <a:schemeClr val="tx2">
                    <a:lumMod val="90000"/>
                    <a:lumOff val="10000"/>
                  </a:schemeClr>
                </a:solidFill>
                <a:latin typeface="+mn-lt"/>
                <a:ea typeface="+mn-ea"/>
                <a:cs typeface="+mn-cs"/>
              </a:defRPr>
            </a:lvl2pPr>
            <a:lvl3pPr marL="531813" indent="-171450" algn="l" defTabSz="914400" rtl="0" eaLnBrk="1" latinLnBrk="0" hangingPunct="1">
              <a:lnSpc>
                <a:spcPct val="95000"/>
              </a:lnSpc>
              <a:spcBef>
                <a:spcPts val="500"/>
              </a:spcBef>
              <a:spcAft>
                <a:spcPts val="500"/>
              </a:spcAft>
              <a:buClr>
                <a:schemeClr val="accent3"/>
              </a:buClr>
              <a:buFont typeface="Segoe UI Light" panose="020B0502040204020203" pitchFamily="34" charset="0"/>
              <a:buChar char="–"/>
              <a:defRPr sz="1600" kern="1200" baseline="0">
                <a:solidFill>
                  <a:schemeClr val="tx2">
                    <a:lumMod val="90000"/>
                    <a:lumOff val="10000"/>
                  </a:schemeClr>
                </a:solidFill>
                <a:latin typeface="+mn-lt"/>
                <a:ea typeface="+mn-ea"/>
                <a:cs typeface="+mn-cs"/>
              </a:defRPr>
            </a:lvl3pPr>
            <a:lvl4pPr marL="0" indent="0" algn="l" defTabSz="914400" rtl="0" eaLnBrk="1" latinLnBrk="0" hangingPunct="1">
              <a:lnSpc>
                <a:spcPct val="95000"/>
              </a:lnSpc>
              <a:spcBef>
                <a:spcPts val="500"/>
              </a:spcBef>
              <a:spcAft>
                <a:spcPts val="500"/>
              </a:spcAft>
              <a:buFont typeface="Arial" panose="020B0604020202020204" pitchFamily="34" charset="0"/>
              <a:buNone/>
              <a:defRPr sz="1600" kern="1200" baseline="0">
                <a:solidFill>
                  <a:schemeClr val="tx2">
                    <a:lumMod val="90000"/>
                    <a:lumOff val="10000"/>
                  </a:schemeClr>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800" b="0" kern="1200" spc="-30" baseline="0">
                <a:ln w="6350">
                  <a:noFill/>
                </a:ln>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kern="1200" cap="none" spc="-50" baseline="0">
                <a:ln w="12700">
                  <a:noFill/>
                </a:ln>
                <a:solidFill>
                  <a:schemeClr val="accent3"/>
                </a:solidFill>
                <a:latin typeface="Arial" panose="020B0604020202020204" pitchFamily="34" charset="0"/>
                <a:ea typeface="+mn-ea"/>
                <a:cs typeface="+mn-cs"/>
              </a:defRPr>
            </a:lvl6pPr>
            <a:lvl7pPr marL="268288" indent="-268288" algn="l" defTabSz="914400" rtl="0" eaLnBrk="1" latinLnBrk="0" hangingPunct="1">
              <a:lnSpc>
                <a:spcPct val="95000"/>
              </a:lnSpc>
              <a:spcBef>
                <a:spcPts val="500"/>
              </a:spcBef>
              <a:spcAft>
                <a:spcPts val="500"/>
              </a:spcAft>
              <a:buClr>
                <a:schemeClr val="accent1"/>
              </a:buClr>
              <a:buFont typeface="+mj-lt"/>
              <a:buAutoNum type="arabicPeriod"/>
              <a:tabLst/>
              <a:defRPr sz="1600" kern="1200" baseline="0">
                <a:solidFill>
                  <a:schemeClr val="tx2">
                    <a:lumMod val="90000"/>
                    <a:lumOff val="10000"/>
                  </a:schemeClr>
                </a:solidFill>
                <a:latin typeface="+mn-lt"/>
                <a:ea typeface="+mn-ea"/>
                <a:cs typeface="+mn-cs"/>
              </a:defRPr>
            </a:lvl7pPr>
            <a:lvl8pPr marL="536575" indent="-268288" algn="l" defTabSz="914400" rtl="0" eaLnBrk="1" latinLnBrk="0" hangingPunct="1">
              <a:lnSpc>
                <a:spcPct val="95000"/>
              </a:lnSpc>
              <a:spcBef>
                <a:spcPts val="500"/>
              </a:spcBef>
              <a:spcAft>
                <a:spcPts val="500"/>
              </a:spcAft>
              <a:buClr>
                <a:schemeClr val="accent2">
                  <a:lumMod val="90000"/>
                </a:schemeClr>
              </a:buClr>
              <a:buFont typeface="+mj-lt"/>
              <a:buAutoNum type="alphaLcPeriod"/>
              <a:defRPr sz="1600" kern="1200" baseline="0">
                <a:solidFill>
                  <a:schemeClr val="tx2">
                    <a:lumMod val="90000"/>
                    <a:lumOff val="10000"/>
                  </a:schemeClr>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800" b="1" i="0" kern="1200" spc="50" baseline="0">
                <a:ln w="12700" cap="rnd">
                  <a:solidFill>
                    <a:schemeClr val="bg2">
                      <a:lumMod val="75000"/>
                    </a:schemeClr>
                  </a:solidFill>
                </a:ln>
                <a:solidFill>
                  <a:schemeClr val="bg2">
                    <a:lumMod val="75000"/>
                  </a:schemeClr>
                </a:solidFill>
                <a:latin typeface="Arial" panose="020B0604020202020204" pitchFamily="34" charset="0"/>
                <a:ea typeface="+mn-ea"/>
                <a:cs typeface="+mn-cs"/>
              </a:defRPr>
            </a:lvl9pPr>
          </a:lstStyle>
          <a:p>
            <a:r>
              <a:rPr lang="nl-NL"/>
              <a:t>(leeg)</a:t>
            </a:r>
            <a:endParaRPr lang="nl-NL" dirty="0"/>
          </a:p>
        </p:txBody>
      </p:sp>
      <p:pic>
        <p:nvPicPr>
          <p:cNvPr id="19" name="Afbeelding 18" descr="Afbeelding met persoon, kleding, Menselijk gezicht, glimlach&#10;&#10;Automatisch gegenereerde beschrijving">
            <a:extLst>
              <a:ext uri="{FF2B5EF4-FFF2-40B4-BE49-F238E27FC236}">
                <a16:creationId xmlns:a16="http://schemas.microsoft.com/office/drawing/2014/main" id="{FB10C7CA-BB54-436B-5901-DAE282124A4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214355" y="723901"/>
            <a:ext cx="2994846" cy="7766958"/>
          </a:xfrm>
          <a:prstGeom prst="rect">
            <a:avLst/>
          </a:prstGeom>
        </p:spPr>
      </p:pic>
      <p:sp>
        <p:nvSpPr>
          <p:cNvPr id="12" name="Tijdelijke aanduiding voor tekst 10">
            <a:extLst>
              <a:ext uri="{FF2B5EF4-FFF2-40B4-BE49-F238E27FC236}">
                <a16:creationId xmlns:a16="http://schemas.microsoft.com/office/drawing/2014/main" id="{9501438E-95B7-5056-F1FD-2DC0DAF045F2}"/>
              </a:ext>
            </a:extLst>
          </p:cNvPr>
          <p:cNvSpPr txBox="1">
            <a:spLocks/>
          </p:cNvSpPr>
          <p:nvPr/>
        </p:nvSpPr>
        <p:spPr>
          <a:xfrm>
            <a:off x="724871" y="1593850"/>
            <a:ext cx="9000000" cy="4391026"/>
          </a:xfrm>
          <a:prstGeom prst="rect">
            <a:avLst/>
          </a:prstGeom>
        </p:spPr>
        <p:txBody>
          <a:bodyPr lIns="720000" tIns="90000" rIns="0" bIns="0"/>
          <a:lstStyle>
            <a:defPPr>
              <a:defRPr lang="nl-NL"/>
            </a:defPPr>
            <a:lvl1pPr marL="174625" indent="-174625">
              <a:lnSpc>
                <a:spcPct val="95000"/>
              </a:lnSpc>
              <a:spcBef>
                <a:spcPts val="500"/>
              </a:spcBef>
              <a:spcAft>
                <a:spcPts val="500"/>
              </a:spcAft>
              <a:buClr>
                <a:schemeClr val="accent1"/>
              </a:buClr>
              <a:buSzPct val="75000"/>
              <a:buFontTx/>
              <a:buBlip>
                <a:blip r:embed="rId6"/>
              </a:buBlip>
              <a:defRPr sz="1600">
                <a:solidFill>
                  <a:schemeClr val="tx2">
                    <a:lumMod val="90000"/>
                    <a:lumOff val="10000"/>
                  </a:schemeClr>
                </a:solidFill>
              </a:defRPr>
            </a:lvl1pPr>
            <a:lvl2pPr marL="355600" indent="-177800">
              <a:lnSpc>
                <a:spcPct val="95000"/>
              </a:lnSpc>
              <a:spcBef>
                <a:spcPts val="500"/>
              </a:spcBef>
              <a:spcAft>
                <a:spcPts val="500"/>
              </a:spcAft>
              <a:buClr>
                <a:schemeClr val="accent2">
                  <a:lumMod val="90000"/>
                </a:schemeClr>
              </a:buClr>
              <a:buSzPct val="110000"/>
              <a:buFont typeface="Arial" panose="020B0604020202020204" pitchFamily="34" charset="0"/>
              <a:buChar char="•"/>
              <a:tabLst/>
              <a:defRPr sz="1600">
                <a:solidFill>
                  <a:schemeClr val="tx2">
                    <a:lumMod val="90000"/>
                    <a:lumOff val="10000"/>
                  </a:schemeClr>
                </a:solidFill>
              </a:defRPr>
            </a:lvl2pPr>
            <a:lvl3pPr marL="531813" indent="-171450">
              <a:lnSpc>
                <a:spcPct val="95000"/>
              </a:lnSpc>
              <a:spcBef>
                <a:spcPts val="500"/>
              </a:spcBef>
              <a:spcAft>
                <a:spcPts val="500"/>
              </a:spcAft>
              <a:buClr>
                <a:schemeClr val="accent3"/>
              </a:buClr>
              <a:buFont typeface="Segoe UI Light" panose="020B0502040204020203" pitchFamily="34" charset="0"/>
              <a:buChar char="–"/>
              <a:defRPr sz="1600">
                <a:solidFill>
                  <a:schemeClr val="tx2">
                    <a:lumMod val="90000"/>
                    <a:lumOff val="10000"/>
                  </a:schemeClr>
                </a:solidFill>
              </a:defRPr>
            </a:lvl3pPr>
            <a:lvl4pPr marL="0" lvl="3" indent="0">
              <a:lnSpc>
                <a:spcPct val="98000"/>
              </a:lnSpc>
              <a:spcBef>
                <a:spcPts val="1200"/>
              </a:spcBef>
              <a:spcAft>
                <a:spcPts val="1200"/>
              </a:spcAft>
              <a:buFont typeface="Arial" panose="020B0604020202020204" pitchFamily="34" charset="0"/>
              <a:buNone/>
              <a:defRPr sz="1600">
                <a:solidFill>
                  <a:schemeClr val="tx2">
                    <a:lumMod val="90000"/>
                    <a:lumOff val="10000"/>
                  </a:schemeClr>
                </a:solidFill>
              </a:defRPr>
            </a:lvl4pPr>
            <a:lvl5pPr marL="0" indent="0">
              <a:lnSpc>
                <a:spcPct val="90000"/>
              </a:lnSpc>
              <a:spcBef>
                <a:spcPts val="600"/>
              </a:spcBef>
              <a:spcAft>
                <a:spcPts val="600"/>
              </a:spcAft>
              <a:buFont typeface="Arial" panose="020B0604020202020204" pitchFamily="34" charset="0"/>
              <a:buNone/>
              <a:defRPr sz="2800" b="0" spc="-30" baseline="0">
                <a:ln w="6350">
                  <a:noFill/>
                </a:ln>
                <a:solidFill>
                  <a:schemeClr val="accent1"/>
                </a:solidFill>
                <a:latin typeface="+mj-lt"/>
              </a:defRPr>
            </a:lvl5pPr>
            <a:lvl6pPr marL="0" indent="0">
              <a:lnSpc>
                <a:spcPct val="90000"/>
              </a:lnSpc>
              <a:spcBef>
                <a:spcPts val="600"/>
              </a:spcBef>
              <a:spcAft>
                <a:spcPts val="600"/>
              </a:spcAft>
              <a:buClr>
                <a:schemeClr val="accent1"/>
              </a:buClr>
              <a:buFont typeface="Arial" panose="020B0604020202020204" pitchFamily="34" charset="0"/>
              <a:buNone/>
              <a:defRPr sz="2400" b="0" cap="none" spc="-50" baseline="0">
                <a:ln w="12700">
                  <a:noFill/>
                </a:ln>
                <a:solidFill>
                  <a:schemeClr val="accent3"/>
                </a:solidFill>
                <a:latin typeface="Arial" panose="020B0604020202020204" pitchFamily="34" charset="0"/>
              </a:defRPr>
            </a:lvl6pPr>
            <a:lvl7pPr marL="268288" indent="-268288">
              <a:lnSpc>
                <a:spcPct val="95000"/>
              </a:lnSpc>
              <a:spcBef>
                <a:spcPts val="500"/>
              </a:spcBef>
              <a:spcAft>
                <a:spcPts val="500"/>
              </a:spcAft>
              <a:buClr>
                <a:schemeClr val="accent1"/>
              </a:buClr>
              <a:buFont typeface="+mj-lt"/>
              <a:buAutoNum type="arabicPeriod"/>
              <a:tabLst/>
              <a:defRPr sz="1600">
                <a:solidFill>
                  <a:schemeClr val="tx2">
                    <a:lumMod val="90000"/>
                    <a:lumOff val="10000"/>
                  </a:schemeClr>
                </a:solidFill>
              </a:defRPr>
            </a:lvl7pPr>
            <a:lvl8pPr marL="536575" indent="-268288">
              <a:lnSpc>
                <a:spcPct val="95000"/>
              </a:lnSpc>
              <a:spcBef>
                <a:spcPts val="500"/>
              </a:spcBef>
              <a:spcAft>
                <a:spcPts val="500"/>
              </a:spcAft>
              <a:buClr>
                <a:schemeClr val="accent2">
                  <a:lumMod val="90000"/>
                </a:schemeClr>
              </a:buClr>
              <a:buFont typeface="+mj-lt"/>
              <a:buAutoNum type="alphaLcPeriod"/>
              <a:defRPr sz="1600">
                <a:solidFill>
                  <a:schemeClr val="tx2">
                    <a:lumMod val="90000"/>
                    <a:lumOff val="10000"/>
                  </a:schemeClr>
                </a:solidFill>
              </a:defRPr>
            </a:lvl8pPr>
            <a:lvl9pPr marL="0" indent="0">
              <a:lnSpc>
                <a:spcPct val="90000"/>
              </a:lnSpc>
              <a:spcBef>
                <a:spcPts val="600"/>
              </a:spcBef>
              <a:spcAft>
                <a:spcPts val="600"/>
              </a:spcAft>
              <a:buClr>
                <a:schemeClr val="accent1"/>
              </a:buClr>
              <a:buFont typeface="Arial" panose="020B0604020202020204" pitchFamily="34" charset="0"/>
              <a:buNone/>
              <a:defRPr b="1" i="0" spc="50" baseline="0">
                <a:ln w="12700" cap="rnd">
                  <a:solidFill>
                    <a:schemeClr val="bg2">
                      <a:lumMod val="75000"/>
                    </a:schemeClr>
                  </a:solidFill>
                </a:ln>
                <a:solidFill>
                  <a:schemeClr val="bg2">
                    <a:lumMod val="75000"/>
                  </a:schemeClr>
                </a:solidFill>
                <a:latin typeface="Arial" panose="020B0604020202020204" pitchFamily="34" charset="0"/>
              </a:defRPr>
            </a:lvl9pPr>
          </a:lstStyle>
          <a:p>
            <a:pPr lvl="3"/>
            <a:r>
              <a:rPr lang="nl-NL" sz="2000" dirty="0"/>
              <a:t>Brede aanpak</a:t>
            </a:r>
            <a:br>
              <a:rPr lang="nl-NL" sz="2000" dirty="0"/>
            </a:br>
            <a:r>
              <a:rPr lang="nl-NL" sz="2000" i="1" dirty="0"/>
              <a:t>gelijkgericht, samen verantwoordelijk voor resultaat, meetbaar</a:t>
            </a:r>
          </a:p>
          <a:p>
            <a:pPr lvl="3"/>
            <a:r>
              <a:rPr lang="nl-NL" sz="2000" dirty="0"/>
              <a:t>Positieve gezondheid</a:t>
            </a:r>
          </a:p>
          <a:p>
            <a:pPr lvl="3"/>
            <a:r>
              <a:rPr lang="nl-NL" sz="2000" dirty="0"/>
              <a:t>Inwonerparticipatie </a:t>
            </a:r>
          </a:p>
          <a:p>
            <a:pPr lvl="3"/>
            <a:r>
              <a:rPr lang="nl-NL" sz="2000" dirty="0"/>
              <a:t>1</a:t>
            </a:r>
            <a:r>
              <a:rPr lang="nl-NL" sz="2000" baseline="30000" dirty="0"/>
              <a:t>e</a:t>
            </a:r>
            <a:r>
              <a:rPr lang="nl-NL" sz="2000" dirty="0"/>
              <a:t> tranche IZA-gelden:</a:t>
            </a:r>
            <a:br>
              <a:rPr lang="nl-NL" sz="2000" dirty="0"/>
            </a:br>
            <a:r>
              <a:rPr lang="nl-NL" sz="2000" dirty="0"/>
              <a:t>-Kerngezond</a:t>
            </a:r>
            <a:br>
              <a:rPr lang="nl-NL" sz="2000" dirty="0"/>
            </a:br>
            <a:r>
              <a:rPr lang="nl-NL" sz="2000" dirty="0"/>
              <a:t>-Digitalisering</a:t>
            </a:r>
            <a:br>
              <a:rPr lang="nl-NL" sz="2000" dirty="0"/>
            </a:br>
            <a:r>
              <a:rPr lang="nl-NL" sz="2000" dirty="0"/>
              <a:t>-Acute Zorg</a:t>
            </a:r>
          </a:p>
          <a:p>
            <a:pPr lvl="3"/>
            <a:endParaRPr lang="nl-NL" sz="2000" dirty="0"/>
          </a:p>
          <a:p>
            <a:pPr lvl="3"/>
            <a:endParaRPr lang="nl-NL" sz="2000" dirty="0"/>
          </a:p>
        </p:txBody>
      </p:sp>
      <p:sp>
        <p:nvSpPr>
          <p:cNvPr id="4" name="Tijdelijke aanduiding voor tekst 48">
            <a:extLst>
              <a:ext uri="{FF2B5EF4-FFF2-40B4-BE49-F238E27FC236}">
                <a16:creationId xmlns:a16="http://schemas.microsoft.com/office/drawing/2014/main" id="{E41E6C6B-46A1-85B7-3941-56BA19A9868C}"/>
              </a:ext>
            </a:extLst>
          </p:cNvPr>
          <p:cNvSpPr txBox="1">
            <a:spLocks/>
          </p:cNvSpPr>
          <p:nvPr/>
        </p:nvSpPr>
        <p:spPr>
          <a:xfrm>
            <a:off x="719139" y="6270625"/>
            <a:ext cx="1316183" cy="301625"/>
          </a:xfrm>
          <a:prstGeom prst="rect">
            <a:avLst/>
          </a:prstGeom>
          <a:blipFill>
            <a:blip r:embed="rId7"/>
            <a:srcRect/>
            <a:stretch>
              <a:fillRect t="107" b="107"/>
            </a:stretch>
          </a:blipFill>
        </p:spPr>
        <p:txBody>
          <a:bodyPr vert="horz" wrap="square" lIns="0" tIns="0" rIns="0" bIns="1260000" rtlCol="0" anchor="b" anchorCtr="0">
            <a:noAutofit/>
          </a:bodyPr>
          <a:lstStyle>
            <a:lvl1pPr marL="0" indent="0" algn="ctr" defTabSz="914400" rtl="0" eaLnBrk="1" latinLnBrk="0" hangingPunct="1">
              <a:lnSpc>
                <a:spcPct val="100000"/>
              </a:lnSpc>
              <a:spcBef>
                <a:spcPts val="0"/>
              </a:spcBef>
              <a:spcAft>
                <a:spcPts val="0"/>
              </a:spcAft>
              <a:buClr>
                <a:schemeClr val="accent1"/>
              </a:buClr>
              <a:buSzPct val="75000"/>
              <a:buFontTx/>
              <a:buNone/>
              <a:defRPr sz="100" i="1" kern="1200" baseline="0">
                <a:solidFill>
                  <a:schemeClr val="tx1">
                    <a:alpha val="0"/>
                  </a:schemeClr>
                </a:solidFill>
                <a:latin typeface="+mn-lt"/>
                <a:ea typeface="+mn-ea"/>
                <a:cs typeface="+mn-cs"/>
              </a:defRPr>
            </a:lvl1pPr>
            <a:lvl2pPr marL="355600" indent="-177800" algn="l" defTabSz="914400" rtl="0" eaLnBrk="1" latinLnBrk="0" hangingPunct="1">
              <a:lnSpc>
                <a:spcPct val="95000"/>
              </a:lnSpc>
              <a:spcBef>
                <a:spcPts val="500"/>
              </a:spcBef>
              <a:spcAft>
                <a:spcPts val="500"/>
              </a:spcAft>
              <a:buClr>
                <a:schemeClr val="accent2">
                  <a:lumMod val="90000"/>
                </a:schemeClr>
              </a:buClr>
              <a:buSzPct val="110000"/>
              <a:buFont typeface="Arial" panose="020B0604020202020204" pitchFamily="34" charset="0"/>
              <a:buChar char="•"/>
              <a:tabLst/>
              <a:defRPr sz="1600" kern="1200" baseline="0">
                <a:solidFill>
                  <a:schemeClr val="tx2">
                    <a:lumMod val="90000"/>
                    <a:lumOff val="10000"/>
                  </a:schemeClr>
                </a:solidFill>
                <a:latin typeface="+mn-lt"/>
                <a:ea typeface="+mn-ea"/>
                <a:cs typeface="+mn-cs"/>
              </a:defRPr>
            </a:lvl2pPr>
            <a:lvl3pPr marL="531813" indent="-171450" algn="l" defTabSz="914400" rtl="0" eaLnBrk="1" latinLnBrk="0" hangingPunct="1">
              <a:lnSpc>
                <a:spcPct val="95000"/>
              </a:lnSpc>
              <a:spcBef>
                <a:spcPts val="500"/>
              </a:spcBef>
              <a:spcAft>
                <a:spcPts val="500"/>
              </a:spcAft>
              <a:buClr>
                <a:schemeClr val="accent3"/>
              </a:buClr>
              <a:buFont typeface="Segoe UI Light" panose="020B0502040204020203" pitchFamily="34" charset="0"/>
              <a:buChar char="–"/>
              <a:defRPr sz="1600" kern="1200" baseline="0">
                <a:solidFill>
                  <a:schemeClr val="tx2">
                    <a:lumMod val="90000"/>
                    <a:lumOff val="10000"/>
                  </a:schemeClr>
                </a:solidFill>
                <a:latin typeface="+mn-lt"/>
                <a:ea typeface="+mn-ea"/>
                <a:cs typeface="+mn-cs"/>
              </a:defRPr>
            </a:lvl3pPr>
            <a:lvl4pPr marL="0" indent="0" algn="l" defTabSz="914400" rtl="0" eaLnBrk="1" latinLnBrk="0" hangingPunct="1">
              <a:lnSpc>
                <a:spcPct val="95000"/>
              </a:lnSpc>
              <a:spcBef>
                <a:spcPts val="500"/>
              </a:spcBef>
              <a:spcAft>
                <a:spcPts val="500"/>
              </a:spcAft>
              <a:buFont typeface="Arial" panose="020B0604020202020204" pitchFamily="34" charset="0"/>
              <a:buNone/>
              <a:defRPr sz="1600" kern="1200" baseline="0">
                <a:solidFill>
                  <a:schemeClr val="tx2">
                    <a:lumMod val="90000"/>
                    <a:lumOff val="10000"/>
                  </a:schemeClr>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800" b="0" kern="1200" spc="-30" baseline="0">
                <a:ln w="6350">
                  <a:noFill/>
                </a:ln>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kern="1200" cap="none" spc="-50" baseline="0">
                <a:ln w="12700">
                  <a:noFill/>
                </a:ln>
                <a:solidFill>
                  <a:schemeClr val="accent3"/>
                </a:solidFill>
                <a:latin typeface="Arial" panose="020B0604020202020204" pitchFamily="34" charset="0"/>
                <a:ea typeface="+mn-ea"/>
                <a:cs typeface="+mn-cs"/>
              </a:defRPr>
            </a:lvl6pPr>
            <a:lvl7pPr marL="268288" indent="-268288" algn="l" defTabSz="914400" rtl="0" eaLnBrk="1" latinLnBrk="0" hangingPunct="1">
              <a:lnSpc>
                <a:spcPct val="95000"/>
              </a:lnSpc>
              <a:spcBef>
                <a:spcPts val="500"/>
              </a:spcBef>
              <a:spcAft>
                <a:spcPts val="500"/>
              </a:spcAft>
              <a:buClr>
                <a:schemeClr val="accent1"/>
              </a:buClr>
              <a:buFont typeface="+mj-lt"/>
              <a:buAutoNum type="arabicPeriod"/>
              <a:tabLst/>
              <a:defRPr sz="1600" kern="1200" baseline="0">
                <a:solidFill>
                  <a:schemeClr val="tx2">
                    <a:lumMod val="90000"/>
                    <a:lumOff val="10000"/>
                  </a:schemeClr>
                </a:solidFill>
                <a:latin typeface="+mn-lt"/>
                <a:ea typeface="+mn-ea"/>
                <a:cs typeface="+mn-cs"/>
              </a:defRPr>
            </a:lvl7pPr>
            <a:lvl8pPr marL="536575" indent="-268288" algn="l" defTabSz="914400" rtl="0" eaLnBrk="1" latinLnBrk="0" hangingPunct="1">
              <a:lnSpc>
                <a:spcPct val="95000"/>
              </a:lnSpc>
              <a:spcBef>
                <a:spcPts val="500"/>
              </a:spcBef>
              <a:spcAft>
                <a:spcPts val="500"/>
              </a:spcAft>
              <a:buClr>
                <a:schemeClr val="accent2">
                  <a:lumMod val="90000"/>
                </a:schemeClr>
              </a:buClr>
              <a:buFont typeface="+mj-lt"/>
              <a:buAutoNum type="alphaLcPeriod"/>
              <a:defRPr sz="1600" kern="1200" baseline="0">
                <a:solidFill>
                  <a:schemeClr val="tx2">
                    <a:lumMod val="90000"/>
                    <a:lumOff val="10000"/>
                  </a:schemeClr>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800" b="1" i="0" kern="1200" spc="50" baseline="0">
                <a:ln w="12700" cap="rnd">
                  <a:solidFill>
                    <a:schemeClr val="bg2">
                      <a:lumMod val="75000"/>
                    </a:schemeClr>
                  </a:solidFill>
                </a:ln>
                <a:solidFill>
                  <a:schemeClr val="bg2">
                    <a:lumMod val="75000"/>
                  </a:schemeClr>
                </a:solidFill>
                <a:latin typeface="Arial" panose="020B0604020202020204" pitchFamily="34" charset="0"/>
                <a:ea typeface="+mn-ea"/>
                <a:cs typeface="+mn-cs"/>
              </a:defRPr>
            </a:lvl9pPr>
          </a:lstStyle>
          <a:p>
            <a:r>
              <a:rPr lang="nl-NL"/>
              <a:t>(leeg)</a:t>
            </a:r>
            <a:endParaRPr lang="nl-NL" dirty="0"/>
          </a:p>
        </p:txBody>
      </p:sp>
      <p:sp>
        <p:nvSpPr>
          <p:cNvPr id="5" name="Tijdelijke aanduiding voor datum 4">
            <a:extLst>
              <a:ext uri="{FF2B5EF4-FFF2-40B4-BE49-F238E27FC236}">
                <a16:creationId xmlns:a16="http://schemas.microsoft.com/office/drawing/2014/main" id="{E6BDC841-E47A-F57B-424C-013F3E73E73E}"/>
              </a:ext>
            </a:extLst>
          </p:cNvPr>
          <p:cNvSpPr>
            <a:spLocks noGrp="1"/>
          </p:cNvSpPr>
          <p:nvPr>
            <p:ph type="dt" sz="half" idx="27"/>
          </p:nvPr>
        </p:nvSpPr>
        <p:spPr/>
        <p:txBody>
          <a:bodyPr/>
          <a:lstStyle/>
          <a:p>
            <a:fld id="{98AC2FD1-4D18-4EE1-9C2F-7230C8602D88}" type="datetime4">
              <a:rPr lang="nl-NL" smtClean="0"/>
              <a:t>10 oktober 2023</a:t>
            </a:fld>
            <a:endParaRPr lang="nl-NL" dirty="0"/>
          </a:p>
        </p:txBody>
      </p:sp>
      <p:sp>
        <p:nvSpPr>
          <p:cNvPr id="10" name="Tijdelijke aanduiding voor voettekst 9">
            <a:extLst>
              <a:ext uri="{FF2B5EF4-FFF2-40B4-BE49-F238E27FC236}">
                <a16:creationId xmlns:a16="http://schemas.microsoft.com/office/drawing/2014/main" id="{0A9B8837-D470-B38A-169B-6B211ED4F9EB}"/>
              </a:ext>
            </a:extLst>
          </p:cNvPr>
          <p:cNvSpPr>
            <a:spLocks noGrp="1"/>
          </p:cNvSpPr>
          <p:nvPr>
            <p:ph type="ftr" sz="quarter" idx="28"/>
          </p:nvPr>
        </p:nvSpPr>
        <p:spPr/>
        <p:txBody>
          <a:bodyPr/>
          <a:lstStyle/>
          <a:p>
            <a:pPr algn="r"/>
            <a:r>
              <a:rPr lang="nl-NL"/>
              <a:t>Zeeuwse Zorg Coalitie  |  Plaats hier je voettekst</a:t>
            </a:r>
            <a:endParaRPr lang="nl-NL" dirty="0"/>
          </a:p>
        </p:txBody>
      </p:sp>
      <p:sp>
        <p:nvSpPr>
          <p:cNvPr id="16" name="Tijdelijke aanduiding voor dianummer 15">
            <a:extLst>
              <a:ext uri="{FF2B5EF4-FFF2-40B4-BE49-F238E27FC236}">
                <a16:creationId xmlns:a16="http://schemas.microsoft.com/office/drawing/2014/main" id="{A17A13EB-4D5E-B61C-414E-5845E46A19E6}"/>
              </a:ext>
            </a:extLst>
          </p:cNvPr>
          <p:cNvSpPr>
            <a:spLocks noGrp="1"/>
          </p:cNvSpPr>
          <p:nvPr>
            <p:ph type="sldNum" sz="quarter" idx="29"/>
          </p:nvPr>
        </p:nvSpPr>
        <p:spPr/>
        <p:txBody>
          <a:bodyPr/>
          <a:lstStyle/>
          <a:p>
            <a:fld id="{9E843DB9-9987-4157-AB9C-CEA8D7D910BB}" type="slidenum">
              <a:rPr lang="nl-NL" smtClean="0"/>
              <a:pPr/>
              <a:t>11</a:t>
            </a:fld>
            <a:endParaRPr lang="nl-NL" dirty="0"/>
          </a:p>
        </p:txBody>
      </p:sp>
    </p:spTree>
    <p:custDataLst>
      <p:tags r:id="rId1"/>
    </p:custDataLst>
    <p:extLst>
      <p:ext uri="{BB962C8B-B14F-4D97-AF65-F5344CB8AC3E}">
        <p14:creationId xmlns:p14="http://schemas.microsoft.com/office/powerpoint/2010/main" val="1153089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iterate type="lt">
                                    <p:tmPct val="10000"/>
                                  </p:iterate>
                                  <p:childTnLst>
                                    <p:set>
                                      <p:cBhvr>
                                        <p:cTn id="6" dur="1" fill="hold">
                                          <p:stCondLst>
                                            <p:cond delay="0"/>
                                          </p:stCondLst>
                                        </p:cTn>
                                        <p:tgtEl>
                                          <p:spTgt spid="13"/>
                                        </p:tgtEl>
                                        <p:attrNameLst>
                                          <p:attrName>style.visibility</p:attrName>
                                        </p:attrNameLst>
                                      </p:cBhvr>
                                      <p:to>
                                        <p:strVal val="visible"/>
                                      </p:to>
                                    </p:set>
                                    <p:animEffect transition="in" filter="fade">
                                      <p:cBhvr>
                                        <p:cTn id="7" dur="400"/>
                                        <p:tgtEl>
                                          <p:spTgt spid="13"/>
                                        </p:tgtEl>
                                      </p:cBhvr>
                                    </p:animEffect>
                                  </p:childTnLst>
                                </p:cTn>
                              </p:par>
                              <p:par>
                                <p:cTn id="8" presetID="42" presetClass="path" presetSubtype="0" decel="100000" fill="hold" grpId="1" nodeType="withEffect">
                                  <p:stCondLst>
                                    <p:cond delay="0"/>
                                  </p:stCondLst>
                                  <p:iterate type="lt">
                                    <p:tmPct val="10000"/>
                                  </p:iterate>
                                  <p:childTnLst>
                                    <p:animMotion origin="layout" path="M -0.01719 -0.00023 L 0 2.22222E-6 " pathEditMode="relative" rAng="0" ptsTypes="AA">
                                      <p:cBhvr>
                                        <p:cTn id="9" dur="400" fill="hold"/>
                                        <p:tgtEl>
                                          <p:spTgt spid="13"/>
                                        </p:tgtEl>
                                        <p:attrNameLst>
                                          <p:attrName>ppt_x</p:attrName>
                                          <p:attrName>ppt_y</p:attrName>
                                        </p:attrNameLst>
                                      </p:cBhvr>
                                      <p:rCtr x="859" y="0"/>
                                    </p:animMotion>
                                  </p:childTnLst>
                                </p:cTn>
                              </p:par>
                            </p:childTnLst>
                          </p:cTn>
                        </p:par>
                        <p:par>
                          <p:cTn id="10" fill="hold">
                            <p:stCondLst>
                              <p:cond delay="1320"/>
                            </p:stCondLst>
                            <p:childTnLst>
                              <p:par>
                                <p:cTn id="11" presetID="10" presetClass="entr" presetSubtype="0" fill="hold" nodeType="afterEffect">
                                  <p:stCondLst>
                                    <p:cond delay="0"/>
                                  </p:stCondLst>
                                  <p:childTnLst>
                                    <p:set>
                                      <p:cBhvr>
                                        <p:cTn id="12" dur="1" fill="hold">
                                          <p:stCondLst>
                                            <p:cond delay="0"/>
                                          </p:stCondLst>
                                        </p:cTn>
                                        <p:tgtEl>
                                          <p:spTgt spid="12">
                                            <p:txEl>
                                              <p:pRg st="0" end="0"/>
                                            </p:txEl>
                                          </p:spTgt>
                                        </p:tgtEl>
                                        <p:attrNameLst>
                                          <p:attrName>style.visibility</p:attrName>
                                        </p:attrNameLst>
                                      </p:cBhvr>
                                      <p:to>
                                        <p:strVal val="visible"/>
                                      </p:to>
                                    </p:set>
                                    <p:animEffect transition="in" filter="fade">
                                      <p:cBhvr>
                                        <p:cTn id="13" dur="750"/>
                                        <p:tgtEl>
                                          <p:spTgt spid="12">
                                            <p:txEl>
                                              <p:pRg st="0" end="0"/>
                                            </p:txEl>
                                          </p:spTgt>
                                        </p:tgtEl>
                                      </p:cBhvr>
                                    </p:animEffect>
                                  </p:childTnLst>
                                </p:cTn>
                              </p:par>
                            </p:childTnLst>
                          </p:cTn>
                        </p:par>
                        <p:par>
                          <p:cTn id="14" fill="hold">
                            <p:stCondLst>
                              <p:cond delay="2070"/>
                            </p:stCondLst>
                            <p:childTnLst>
                              <p:par>
                                <p:cTn id="15" presetID="10" presetClass="entr" presetSubtype="0" fill="hold" nodeType="afterEffect">
                                  <p:stCondLst>
                                    <p:cond delay="0"/>
                                  </p:stCondLst>
                                  <p:childTnLst>
                                    <p:set>
                                      <p:cBhvr>
                                        <p:cTn id="16" dur="1" fill="hold">
                                          <p:stCondLst>
                                            <p:cond delay="0"/>
                                          </p:stCondLst>
                                        </p:cTn>
                                        <p:tgtEl>
                                          <p:spTgt spid="12">
                                            <p:txEl>
                                              <p:pRg st="1" end="1"/>
                                            </p:txEl>
                                          </p:spTgt>
                                        </p:tgtEl>
                                        <p:attrNameLst>
                                          <p:attrName>style.visibility</p:attrName>
                                        </p:attrNameLst>
                                      </p:cBhvr>
                                      <p:to>
                                        <p:strVal val="visible"/>
                                      </p:to>
                                    </p:set>
                                    <p:animEffect transition="in" filter="fade">
                                      <p:cBhvr>
                                        <p:cTn id="17" dur="750"/>
                                        <p:tgtEl>
                                          <p:spTgt spid="12">
                                            <p:txEl>
                                              <p:pRg st="1" end="1"/>
                                            </p:txEl>
                                          </p:spTgt>
                                        </p:tgtEl>
                                      </p:cBhvr>
                                    </p:animEffect>
                                  </p:childTnLst>
                                </p:cTn>
                              </p:par>
                            </p:childTnLst>
                          </p:cTn>
                        </p:par>
                        <p:par>
                          <p:cTn id="18" fill="hold">
                            <p:stCondLst>
                              <p:cond delay="2820"/>
                            </p:stCondLst>
                            <p:childTnLst>
                              <p:par>
                                <p:cTn id="19" presetID="10" presetClass="entr" presetSubtype="0" fill="hold" nodeType="afterEffect">
                                  <p:stCondLst>
                                    <p:cond delay="0"/>
                                  </p:stCondLst>
                                  <p:childTnLst>
                                    <p:set>
                                      <p:cBhvr>
                                        <p:cTn id="20" dur="1" fill="hold">
                                          <p:stCondLst>
                                            <p:cond delay="0"/>
                                          </p:stCondLst>
                                        </p:cTn>
                                        <p:tgtEl>
                                          <p:spTgt spid="12">
                                            <p:txEl>
                                              <p:pRg st="2" end="2"/>
                                            </p:txEl>
                                          </p:spTgt>
                                        </p:tgtEl>
                                        <p:attrNameLst>
                                          <p:attrName>style.visibility</p:attrName>
                                        </p:attrNameLst>
                                      </p:cBhvr>
                                      <p:to>
                                        <p:strVal val="visible"/>
                                      </p:to>
                                    </p:set>
                                    <p:animEffect transition="in" filter="fade">
                                      <p:cBhvr>
                                        <p:cTn id="21" dur="750"/>
                                        <p:tgtEl>
                                          <p:spTgt spid="12">
                                            <p:txEl>
                                              <p:pRg st="2" end="2"/>
                                            </p:txEl>
                                          </p:spTgt>
                                        </p:tgtEl>
                                      </p:cBhvr>
                                    </p:animEffect>
                                  </p:childTnLst>
                                </p:cTn>
                              </p:par>
                            </p:childTnLst>
                          </p:cTn>
                        </p:par>
                        <p:par>
                          <p:cTn id="22" fill="hold">
                            <p:stCondLst>
                              <p:cond delay="3570"/>
                            </p:stCondLst>
                            <p:childTnLst>
                              <p:par>
                                <p:cTn id="23" presetID="10" presetClass="entr" presetSubtype="0" fill="hold" nodeType="afterEffect">
                                  <p:stCondLst>
                                    <p:cond delay="0"/>
                                  </p:stCondLst>
                                  <p:childTnLst>
                                    <p:set>
                                      <p:cBhvr>
                                        <p:cTn id="24" dur="1" fill="hold">
                                          <p:stCondLst>
                                            <p:cond delay="0"/>
                                          </p:stCondLst>
                                        </p:cTn>
                                        <p:tgtEl>
                                          <p:spTgt spid="12">
                                            <p:txEl>
                                              <p:pRg st="3" end="3"/>
                                            </p:txEl>
                                          </p:spTgt>
                                        </p:tgtEl>
                                        <p:attrNameLst>
                                          <p:attrName>style.visibility</p:attrName>
                                        </p:attrNameLst>
                                      </p:cBhvr>
                                      <p:to>
                                        <p:strVal val="visible"/>
                                      </p:to>
                                    </p:set>
                                    <p:animEffect transition="in" filter="fade">
                                      <p:cBhvr>
                                        <p:cTn id="25" dur="750"/>
                                        <p:tgtEl>
                                          <p:spTgt spid="12">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3"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Vrije vorm: vorm 1">
            <a:extLst>
              <a:ext uri="{FF2B5EF4-FFF2-40B4-BE49-F238E27FC236}">
                <a16:creationId xmlns:a16="http://schemas.microsoft.com/office/drawing/2014/main" id="{D535CC12-E19E-084D-A8FF-5EBC57D67C29}"/>
              </a:ext>
            </a:extLst>
          </p:cNvPr>
          <p:cNvSpPr txBox="1">
            <a:spLocks/>
          </p:cNvSpPr>
          <p:nvPr/>
        </p:nvSpPr>
        <p:spPr>
          <a:xfrm>
            <a:off x="7865653" y="1593843"/>
            <a:ext cx="4326346" cy="5264157"/>
          </a:xfrm>
          <a:custGeom>
            <a:avLst/>
            <a:gdLst>
              <a:gd name="connsiteX0" fmla="*/ 1285623 w 4326346"/>
              <a:gd name="connsiteY0" fmla="*/ 4311889 h 5264157"/>
              <a:gd name="connsiteX1" fmla="*/ 1992088 w 4326346"/>
              <a:gd name="connsiteY1" fmla="*/ 4448045 h 5264157"/>
              <a:gd name="connsiteX2" fmla="*/ 2464404 w 4326346"/>
              <a:gd name="connsiteY2" fmla="*/ 4699864 h 5264157"/>
              <a:gd name="connsiteX3" fmla="*/ 2058754 w 4326346"/>
              <a:gd name="connsiteY3" fmla="*/ 5048077 h 5264157"/>
              <a:gd name="connsiteX4" fmla="*/ 2022609 w 4326346"/>
              <a:gd name="connsiteY4" fmla="*/ 5026791 h 5264157"/>
              <a:gd name="connsiteX5" fmla="*/ 1798101 w 4326346"/>
              <a:gd name="connsiteY5" fmla="*/ 4907103 h 5264157"/>
              <a:gd name="connsiteX6" fmla="*/ 1545876 w 4326346"/>
              <a:gd name="connsiteY6" fmla="*/ 4832403 h 5264157"/>
              <a:gd name="connsiteX7" fmla="*/ 1285223 w 4326346"/>
              <a:gd name="connsiteY7" fmla="*/ 4811117 h 5264157"/>
              <a:gd name="connsiteX8" fmla="*/ 549030 w 4326346"/>
              <a:gd name="connsiteY8" fmla="*/ 5027191 h 5264157"/>
              <a:gd name="connsiteX9" fmla="*/ 499233 w 4326346"/>
              <a:gd name="connsiteY9" fmla="*/ 5055710 h 5264157"/>
              <a:gd name="connsiteX10" fmla="*/ 6 w 4326346"/>
              <a:gd name="connsiteY10" fmla="*/ 5264157 h 5264157"/>
              <a:gd name="connsiteX11" fmla="*/ 6 w 4326346"/>
              <a:gd name="connsiteY11" fmla="*/ 4742436 h 5264157"/>
              <a:gd name="connsiteX12" fmla="*/ 298420 w 4326346"/>
              <a:gd name="connsiteY12" fmla="*/ 4595037 h 5264157"/>
              <a:gd name="connsiteX13" fmla="*/ 499233 w 4326346"/>
              <a:gd name="connsiteY13" fmla="*/ 4485391 h 5264157"/>
              <a:gd name="connsiteX14" fmla="*/ 1285623 w 4326346"/>
              <a:gd name="connsiteY14" fmla="*/ 4311889 h 5264157"/>
              <a:gd name="connsiteX15" fmla="*/ 1285615 w 4326346"/>
              <a:gd name="connsiteY15" fmla="*/ 2872051 h 5264157"/>
              <a:gd name="connsiteX16" fmla="*/ 3266045 w 4326346"/>
              <a:gd name="connsiteY16" fmla="*/ 3351193 h 5264157"/>
              <a:gd name="connsiteX17" fmla="*/ 3267253 w 4326346"/>
              <a:gd name="connsiteY17" fmla="*/ 3349985 h 5264157"/>
              <a:gd name="connsiteX18" fmla="*/ 3534331 w 4326346"/>
              <a:gd name="connsiteY18" fmla="*/ 3268860 h 5264157"/>
              <a:gd name="connsiteX19" fmla="*/ 4157661 w 4326346"/>
              <a:gd name="connsiteY19" fmla="*/ 2959603 h 5264157"/>
              <a:gd name="connsiteX20" fmla="*/ 3496177 w 4326346"/>
              <a:gd name="connsiteY20" fmla="*/ 3811866 h 5264157"/>
              <a:gd name="connsiteX21" fmla="*/ 2912208 w 4326346"/>
              <a:gd name="connsiteY21" fmla="*/ 3869297 h 5264157"/>
              <a:gd name="connsiteX22" fmla="*/ 2690110 w 4326346"/>
              <a:gd name="connsiteY22" fmla="*/ 3846803 h 5264157"/>
              <a:gd name="connsiteX23" fmla="*/ 2022600 w 4326346"/>
              <a:gd name="connsiteY23" fmla="*/ 3588559 h 5264157"/>
              <a:gd name="connsiteX24" fmla="*/ 1285215 w 4326346"/>
              <a:gd name="connsiteY24" fmla="*/ 3371278 h 5264157"/>
              <a:gd name="connsiteX25" fmla="*/ 549024 w 4326346"/>
              <a:gd name="connsiteY25" fmla="*/ 3587351 h 5264157"/>
              <a:gd name="connsiteX26" fmla="*/ 0 w 4326346"/>
              <a:gd name="connsiteY26" fmla="*/ 3824310 h 5264157"/>
              <a:gd name="connsiteX27" fmla="*/ 0 w 4326346"/>
              <a:gd name="connsiteY27" fmla="*/ 3302596 h 5264157"/>
              <a:gd name="connsiteX28" fmla="*/ 499226 w 4326346"/>
              <a:gd name="connsiteY28" fmla="*/ 3045553 h 5264157"/>
              <a:gd name="connsiteX29" fmla="*/ 1285615 w 4326346"/>
              <a:gd name="connsiteY29" fmla="*/ 2872051 h 5264157"/>
              <a:gd name="connsiteX30" fmla="*/ 2210961 w 4326346"/>
              <a:gd name="connsiteY30" fmla="*/ 0 h 5264157"/>
              <a:gd name="connsiteX31" fmla="*/ 3819086 w 4326346"/>
              <a:gd name="connsiteY31" fmla="*/ 736993 h 5264157"/>
              <a:gd name="connsiteX32" fmla="*/ 4231561 w 4326346"/>
              <a:gd name="connsiteY32" fmla="*/ 1477996 h 5264157"/>
              <a:gd name="connsiteX33" fmla="*/ 4320721 w 4326346"/>
              <a:gd name="connsiteY33" fmla="*/ 1904123 h 5264157"/>
              <a:gd name="connsiteX34" fmla="*/ 4326346 w 4326346"/>
              <a:gd name="connsiteY34" fmla="*/ 1983248 h 5264157"/>
              <a:gd name="connsiteX35" fmla="*/ 3998213 w 4326346"/>
              <a:gd name="connsiteY35" fmla="*/ 2169201 h 5264157"/>
              <a:gd name="connsiteX36" fmla="*/ 3831137 w 4326346"/>
              <a:gd name="connsiteY36" fmla="*/ 2261577 h 5264157"/>
              <a:gd name="connsiteX37" fmla="*/ 3826319 w 4326346"/>
              <a:gd name="connsiteY37" fmla="*/ 2263985 h 5264157"/>
              <a:gd name="connsiteX38" fmla="*/ 3823903 w 4326346"/>
              <a:gd name="connsiteY38" fmla="*/ 2265186 h 5264157"/>
              <a:gd name="connsiteX39" fmla="*/ 3011410 w 4326346"/>
              <a:gd name="connsiteY39" fmla="*/ 2452347 h 5264157"/>
              <a:gd name="connsiteX40" fmla="*/ 2023000 w 4326346"/>
              <a:gd name="connsiteY40" fmla="*/ 2169201 h 5264157"/>
              <a:gd name="connsiteX41" fmla="*/ 1285614 w 4326346"/>
              <a:gd name="connsiteY41" fmla="*/ 1953121 h 5264157"/>
              <a:gd name="connsiteX42" fmla="*/ 549422 w 4326346"/>
              <a:gd name="connsiteY42" fmla="*/ 2169201 h 5264157"/>
              <a:gd name="connsiteX43" fmla="*/ 499625 w 4326346"/>
              <a:gd name="connsiteY43" fmla="*/ 2197713 h 5264157"/>
              <a:gd name="connsiteX44" fmla="*/ 398 w 4326346"/>
              <a:gd name="connsiteY44" fmla="*/ 2404958 h 5264157"/>
              <a:gd name="connsiteX45" fmla="*/ 398 w 4326346"/>
              <a:gd name="connsiteY45" fmla="*/ 1884446 h 5264157"/>
              <a:gd name="connsiteX46" fmla="*/ 298812 w 4326346"/>
              <a:gd name="connsiteY46" fmla="*/ 1737047 h 5264157"/>
              <a:gd name="connsiteX47" fmla="*/ 499625 w 4326346"/>
              <a:gd name="connsiteY47" fmla="*/ 1626195 h 5264157"/>
              <a:gd name="connsiteX48" fmla="*/ 1286014 w 4326346"/>
              <a:gd name="connsiteY48" fmla="*/ 1453901 h 5264157"/>
              <a:gd name="connsiteX49" fmla="*/ 2274425 w 4326346"/>
              <a:gd name="connsiteY49" fmla="*/ 1737047 h 5264157"/>
              <a:gd name="connsiteX50" fmla="*/ 3011811 w 4326346"/>
              <a:gd name="connsiteY50" fmla="*/ 1953121 h 5264157"/>
              <a:gd name="connsiteX51" fmla="*/ 3698198 w 4326346"/>
              <a:gd name="connsiteY51" fmla="*/ 1765967 h 5264157"/>
              <a:gd name="connsiteX52" fmla="*/ 3781332 w 4326346"/>
              <a:gd name="connsiteY52" fmla="*/ 1719378 h 5264157"/>
              <a:gd name="connsiteX53" fmla="*/ 3440354 w 4326346"/>
              <a:gd name="connsiteY53" fmla="*/ 1062311 h 5264157"/>
              <a:gd name="connsiteX54" fmla="*/ 2210961 w 4326346"/>
              <a:gd name="connsiteY54" fmla="*/ 498827 h 5264157"/>
              <a:gd name="connsiteX55" fmla="*/ 1506912 w 4326346"/>
              <a:gd name="connsiteY55" fmla="*/ 660678 h 5264157"/>
              <a:gd name="connsiteX56" fmla="*/ 1438631 w 4326346"/>
              <a:gd name="connsiteY56" fmla="*/ 695622 h 5264157"/>
              <a:gd name="connsiteX57" fmla="*/ 1438631 w 4326346"/>
              <a:gd name="connsiteY57" fmla="*/ 145791 h 5264157"/>
              <a:gd name="connsiteX58" fmla="*/ 1506912 w 4326346"/>
              <a:gd name="connsiteY58" fmla="*/ 120888 h 5264157"/>
              <a:gd name="connsiteX59" fmla="*/ 2210961 w 4326346"/>
              <a:gd name="connsiteY59" fmla="*/ 0 h 52641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326346" h="5264157">
                <a:moveTo>
                  <a:pt x="1285623" y="4311889"/>
                </a:moveTo>
                <a:cubicBezTo>
                  <a:pt x="1598890" y="4311889"/>
                  <a:pt x="1816171" y="4370529"/>
                  <a:pt x="1992088" y="4448045"/>
                </a:cubicBezTo>
                <a:cubicBezTo>
                  <a:pt x="2070805" y="4481782"/>
                  <a:pt x="2398939" y="4667735"/>
                  <a:pt x="2464404" y="4699864"/>
                </a:cubicBezTo>
                <a:lnTo>
                  <a:pt x="2058754" y="5048077"/>
                </a:lnTo>
                <a:cubicBezTo>
                  <a:pt x="2046310" y="5040450"/>
                  <a:pt x="2035060" y="5034424"/>
                  <a:pt x="2022609" y="5026791"/>
                </a:cubicBezTo>
                <a:cubicBezTo>
                  <a:pt x="1947909" y="4983011"/>
                  <a:pt x="1876818" y="4942048"/>
                  <a:pt x="1798101" y="4907103"/>
                </a:cubicBezTo>
                <a:cubicBezTo>
                  <a:pt x="1722994" y="4874975"/>
                  <a:pt x="1643069" y="4848471"/>
                  <a:pt x="1545876" y="4832403"/>
                </a:cubicBezTo>
                <a:cubicBezTo>
                  <a:pt x="1469968" y="4818744"/>
                  <a:pt x="1385225" y="4811117"/>
                  <a:pt x="1285223" y="4811117"/>
                </a:cubicBezTo>
                <a:cubicBezTo>
                  <a:pt x="922144" y="4811117"/>
                  <a:pt x="748642" y="4911120"/>
                  <a:pt x="549030" y="5027191"/>
                </a:cubicBezTo>
                <a:cubicBezTo>
                  <a:pt x="532970" y="5036833"/>
                  <a:pt x="516902" y="5045668"/>
                  <a:pt x="499233" y="5055710"/>
                </a:cubicBezTo>
                <a:cubicBezTo>
                  <a:pt x="361877" y="5134427"/>
                  <a:pt x="209654" y="5215560"/>
                  <a:pt x="6" y="5264157"/>
                </a:cubicBezTo>
                <a:lnTo>
                  <a:pt x="6" y="4742436"/>
                </a:lnTo>
                <a:cubicBezTo>
                  <a:pt x="110051" y="4704682"/>
                  <a:pt x="201219" y="4652475"/>
                  <a:pt x="298420" y="4595037"/>
                </a:cubicBezTo>
                <a:cubicBezTo>
                  <a:pt x="361877" y="4558891"/>
                  <a:pt x="426942" y="4520336"/>
                  <a:pt x="499233" y="4485391"/>
                </a:cubicBezTo>
                <a:cubicBezTo>
                  <a:pt x="689203" y="4391814"/>
                  <a:pt x="924960" y="4311889"/>
                  <a:pt x="1285623" y="4311889"/>
                </a:cubicBezTo>
                <a:close/>
                <a:moveTo>
                  <a:pt x="1285615" y="2872051"/>
                </a:moveTo>
                <a:cubicBezTo>
                  <a:pt x="2272017" y="2863217"/>
                  <a:pt x="2314188" y="3499793"/>
                  <a:pt x="3266045" y="3351193"/>
                </a:cubicBezTo>
                <a:lnTo>
                  <a:pt x="3267253" y="3349985"/>
                </a:lnTo>
                <a:cubicBezTo>
                  <a:pt x="3370872" y="3333924"/>
                  <a:pt x="3455614" y="3305005"/>
                  <a:pt x="3534331" y="3268860"/>
                </a:cubicBezTo>
                <a:cubicBezTo>
                  <a:pt x="3754828" y="3168857"/>
                  <a:pt x="3903835" y="3041136"/>
                  <a:pt x="4157661" y="2959603"/>
                </a:cubicBezTo>
                <a:cubicBezTo>
                  <a:pt x="4023114" y="3284927"/>
                  <a:pt x="3784548" y="3581326"/>
                  <a:pt x="3496177" y="3811866"/>
                </a:cubicBezTo>
                <a:cubicBezTo>
                  <a:pt x="3347177" y="3854437"/>
                  <a:pt x="3113829" y="3877731"/>
                  <a:pt x="2912208" y="3869297"/>
                </a:cubicBezTo>
                <a:cubicBezTo>
                  <a:pt x="2832283" y="3865680"/>
                  <a:pt x="2758785" y="3858047"/>
                  <a:pt x="2690110" y="3846803"/>
                </a:cubicBezTo>
                <a:cubicBezTo>
                  <a:pt x="2389288" y="3800615"/>
                  <a:pt x="2196109" y="3689770"/>
                  <a:pt x="2022600" y="3588559"/>
                </a:cubicBezTo>
                <a:cubicBezTo>
                  <a:pt x="1822995" y="3472489"/>
                  <a:pt x="1649487" y="3371278"/>
                  <a:pt x="1285215" y="3371278"/>
                </a:cubicBezTo>
                <a:cubicBezTo>
                  <a:pt x="922137" y="3371278"/>
                  <a:pt x="748635" y="3472489"/>
                  <a:pt x="549024" y="3587351"/>
                </a:cubicBezTo>
                <a:cubicBezTo>
                  <a:pt x="383956" y="3682136"/>
                  <a:pt x="236158" y="3768487"/>
                  <a:pt x="0" y="3824310"/>
                </a:cubicBezTo>
                <a:lnTo>
                  <a:pt x="0" y="3302596"/>
                </a:lnTo>
                <a:cubicBezTo>
                  <a:pt x="184345" y="3238739"/>
                  <a:pt x="323309" y="3130295"/>
                  <a:pt x="499226" y="3045553"/>
                </a:cubicBezTo>
                <a:cubicBezTo>
                  <a:pt x="689196" y="2951976"/>
                  <a:pt x="924953" y="2872051"/>
                  <a:pt x="1285615" y="2872051"/>
                </a:cubicBezTo>
                <a:close/>
                <a:moveTo>
                  <a:pt x="2210961" y="0"/>
                </a:moveTo>
                <a:cubicBezTo>
                  <a:pt x="2806981" y="0"/>
                  <a:pt x="3399384" y="249810"/>
                  <a:pt x="3819086" y="736993"/>
                </a:cubicBezTo>
                <a:cubicBezTo>
                  <a:pt x="4011464" y="960700"/>
                  <a:pt x="4147619" y="1213319"/>
                  <a:pt x="4231561" y="1477996"/>
                </a:cubicBezTo>
                <a:cubicBezTo>
                  <a:pt x="4276541" y="1611735"/>
                  <a:pt x="4303853" y="1761142"/>
                  <a:pt x="4320721" y="1904123"/>
                </a:cubicBezTo>
                <a:cubicBezTo>
                  <a:pt x="4324337" y="1931835"/>
                  <a:pt x="4325539" y="1955937"/>
                  <a:pt x="4326346" y="1983248"/>
                </a:cubicBezTo>
                <a:cubicBezTo>
                  <a:pt x="4211477" y="2041887"/>
                  <a:pt x="4068095" y="2127830"/>
                  <a:pt x="3998213" y="2169201"/>
                </a:cubicBezTo>
                <a:cubicBezTo>
                  <a:pt x="3944798" y="2200529"/>
                  <a:pt x="3889776" y="2231449"/>
                  <a:pt x="3831137" y="2261577"/>
                </a:cubicBezTo>
                <a:cubicBezTo>
                  <a:pt x="3829929" y="2262778"/>
                  <a:pt x="3827520" y="2262778"/>
                  <a:pt x="3826319" y="2263985"/>
                </a:cubicBezTo>
                <a:cubicBezTo>
                  <a:pt x="3825111" y="2263985"/>
                  <a:pt x="3825111" y="2265186"/>
                  <a:pt x="3823903" y="2265186"/>
                </a:cubicBezTo>
                <a:cubicBezTo>
                  <a:pt x="3629116" y="2366397"/>
                  <a:pt x="3388141" y="2452347"/>
                  <a:pt x="3011410" y="2452347"/>
                </a:cubicBezTo>
                <a:cubicBezTo>
                  <a:pt x="2513392" y="2452347"/>
                  <a:pt x="2252732" y="2301339"/>
                  <a:pt x="2023000" y="2169201"/>
                </a:cubicBezTo>
                <a:cubicBezTo>
                  <a:pt x="1823395" y="2053130"/>
                  <a:pt x="1649886" y="1953121"/>
                  <a:pt x="1285614" y="1953121"/>
                </a:cubicBezTo>
                <a:cubicBezTo>
                  <a:pt x="922536" y="1953121"/>
                  <a:pt x="749034" y="2053130"/>
                  <a:pt x="549422" y="2169201"/>
                </a:cubicBezTo>
                <a:cubicBezTo>
                  <a:pt x="533361" y="2178836"/>
                  <a:pt x="517293" y="2187677"/>
                  <a:pt x="499625" y="2197713"/>
                </a:cubicBezTo>
                <a:cubicBezTo>
                  <a:pt x="362268" y="2275229"/>
                  <a:pt x="210045" y="2356362"/>
                  <a:pt x="398" y="2404958"/>
                </a:cubicBezTo>
                <a:lnTo>
                  <a:pt x="398" y="1884446"/>
                </a:lnTo>
                <a:cubicBezTo>
                  <a:pt x="110443" y="1847092"/>
                  <a:pt x="201611" y="1793278"/>
                  <a:pt x="298812" y="1737047"/>
                </a:cubicBezTo>
                <a:cubicBezTo>
                  <a:pt x="362268" y="1699694"/>
                  <a:pt x="427326" y="1662340"/>
                  <a:pt x="499625" y="1626195"/>
                </a:cubicBezTo>
                <a:cubicBezTo>
                  <a:pt x="689594" y="1532618"/>
                  <a:pt x="925352" y="1453901"/>
                  <a:pt x="1286014" y="1453901"/>
                </a:cubicBezTo>
                <a:cubicBezTo>
                  <a:pt x="1785241" y="1453901"/>
                  <a:pt x="2044693" y="1603708"/>
                  <a:pt x="2274425" y="1737047"/>
                </a:cubicBezTo>
                <a:cubicBezTo>
                  <a:pt x="2474030" y="1853118"/>
                  <a:pt x="2647539" y="1953121"/>
                  <a:pt x="3011811" y="1953121"/>
                </a:cubicBezTo>
                <a:cubicBezTo>
                  <a:pt x="3345162" y="1953121"/>
                  <a:pt x="3517063" y="1869586"/>
                  <a:pt x="3698198" y="1765967"/>
                </a:cubicBezTo>
                <a:lnTo>
                  <a:pt x="3781332" y="1719378"/>
                </a:lnTo>
                <a:cubicBezTo>
                  <a:pt x="3720691" y="1479604"/>
                  <a:pt x="3606222" y="1255089"/>
                  <a:pt x="3440354" y="1062311"/>
                </a:cubicBezTo>
                <a:cubicBezTo>
                  <a:pt x="3132298" y="704057"/>
                  <a:pt x="2684084" y="498827"/>
                  <a:pt x="2210961" y="498827"/>
                </a:cubicBezTo>
                <a:cubicBezTo>
                  <a:pt x="1965569" y="498827"/>
                  <a:pt x="1724993" y="555050"/>
                  <a:pt x="1506912" y="660678"/>
                </a:cubicBezTo>
                <a:lnTo>
                  <a:pt x="1438631" y="695622"/>
                </a:lnTo>
                <a:lnTo>
                  <a:pt x="1438631" y="145791"/>
                </a:lnTo>
                <a:lnTo>
                  <a:pt x="1506912" y="120888"/>
                </a:lnTo>
                <a:cubicBezTo>
                  <a:pt x="1735036" y="40563"/>
                  <a:pt x="1973202" y="0"/>
                  <a:pt x="2210961" y="0"/>
                </a:cubicBezTo>
                <a:close/>
              </a:path>
            </a:pathLst>
          </a:custGeom>
          <a:solidFill>
            <a:srgbClr val="E5ECEF"/>
          </a:solidFill>
        </p:spPr>
        <p:txBody>
          <a:bodyPr wrap="square" anchor="b">
            <a:noAutofit/>
          </a:bodyPr>
          <a:lstStyle>
            <a:lvl1pPr marL="0" indent="0" algn="ctr" defTabSz="914400" rtl="0" eaLnBrk="1" latinLnBrk="0" hangingPunct="1">
              <a:lnSpc>
                <a:spcPct val="95000"/>
              </a:lnSpc>
              <a:spcBef>
                <a:spcPts val="500"/>
              </a:spcBef>
              <a:spcAft>
                <a:spcPts val="500"/>
              </a:spcAft>
              <a:buClr>
                <a:schemeClr val="accent1"/>
              </a:buClr>
              <a:buSzPct val="75000"/>
              <a:buFontTx/>
              <a:buNone/>
              <a:defRPr sz="100" kern="1200" baseline="0">
                <a:solidFill>
                  <a:schemeClr val="tx1">
                    <a:alpha val="0"/>
                  </a:schemeClr>
                </a:solidFill>
                <a:latin typeface="+mn-lt"/>
                <a:ea typeface="+mn-ea"/>
                <a:cs typeface="+mn-cs"/>
              </a:defRPr>
            </a:lvl1pPr>
            <a:lvl2pPr marL="355600" indent="-177800" algn="l" defTabSz="914400" rtl="0" eaLnBrk="1" latinLnBrk="0" hangingPunct="1">
              <a:lnSpc>
                <a:spcPct val="95000"/>
              </a:lnSpc>
              <a:spcBef>
                <a:spcPts val="500"/>
              </a:spcBef>
              <a:spcAft>
                <a:spcPts val="500"/>
              </a:spcAft>
              <a:buClr>
                <a:schemeClr val="accent2">
                  <a:lumMod val="90000"/>
                </a:schemeClr>
              </a:buClr>
              <a:buSzPct val="110000"/>
              <a:buFont typeface="Arial" panose="020B0604020202020204" pitchFamily="34" charset="0"/>
              <a:buChar char="•"/>
              <a:tabLst/>
              <a:defRPr sz="1600" kern="1200" baseline="0">
                <a:solidFill>
                  <a:schemeClr val="tx2">
                    <a:lumMod val="90000"/>
                    <a:lumOff val="10000"/>
                  </a:schemeClr>
                </a:solidFill>
                <a:latin typeface="+mn-lt"/>
                <a:ea typeface="+mn-ea"/>
                <a:cs typeface="+mn-cs"/>
              </a:defRPr>
            </a:lvl2pPr>
            <a:lvl3pPr marL="531813" indent="-171450" algn="l" defTabSz="914400" rtl="0" eaLnBrk="1" latinLnBrk="0" hangingPunct="1">
              <a:lnSpc>
                <a:spcPct val="95000"/>
              </a:lnSpc>
              <a:spcBef>
                <a:spcPts val="500"/>
              </a:spcBef>
              <a:spcAft>
                <a:spcPts val="500"/>
              </a:spcAft>
              <a:buClr>
                <a:schemeClr val="accent3"/>
              </a:buClr>
              <a:buFont typeface="Segoe UI Light" panose="020B0502040204020203" pitchFamily="34" charset="0"/>
              <a:buChar char="–"/>
              <a:defRPr sz="1600" kern="1200" baseline="0">
                <a:solidFill>
                  <a:schemeClr val="tx2">
                    <a:lumMod val="90000"/>
                    <a:lumOff val="10000"/>
                  </a:schemeClr>
                </a:solidFill>
                <a:latin typeface="+mn-lt"/>
                <a:ea typeface="+mn-ea"/>
                <a:cs typeface="+mn-cs"/>
              </a:defRPr>
            </a:lvl3pPr>
            <a:lvl4pPr marL="0" indent="0" algn="l" defTabSz="914400" rtl="0" eaLnBrk="1" latinLnBrk="0" hangingPunct="1">
              <a:lnSpc>
                <a:spcPct val="95000"/>
              </a:lnSpc>
              <a:spcBef>
                <a:spcPts val="500"/>
              </a:spcBef>
              <a:spcAft>
                <a:spcPts val="500"/>
              </a:spcAft>
              <a:buFont typeface="Arial" panose="020B0604020202020204" pitchFamily="34" charset="0"/>
              <a:buNone/>
              <a:defRPr sz="1600" kern="1200" baseline="0">
                <a:solidFill>
                  <a:schemeClr val="tx2">
                    <a:lumMod val="90000"/>
                    <a:lumOff val="10000"/>
                  </a:schemeClr>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800" b="0" kern="1200" spc="-30" baseline="0">
                <a:ln w="6350">
                  <a:noFill/>
                </a:ln>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kern="1200" cap="none" spc="-50" baseline="0">
                <a:ln w="12700">
                  <a:noFill/>
                </a:ln>
                <a:solidFill>
                  <a:schemeClr val="accent3"/>
                </a:solidFill>
                <a:latin typeface="Arial" panose="020B0604020202020204" pitchFamily="34" charset="0"/>
                <a:ea typeface="+mn-ea"/>
                <a:cs typeface="+mn-cs"/>
              </a:defRPr>
            </a:lvl6pPr>
            <a:lvl7pPr marL="268288" indent="-268288" algn="l" defTabSz="914400" rtl="0" eaLnBrk="1" latinLnBrk="0" hangingPunct="1">
              <a:lnSpc>
                <a:spcPct val="95000"/>
              </a:lnSpc>
              <a:spcBef>
                <a:spcPts val="500"/>
              </a:spcBef>
              <a:spcAft>
                <a:spcPts val="500"/>
              </a:spcAft>
              <a:buClr>
                <a:schemeClr val="accent1"/>
              </a:buClr>
              <a:buFont typeface="+mj-lt"/>
              <a:buAutoNum type="arabicPeriod"/>
              <a:tabLst/>
              <a:defRPr sz="1600" kern="1200" baseline="0">
                <a:solidFill>
                  <a:schemeClr val="tx2">
                    <a:lumMod val="90000"/>
                    <a:lumOff val="10000"/>
                  </a:schemeClr>
                </a:solidFill>
                <a:latin typeface="+mn-lt"/>
                <a:ea typeface="+mn-ea"/>
                <a:cs typeface="+mn-cs"/>
              </a:defRPr>
            </a:lvl7pPr>
            <a:lvl8pPr marL="536575" indent="-268288" algn="l" defTabSz="914400" rtl="0" eaLnBrk="1" latinLnBrk="0" hangingPunct="1">
              <a:lnSpc>
                <a:spcPct val="95000"/>
              </a:lnSpc>
              <a:spcBef>
                <a:spcPts val="500"/>
              </a:spcBef>
              <a:spcAft>
                <a:spcPts val="500"/>
              </a:spcAft>
              <a:buClr>
                <a:schemeClr val="accent2">
                  <a:lumMod val="90000"/>
                </a:schemeClr>
              </a:buClr>
              <a:buFont typeface="+mj-lt"/>
              <a:buAutoNum type="alphaLcPeriod"/>
              <a:defRPr sz="1600" kern="1200" baseline="0">
                <a:solidFill>
                  <a:schemeClr val="tx2">
                    <a:lumMod val="90000"/>
                    <a:lumOff val="10000"/>
                  </a:schemeClr>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800" b="1" i="0" kern="1200" spc="50" baseline="0">
                <a:ln w="12700" cap="rnd">
                  <a:solidFill>
                    <a:schemeClr val="bg2">
                      <a:lumMod val="75000"/>
                    </a:schemeClr>
                  </a:solidFill>
                </a:ln>
                <a:solidFill>
                  <a:schemeClr val="bg2">
                    <a:lumMod val="75000"/>
                  </a:schemeClr>
                </a:solidFill>
                <a:latin typeface="Arial" panose="020B0604020202020204" pitchFamily="34" charset="0"/>
                <a:ea typeface="+mn-ea"/>
                <a:cs typeface="+mn-cs"/>
              </a:defRPr>
            </a:lvl9pPr>
          </a:lstStyle>
          <a:p>
            <a:r>
              <a:rPr lang="nl-NL"/>
              <a:t>(leeg)</a:t>
            </a:r>
            <a:endParaRPr lang="nl-NL" dirty="0"/>
          </a:p>
        </p:txBody>
      </p:sp>
      <p:pic>
        <p:nvPicPr>
          <p:cNvPr id="13" name="Afbeelding 12">
            <a:extLst>
              <a:ext uri="{FF2B5EF4-FFF2-40B4-BE49-F238E27FC236}">
                <a16:creationId xmlns:a16="http://schemas.microsoft.com/office/drawing/2014/main" id="{71B22E8D-EC7F-2031-F845-31F21494859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05600" y="591602"/>
            <a:ext cx="4964493" cy="6266397"/>
          </a:xfrm>
          <a:prstGeom prst="rect">
            <a:avLst/>
          </a:prstGeom>
        </p:spPr>
      </p:pic>
      <p:sp>
        <p:nvSpPr>
          <p:cNvPr id="14" name="Rechthoek: afgeronde hoeken 13">
            <a:extLst>
              <a:ext uri="{FF2B5EF4-FFF2-40B4-BE49-F238E27FC236}">
                <a16:creationId xmlns:a16="http://schemas.microsoft.com/office/drawing/2014/main" id="{FF6BF316-D3BD-EE58-2383-3987913A0B70}"/>
              </a:ext>
            </a:extLst>
          </p:cNvPr>
          <p:cNvSpPr/>
          <p:nvPr/>
        </p:nvSpPr>
        <p:spPr>
          <a:xfrm>
            <a:off x="7414260" y="1039019"/>
            <a:ext cx="2621280" cy="5013960"/>
          </a:xfrm>
          <a:prstGeom prst="roundRect">
            <a:avLst>
              <a:gd name="adj" fmla="val 7966"/>
            </a:avLst>
          </a:prstGeom>
          <a:blipFill dpi="0" rotWithShape="1">
            <a:blip r:embed="rId3">
              <a:extLst>
                <a:ext uri="{28A0092B-C50C-407E-A947-70E740481C1C}">
                  <a14:useLocalDpi xmlns:a14="http://schemas.microsoft.com/office/drawing/2010/main" val="0"/>
                </a:ext>
              </a:extLst>
            </a:blip>
            <a:srcRect/>
            <a:stretch>
              <a:fillRect t="-7941" b="-5205"/>
            </a:stretch>
          </a:blip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endParaRPr lang="nl-NL" sz="1600" dirty="0" err="1"/>
          </a:p>
        </p:txBody>
      </p:sp>
      <p:sp>
        <p:nvSpPr>
          <p:cNvPr id="5" name="Tijdelijke aanduiding voor datum 4">
            <a:extLst>
              <a:ext uri="{FF2B5EF4-FFF2-40B4-BE49-F238E27FC236}">
                <a16:creationId xmlns:a16="http://schemas.microsoft.com/office/drawing/2014/main" id="{F1D6EDF9-28B4-ECAC-93F1-0B9FB6D4258A}"/>
              </a:ext>
            </a:extLst>
          </p:cNvPr>
          <p:cNvSpPr>
            <a:spLocks noGrp="1"/>
          </p:cNvSpPr>
          <p:nvPr>
            <p:ph type="dt" sz="half" idx="4294967295"/>
          </p:nvPr>
        </p:nvSpPr>
        <p:spPr>
          <a:xfrm>
            <a:off x="8610600" y="6931804"/>
            <a:ext cx="2860675" cy="300726"/>
          </a:xfrm>
          <a:prstGeom prst="rect">
            <a:avLst/>
          </a:prstGeom>
        </p:spPr>
        <p:txBody>
          <a:bodyPr vert="horz" lIns="0" tIns="0" rIns="0" bIns="0" rtlCol="0" anchor="ctr"/>
          <a:lstStyle>
            <a:defPPr>
              <a:defRPr lang="nl-NL"/>
            </a:defPPr>
            <a:lvl1pPr marL="0" algn="r" defTabSz="914400" rtl="0" eaLnBrk="1" latinLnBrk="0" hangingPunct="1">
              <a:defRPr sz="800" kern="1200">
                <a:solidFill>
                  <a:schemeClr val="tx1">
                    <a:lumMod val="50000"/>
                    <a:lumOff val="50000"/>
                  </a:schemeClr>
                </a:solidFill>
                <a:latin typeface="+mn-lt"/>
                <a:ea typeface="+mn-ea"/>
                <a:cs typeface="Segoe UI Light" panose="020B0502040204020203"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5A26BA8-6D77-4F37-885A-B125AF5F0509}" type="datetime4">
              <a:rPr lang="nl-NL" smtClean="0"/>
              <a:pPr/>
              <a:t>10 oktober 2023</a:t>
            </a:fld>
            <a:endParaRPr lang="nl-NL" dirty="0"/>
          </a:p>
        </p:txBody>
      </p:sp>
      <p:sp>
        <p:nvSpPr>
          <p:cNvPr id="9" name="Tijdelijke aanduiding voor tekst 8">
            <a:extLst>
              <a:ext uri="{FF2B5EF4-FFF2-40B4-BE49-F238E27FC236}">
                <a16:creationId xmlns:a16="http://schemas.microsoft.com/office/drawing/2014/main" id="{6B5AF443-B9C5-BEA5-4360-B00A8145E153}"/>
              </a:ext>
            </a:extLst>
          </p:cNvPr>
          <p:cNvSpPr>
            <a:spLocks noGrp="1"/>
          </p:cNvSpPr>
          <p:nvPr>
            <p:ph type="body" sz="quarter" idx="4294967295"/>
          </p:nvPr>
        </p:nvSpPr>
        <p:spPr>
          <a:xfrm>
            <a:off x="720725" y="1593850"/>
            <a:ext cx="5788899" cy="4386263"/>
          </a:xfrm>
        </p:spPr>
        <p:txBody>
          <a:bodyPr>
            <a:normAutofit fontScale="70000" lnSpcReduction="20000"/>
          </a:bodyPr>
          <a:lstStyle/>
          <a:p>
            <a:pPr marL="0" indent="0">
              <a:buNone/>
              <a:tabLst>
                <a:tab pos="3048000" algn="l"/>
              </a:tabLst>
            </a:pPr>
            <a:r>
              <a:rPr lang="nl-NL" sz="4000" dirty="0">
                <a:solidFill>
                  <a:schemeClr val="accent3"/>
                </a:solidFill>
              </a:rPr>
              <a:t>De totale kosten van zorg in Zeeland zijn ca. 2,2 miljard per jaar.</a:t>
            </a:r>
            <a:br>
              <a:rPr lang="nl-NL" sz="4000" dirty="0">
                <a:solidFill>
                  <a:schemeClr val="accent3"/>
                </a:solidFill>
              </a:rPr>
            </a:br>
            <a:br>
              <a:rPr lang="nl-NL" sz="4000" dirty="0">
                <a:solidFill>
                  <a:schemeClr val="accent3"/>
                </a:solidFill>
              </a:rPr>
            </a:br>
            <a:r>
              <a:rPr lang="nl-NL" sz="4000" dirty="0">
                <a:solidFill>
                  <a:schemeClr val="accent3"/>
                </a:solidFill>
              </a:rPr>
              <a:t>Om de groei om te buigen zijn er forse investeringen nodig.</a:t>
            </a:r>
            <a:br>
              <a:rPr lang="nl-NL" sz="4000" dirty="0">
                <a:solidFill>
                  <a:schemeClr val="accent3"/>
                </a:solidFill>
              </a:rPr>
            </a:br>
            <a:br>
              <a:rPr lang="nl-NL" sz="4000" dirty="0">
                <a:solidFill>
                  <a:schemeClr val="accent3"/>
                </a:solidFill>
              </a:rPr>
            </a:br>
            <a:r>
              <a:rPr lang="nl-NL" sz="4000" dirty="0">
                <a:solidFill>
                  <a:schemeClr val="accent3"/>
                </a:solidFill>
              </a:rPr>
              <a:t>Maar ook op punten een fundamentele herinrichting </a:t>
            </a:r>
            <a:br>
              <a:rPr lang="nl-NL" sz="4000" dirty="0">
                <a:solidFill>
                  <a:schemeClr val="accent3"/>
                </a:solidFill>
              </a:rPr>
            </a:br>
            <a:r>
              <a:rPr lang="nl-NL" sz="4000" dirty="0">
                <a:solidFill>
                  <a:schemeClr val="accent3"/>
                </a:solidFill>
              </a:rPr>
              <a:t>van de zorg.  </a:t>
            </a:r>
            <a:br>
              <a:rPr lang="nl-NL" dirty="0">
                <a:solidFill>
                  <a:schemeClr val="accent3"/>
                </a:solidFill>
              </a:rPr>
            </a:br>
            <a:r>
              <a:rPr lang="nl-NL" sz="2200" dirty="0">
                <a:solidFill>
                  <a:schemeClr val="accent3"/>
                </a:solidFill>
              </a:rPr>
              <a:t>  </a:t>
            </a:r>
            <a:endParaRPr lang="nl-NL" sz="2400" dirty="0">
              <a:solidFill>
                <a:schemeClr val="accent3"/>
              </a:solidFill>
            </a:endParaRPr>
          </a:p>
          <a:p>
            <a:pPr lvl="3"/>
            <a:endParaRPr lang="nl-NL" dirty="0"/>
          </a:p>
        </p:txBody>
      </p:sp>
      <p:sp>
        <p:nvSpPr>
          <p:cNvPr id="16" name="Titel 15">
            <a:extLst>
              <a:ext uri="{FF2B5EF4-FFF2-40B4-BE49-F238E27FC236}">
                <a16:creationId xmlns:a16="http://schemas.microsoft.com/office/drawing/2014/main" id="{1A8FE737-AB98-5CA3-A7A4-5FA0BCB1B457}"/>
              </a:ext>
            </a:extLst>
          </p:cNvPr>
          <p:cNvSpPr>
            <a:spLocks noGrp="1"/>
          </p:cNvSpPr>
          <p:nvPr>
            <p:ph type="title"/>
          </p:nvPr>
        </p:nvSpPr>
        <p:spPr>
          <a:xfrm>
            <a:off x="5546843" y="-426091"/>
            <a:ext cx="1097591" cy="276999"/>
          </a:xfrm>
        </p:spPr>
        <p:txBody>
          <a:bodyPr/>
          <a:lstStyle/>
          <a:p>
            <a:r>
              <a:rPr lang="nl-NL" dirty="0"/>
              <a:t>Strategie</a:t>
            </a:r>
          </a:p>
        </p:txBody>
      </p:sp>
      <p:sp>
        <p:nvSpPr>
          <p:cNvPr id="22" name="Ovaal 21">
            <a:hlinkClick r:id="rId4"/>
            <a:extLst>
              <a:ext uri="{FF2B5EF4-FFF2-40B4-BE49-F238E27FC236}">
                <a16:creationId xmlns:a16="http://schemas.microsoft.com/office/drawing/2014/main" id="{25577573-D97B-6EAE-81A9-0818556F9B4E}"/>
              </a:ext>
            </a:extLst>
          </p:cNvPr>
          <p:cNvSpPr/>
          <p:nvPr/>
        </p:nvSpPr>
        <p:spPr>
          <a:xfrm>
            <a:off x="9744710" y="1593850"/>
            <a:ext cx="1480820" cy="1480820"/>
          </a:xfrm>
          <a:prstGeom prst="ellipse">
            <a:avLst/>
          </a:prstGeom>
          <a:solidFill>
            <a:schemeClr val="accent1"/>
          </a:solidFill>
          <a:ln>
            <a:noFill/>
          </a:ln>
          <a:effectLst>
            <a:outerShdw blurRad="317500" dist="254000" dir="5400000" sx="95000" sy="95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144000" tIns="234000" rIns="144000" bIns="144000" rtlCol="0" anchor="ctr"/>
          <a:lstStyle/>
          <a:p>
            <a:pPr algn="ctr">
              <a:lnSpc>
                <a:spcPct val="90000"/>
              </a:lnSpc>
              <a:spcBef>
                <a:spcPts val="200"/>
              </a:spcBef>
              <a:spcAft>
                <a:spcPts val="200"/>
              </a:spcAft>
            </a:pPr>
            <a:r>
              <a:rPr lang="nl-NL" sz="1600" spc="-50" dirty="0">
                <a:latin typeface="+mj-lt"/>
              </a:rPr>
              <a:t>Bekijk het </a:t>
            </a:r>
            <a:br>
              <a:rPr lang="nl-NL" sz="1600" spc="-50" dirty="0">
                <a:latin typeface="+mj-lt"/>
              </a:rPr>
            </a:br>
            <a:r>
              <a:rPr lang="nl-NL" sz="1600" spc="-50" dirty="0">
                <a:latin typeface="+mj-lt"/>
              </a:rPr>
              <a:t>regioplan!</a:t>
            </a:r>
          </a:p>
          <a:p>
            <a:pPr algn="ctr">
              <a:lnSpc>
                <a:spcPct val="90000"/>
              </a:lnSpc>
              <a:spcBef>
                <a:spcPts val="200"/>
              </a:spcBef>
              <a:spcAft>
                <a:spcPts val="200"/>
              </a:spcAft>
            </a:pPr>
            <a:r>
              <a:rPr lang="nl-NL" sz="900" b="1" dirty="0">
                <a:solidFill>
                  <a:schemeClr val="accent3"/>
                </a:solidFill>
                <a:latin typeface="Arial" panose="020B0604020202020204" pitchFamily="34" charset="0"/>
              </a:rPr>
              <a:t>Klik hier!</a:t>
            </a:r>
          </a:p>
        </p:txBody>
      </p:sp>
      <p:pic>
        <p:nvPicPr>
          <p:cNvPr id="28" name="Graphic 27">
            <a:extLst>
              <a:ext uri="{FF2B5EF4-FFF2-40B4-BE49-F238E27FC236}">
                <a16:creationId xmlns:a16="http://schemas.microsoft.com/office/drawing/2014/main" id="{77388587-A601-D1E8-075A-1C054FC1F2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925969" y="1820862"/>
            <a:ext cx="318294" cy="318294"/>
          </a:xfrm>
          <a:prstGeom prst="rect">
            <a:avLst/>
          </a:prstGeom>
        </p:spPr>
      </p:pic>
      <p:pic>
        <p:nvPicPr>
          <p:cNvPr id="29" name="Graphic 28">
            <a:extLst>
              <a:ext uri="{FF2B5EF4-FFF2-40B4-BE49-F238E27FC236}">
                <a16:creationId xmlns:a16="http://schemas.microsoft.com/office/drawing/2014/main" id="{CA518A0F-E0CF-6A2C-BB13-3E0654EC20B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0822385" y="1592262"/>
            <a:ext cx="207169" cy="207169"/>
          </a:xfrm>
          <a:prstGeom prst="rect">
            <a:avLst/>
          </a:prstGeom>
        </p:spPr>
      </p:pic>
      <p:pic>
        <p:nvPicPr>
          <p:cNvPr id="30" name="Graphic 29">
            <a:extLst>
              <a:ext uri="{FF2B5EF4-FFF2-40B4-BE49-F238E27FC236}">
                <a16:creationId xmlns:a16="http://schemas.microsoft.com/office/drawing/2014/main" id="{EA5FA1C1-A57A-F274-5C43-946BC822111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847104" y="2703592"/>
            <a:ext cx="318294" cy="318294"/>
          </a:xfrm>
          <a:prstGeom prst="rect">
            <a:avLst/>
          </a:prstGeom>
        </p:spPr>
      </p:pic>
    </p:spTree>
    <p:extLst>
      <p:ext uri="{BB962C8B-B14F-4D97-AF65-F5344CB8AC3E}">
        <p14:creationId xmlns:p14="http://schemas.microsoft.com/office/powerpoint/2010/main" val="882109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16="http://schemas.microsoft.com/office/drawing/2014/main" xmlns="">
      <p:transition spd="med">
        <p:fade/>
      </p:transition>
    </mc:Fallback>
  </mc:AlternateContent>
  <mc:AlternateContent xmlns:mc="http://schemas.openxmlformats.org/markup-compatibility/2006">
    <mc:Choice xmlns:p14="http://schemas.microsoft.com/office/powerpoint/2010/main"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500"/>
                                            <p:tgtEl>
                                              <p:spTgt spid="9">
                                                <p:txEl>
                                                  <p:pRg st="0" end="0"/>
                                                </p:txEl>
                                              </p:spTgt>
                                            </p:tgtEl>
                                          </p:cBhvr>
                                        </p:animEffect>
                                      </p:childTnLst>
                                    </p:cTn>
                                  </p:par>
                                  <p:par>
                                    <p:cTn id="8" presetID="2" presetClass="entr" presetSubtype="4" decel="100000" fill="hold" nodeType="withEffect">
                                      <p:stCondLst>
                                        <p:cond delay="500"/>
                                      </p:stCondLst>
                                      <p:childTnLst>
                                        <p:set>
                                          <p:cBhvr>
                                            <p:cTn id="9" dur="1" fill="hold">
                                              <p:stCondLst>
                                                <p:cond delay="0"/>
                                              </p:stCondLst>
                                            </p:cTn>
                                            <p:tgtEl>
                                              <p:spTgt spid="9">
                                                <p:txEl>
                                                  <p:pRg st="0" end="0"/>
                                                </p:txEl>
                                              </p:spTgt>
                                            </p:tgtEl>
                                            <p:attrNameLst>
                                              <p:attrName>style.visibility</p:attrName>
                                            </p:attrNameLst>
                                          </p:cBhvr>
                                          <p:to>
                                            <p:strVal val="visible"/>
                                          </p:to>
                                        </p:set>
                                        <p:anim calcmode="lin" valueType="num">
                                          <p:cBhvr additive="base">
                                            <p:cTn id="10" dur="1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1" dur="1500" fill="hold"/>
                                            <p:tgtEl>
                                              <p:spTgt spid="9">
                                                <p:txEl>
                                                  <p:pRg st="0" end="0"/>
                                                </p:txEl>
                                              </p:spTgt>
                                            </p:tgtEl>
                                            <p:attrNameLst>
                                              <p:attrName>ppt_y</p:attrName>
                                            </p:attrNameLst>
                                          </p:cBhvr>
                                          <p:tavLst>
                                            <p:tav tm="0">
                                              <p:val>
                                                <p:strVal val="1+#ppt_h/2"/>
                                              </p:val>
                                            </p:tav>
                                            <p:tav tm="100000">
                                              <p:val>
                                                <p:strVal val="#ppt_y"/>
                                              </p:val>
                                            </p:tav>
                                          </p:tavLst>
                                        </p:anim>
                                      </p:childTnLst>
                                    </p:cTn>
                                  </p:par>
                                  <p:par>
                                    <p:cTn id="12" presetID="2" presetClass="entr" presetSubtype="4" decel="100000" fill="hold" nodeType="withEffect">
                                      <p:stCondLst>
                                        <p:cond delay="75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1250" fill="hold"/>
                                            <p:tgtEl>
                                              <p:spTgt spid="13"/>
                                            </p:tgtEl>
                                            <p:attrNameLst>
                                              <p:attrName>ppt_x</p:attrName>
                                            </p:attrNameLst>
                                          </p:cBhvr>
                                          <p:tavLst>
                                            <p:tav tm="0">
                                              <p:val>
                                                <p:strVal val="#ppt_x"/>
                                              </p:val>
                                            </p:tav>
                                            <p:tav tm="100000">
                                              <p:val>
                                                <p:strVal val="#ppt_x"/>
                                              </p:val>
                                            </p:tav>
                                          </p:tavLst>
                                        </p:anim>
                                        <p:anim calcmode="lin" valueType="num">
                                          <p:cBhvr additive="base">
                                            <p:cTn id="15" dur="1250" fill="hold"/>
                                            <p:tgtEl>
                                              <p:spTgt spid="13"/>
                                            </p:tgtEl>
                                            <p:attrNameLst>
                                              <p:attrName>ppt_y</p:attrName>
                                            </p:attrNameLst>
                                          </p:cBhvr>
                                          <p:tavLst>
                                            <p:tav tm="0">
                                              <p:val>
                                                <p:strVal val="1+#ppt_h/2"/>
                                              </p:val>
                                            </p:tav>
                                            <p:tav tm="100000">
                                              <p:val>
                                                <p:strVal val="#ppt_y"/>
                                              </p:val>
                                            </p:tav>
                                          </p:tavLst>
                                        </p:anim>
                                      </p:childTnLst>
                                    </p:cTn>
                                  </p:par>
                                  <p:par>
                                    <p:cTn id="16" presetID="10" presetClass="entr" presetSubtype="0" fill="hold" grpId="0" nodeType="withEffect">
                                      <p:stCondLst>
                                        <p:cond delay="200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1000"/>
                                            <p:tgtEl>
                                              <p:spTgt spid="14"/>
                                            </p:tgtEl>
                                          </p:cBhvr>
                                        </p:animEffect>
                                      </p:childTnLst>
                                    </p:cTn>
                                  </p:par>
                                  <p:par>
                                    <p:cTn id="19" presetID="23" presetClass="entr" presetSubtype="16" fill="hold" grpId="0" nodeType="withEffect">
                                      <p:stCondLst>
                                        <p:cond delay="2000"/>
                                      </p:stCondLst>
                                      <p:childTnLst>
                                        <p:set>
                                          <p:cBhvr>
                                            <p:cTn id="20" dur="1" fill="hold">
                                              <p:stCondLst>
                                                <p:cond delay="0"/>
                                              </p:stCondLst>
                                            </p:cTn>
                                            <p:tgtEl>
                                              <p:spTgt spid="22"/>
                                            </p:tgtEl>
                                            <p:attrNameLst>
                                              <p:attrName>style.visibility</p:attrName>
                                            </p:attrNameLst>
                                          </p:cBhvr>
                                          <p:to>
                                            <p:strVal val="visible"/>
                                          </p:to>
                                        </p:set>
                                        <p:anim calcmode="lin" valueType="num">
                                          <p:cBhvr>
                                            <p:cTn id="21" dur="200" fill="hold"/>
                                            <p:tgtEl>
                                              <p:spTgt spid="22"/>
                                            </p:tgtEl>
                                            <p:attrNameLst>
                                              <p:attrName>ppt_w</p:attrName>
                                            </p:attrNameLst>
                                          </p:cBhvr>
                                          <p:tavLst>
                                            <p:tav tm="0">
                                              <p:val>
                                                <p:fltVal val="0"/>
                                              </p:val>
                                            </p:tav>
                                            <p:tav tm="100000">
                                              <p:val>
                                                <p:strVal val="#ppt_w"/>
                                              </p:val>
                                            </p:tav>
                                          </p:tavLst>
                                        </p:anim>
                                        <p:anim calcmode="lin" valueType="num">
                                          <p:cBhvr>
                                            <p:cTn id="22" dur="200" fill="hold"/>
                                            <p:tgtEl>
                                              <p:spTgt spid="22"/>
                                            </p:tgtEl>
                                            <p:attrNameLst>
                                              <p:attrName>ppt_h</p:attrName>
                                            </p:attrNameLst>
                                          </p:cBhvr>
                                          <p:tavLst>
                                            <p:tav tm="0">
                                              <p:val>
                                                <p:fltVal val="0"/>
                                              </p:val>
                                            </p:tav>
                                            <p:tav tm="100000">
                                              <p:val>
                                                <p:strVal val="#ppt_h"/>
                                              </p:val>
                                            </p:tav>
                                          </p:tavLst>
                                        </p:anim>
                                      </p:childTnLst>
                                    </p:cTn>
                                  </p:par>
                                  <p:par>
                                    <p:cTn id="23" presetID="6" presetClass="emph" presetSubtype="0" fill="hold" grpId="1" nodeType="withEffect" p14:presetBounceEnd="99000">
                                      <p:stCondLst>
                                        <p:cond delay="2000"/>
                                      </p:stCondLst>
                                      <p:childTnLst>
                                        <p:animScale p14:bounceEnd="99000">
                                          <p:cBhvr>
                                            <p:cTn id="24" dur="1000" fill="hold"/>
                                            <p:tgtEl>
                                              <p:spTgt spid="22"/>
                                            </p:tgtEl>
                                          </p:cBhvr>
                                          <p:by x="110000" y="110000"/>
                                        </p:animScale>
                                      </p:childTnLst>
                                    </p:cTn>
                                  </p:par>
                                  <p:par>
                                    <p:cTn id="25" presetID="6" presetClass="emph" presetSubtype="0" accel="50000" decel="50000" fill="hold" grpId="2" nodeType="withEffect">
                                      <p:stCondLst>
                                        <p:cond delay="2000"/>
                                      </p:stCondLst>
                                      <p:childTnLst>
                                        <p:animScale>
                                          <p:cBhvr>
                                            <p:cTn id="26" dur="250" fill="hold"/>
                                            <p:tgtEl>
                                              <p:spTgt spid="22"/>
                                            </p:tgtEl>
                                          </p:cBhvr>
                                          <p:by x="91000" y="91000"/>
                                        </p:animScale>
                                      </p:childTnLst>
                                    </p:cTn>
                                  </p:par>
                                  <p:par>
                                    <p:cTn id="27" presetID="23" presetClass="entr" presetSubtype="16" fill="hold" nodeType="withEffect">
                                      <p:stCondLst>
                                        <p:cond delay="2100"/>
                                      </p:stCondLst>
                                      <p:childTnLst>
                                        <p:set>
                                          <p:cBhvr>
                                            <p:cTn id="28" dur="1" fill="hold">
                                              <p:stCondLst>
                                                <p:cond delay="0"/>
                                              </p:stCondLst>
                                            </p:cTn>
                                            <p:tgtEl>
                                              <p:spTgt spid="28"/>
                                            </p:tgtEl>
                                            <p:attrNameLst>
                                              <p:attrName>style.visibility</p:attrName>
                                            </p:attrNameLst>
                                          </p:cBhvr>
                                          <p:to>
                                            <p:strVal val="visible"/>
                                          </p:to>
                                        </p:set>
                                        <p:anim calcmode="lin" valueType="num">
                                          <p:cBhvr>
                                            <p:cTn id="29" dur="200" fill="hold"/>
                                            <p:tgtEl>
                                              <p:spTgt spid="28"/>
                                            </p:tgtEl>
                                            <p:attrNameLst>
                                              <p:attrName>ppt_w</p:attrName>
                                            </p:attrNameLst>
                                          </p:cBhvr>
                                          <p:tavLst>
                                            <p:tav tm="0">
                                              <p:val>
                                                <p:fltVal val="0"/>
                                              </p:val>
                                            </p:tav>
                                            <p:tav tm="100000">
                                              <p:val>
                                                <p:strVal val="#ppt_w"/>
                                              </p:val>
                                            </p:tav>
                                          </p:tavLst>
                                        </p:anim>
                                        <p:anim calcmode="lin" valueType="num">
                                          <p:cBhvr>
                                            <p:cTn id="30" dur="200" fill="hold"/>
                                            <p:tgtEl>
                                              <p:spTgt spid="28"/>
                                            </p:tgtEl>
                                            <p:attrNameLst>
                                              <p:attrName>ppt_h</p:attrName>
                                            </p:attrNameLst>
                                          </p:cBhvr>
                                          <p:tavLst>
                                            <p:tav tm="0">
                                              <p:val>
                                                <p:fltVal val="0"/>
                                              </p:val>
                                            </p:tav>
                                            <p:tav tm="100000">
                                              <p:val>
                                                <p:strVal val="#ppt_h"/>
                                              </p:val>
                                            </p:tav>
                                          </p:tavLst>
                                        </p:anim>
                                      </p:childTnLst>
                                    </p:cTn>
                                  </p:par>
                                  <p:par>
                                    <p:cTn id="31" presetID="6" presetClass="emph" presetSubtype="0" fill="hold" nodeType="withEffect" p14:presetBounceEnd="99000">
                                      <p:stCondLst>
                                        <p:cond delay="2100"/>
                                      </p:stCondLst>
                                      <p:childTnLst>
                                        <p:animScale p14:bounceEnd="99000">
                                          <p:cBhvr>
                                            <p:cTn id="32" dur="1000" fill="hold"/>
                                            <p:tgtEl>
                                              <p:spTgt spid="28"/>
                                            </p:tgtEl>
                                          </p:cBhvr>
                                          <p:by x="110000" y="110000"/>
                                        </p:animScale>
                                      </p:childTnLst>
                                    </p:cTn>
                                  </p:par>
                                  <p:par>
                                    <p:cTn id="33" presetID="6" presetClass="emph" presetSubtype="0" accel="50000" decel="50000" fill="hold" nodeType="withEffect">
                                      <p:stCondLst>
                                        <p:cond delay="2100"/>
                                      </p:stCondLst>
                                      <p:childTnLst>
                                        <p:animScale>
                                          <p:cBhvr>
                                            <p:cTn id="34" dur="250" fill="hold"/>
                                            <p:tgtEl>
                                              <p:spTgt spid="28"/>
                                            </p:tgtEl>
                                          </p:cBhvr>
                                          <p:by x="91000" y="91000"/>
                                        </p:animScale>
                                      </p:childTnLst>
                                    </p:cTn>
                                  </p:par>
                                  <p:par>
                                    <p:cTn id="35" presetID="23" presetClass="entr" presetSubtype="16" fill="hold" nodeType="withEffect">
                                      <p:stCondLst>
                                        <p:cond delay="2150"/>
                                      </p:stCondLst>
                                      <p:childTnLst>
                                        <p:set>
                                          <p:cBhvr>
                                            <p:cTn id="36" dur="1" fill="hold">
                                              <p:stCondLst>
                                                <p:cond delay="0"/>
                                              </p:stCondLst>
                                            </p:cTn>
                                            <p:tgtEl>
                                              <p:spTgt spid="30"/>
                                            </p:tgtEl>
                                            <p:attrNameLst>
                                              <p:attrName>style.visibility</p:attrName>
                                            </p:attrNameLst>
                                          </p:cBhvr>
                                          <p:to>
                                            <p:strVal val="visible"/>
                                          </p:to>
                                        </p:set>
                                        <p:anim calcmode="lin" valueType="num">
                                          <p:cBhvr>
                                            <p:cTn id="37" dur="200" fill="hold"/>
                                            <p:tgtEl>
                                              <p:spTgt spid="30"/>
                                            </p:tgtEl>
                                            <p:attrNameLst>
                                              <p:attrName>ppt_w</p:attrName>
                                            </p:attrNameLst>
                                          </p:cBhvr>
                                          <p:tavLst>
                                            <p:tav tm="0">
                                              <p:val>
                                                <p:fltVal val="0"/>
                                              </p:val>
                                            </p:tav>
                                            <p:tav tm="100000">
                                              <p:val>
                                                <p:strVal val="#ppt_w"/>
                                              </p:val>
                                            </p:tav>
                                          </p:tavLst>
                                        </p:anim>
                                        <p:anim calcmode="lin" valueType="num">
                                          <p:cBhvr>
                                            <p:cTn id="38" dur="200" fill="hold"/>
                                            <p:tgtEl>
                                              <p:spTgt spid="30"/>
                                            </p:tgtEl>
                                            <p:attrNameLst>
                                              <p:attrName>ppt_h</p:attrName>
                                            </p:attrNameLst>
                                          </p:cBhvr>
                                          <p:tavLst>
                                            <p:tav tm="0">
                                              <p:val>
                                                <p:fltVal val="0"/>
                                              </p:val>
                                            </p:tav>
                                            <p:tav tm="100000">
                                              <p:val>
                                                <p:strVal val="#ppt_h"/>
                                              </p:val>
                                            </p:tav>
                                          </p:tavLst>
                                        </p:anim>
                                      </p:childTnLst>
                                    </p:cTn>
                                  </p:par>
                                  <p:par>
                                    <p:cTn id="39" presetID="6" presetClass="emph" presetSubtype="0" fill="hold" nodeType="withEffect" p14:presetBounceEnd="99000">
                                      <p:stCondLst>
                                        <p:cond delay="2150"/>
                                      </p:stCondLst>
                                      <p:childTnLst>
                                        <p:animScale p14:bounceEnd="99000">
                                          <p:cBhvr>
                                            <p:cTn id="40" dur="1000" fill="hold"/>
                                            <p:tgtEl>
                                              <p:spTgt spid="30"/>
                                            </p:tgtEl>
                                          </p:cBhvr>
                                          <p:by x="110000" y="110000"/>
                                        </p:animScale>
                                      </p:childTnLst>
                                    </p:cTn>
                                  </p:par>
                                  <p:par>
                                    <p:cTn id="41" presetID="6" presetClass="emph" presetSubtype="0" accel="50000" decel="50000" fill="hold" nodeType="withEffect">
                                      <p:stCondLst>
                                        <p:cond delay="2150"/>
                                      </p:stCondLst>
                                      <p:childTnLst>
                                        <p:animScale>
                                          <p:cBhvr>
                                            <p:cTn id="42" dur="250" fill="hold"/>
                                            <p:tgtEl>
                                              <p:spTgt spid="30"/>
                                            </p:tgtEl>
                                          </p:cBhvr>
                                          <p:by x="91000" y="91000"/>
                                        </p:animScale>
                                      </p:childTnLst>
                                    </p:cTn>
                                  </p:par>
                                  <p:par>
                                    <p:cTn id="43" presetID="23" presetClass="entr" presetSubtype="16" fill="hold" nodeType="withEffect">
                                      <p:stCondLst>
                                        <p:cond delay="2200"/>
                                      </p:stCondLst>
                                      <p:childTnLst>
                                        <p:set>
                                          <p:cBhvr>
                                            <p:cTn id="44" dur="1" fill="hold">
                                              <p:stCondLst>
                                                <p:cond delay="0"/>
                                              </p:stCondLst>
                                            </p:cTn>
                                            <p:tgtEl>
                                              <p:spTgt spid="29"/>
                                            </p:tgtEl>
                                            <p:attrNameLst>
                                              <p:attrName>style.visibility</p:attrName>
                                            </p:attrNameLst>
                                          </p:cBhvr>
                                          <p:to>
                                            <p:strVal val="visible"/>
                                          </p:to>
                                        </p:set>
                                        <p:anim calcmode="lin" valueType="num">
                                          <p:cBhvr>
                                            <p:cTn id="45" dur="200" fill="hold"/>
                                            <p:tgtEl>
                                              <p:spTgt spid="29"/>
                                            </p:tgtEl>
                                            <p:attrNameLst>
                                              <p:attrName>ppt_w</p:attrName>
                                            </p:attrNameLst>
                                          </p:cBhvr>
                                          <p:tavLst>
                                            <p:tav tm="0">
                                              <p:val>
                                                <p:fltVal val="0"/>
                                              </p:val>
                                            </p:tav>
                                            <p:tav tm="100000">
                                              <p:val>
                                                <p:strVal val="#ppt_w"/>
                                              </p:val>
                                            </p:tav>
                                          </p:tavLst>
                                        </p:anim>
                                        <p:anim calcmode="lin" valueType="num">
                                          <p:cBhvr>
                                            <p:cTn id="46" dur="200" fill="hold"/>
                                            <p:tgtEl>
                                              <p:spTgt spid="29"/>
                                            </p:tgtEl>
                                            <p:attrNameLst>
                                              <p:attrName>ppt_h</p:attrName>
                                            </p:attrNameLst>
                                          </p:cBhvr>
                                          <p:tavLst>
                                            <p:tav tm="0">
                                              <p:val>
                                                <p:fltVal val="0"/>
                                              </p:val>
                                            </p:tav>
                                            <p:tav tm="100000">
                                              <p:val>
                                                <p:strVal val="#ppt_h"/>
                                              </p:val>
                                            </p:tav>
                                          </p:tavLst>
                                        </p:anim>
                                      </p:childTnLst>
                                    </p:cTn>
                                  </p:par>
                                  <p:par>
                                    <p:cTn id="47" presetID="6" presetClass="emph" presetSubtype="0" fill="hold" nodeType="withEffect" p14:presetBounceEnd="99000">
                                      <p:stCondLst>
                                        <p:cond delay="2200"/>
                                      </p:stCondLst>
                                      <p:childTnLst>
                                        <p:animScale p14:bounceEnd="99000">
                                          <p:cBhvr>
                                            <p:cTn id="48" dur="1000" fill="hold"/>
                                            <p:tgtEl>
                                              <p:spTgt spid="29"/>
                                            </p:tgtEl>
                                          </p:cBhvr>
                                          <p:by x="110000" y="110000"/>
                                        </p:animScale>
                                      </p:childTnLst>
                                    </p:cTn>
                                  </p:par>
                                  <p:par>
                                    <p:cTn id="49" presetID="6" presetClass="emph" presetSubtype="0" accel="50000" decel="50000" fill="hold" nodeType="withEffect">
                                      <p:stCondLst>
                                        <p:cond delay="2200"/>
                                      </p:stCondLst>
                                      <p:childTnLst>
                                        <p:animScale>
                                          <p:cBhvr>
                                            <p:cTn id="50" dur="250" fill="hold"/>
                                            <p:tgtEl>
                                              <p:spTgt spid="29"/>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9" grpId="0" uiExpand="1" build="allAtOnce"/>
          <p:bldP spid="22" grpId="0" animBg="1"/>
          <p:bldP spid="22" grpId="1" animBg="1"/>
          <p:bldP spid="22" grpId="2" animBg="1"/>
        </p:bldLst>
      </p:timing>
    </mc:Choice>
    <mc:Fallback>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9">
                                                <p:txEl>
                                                  <p:pRg st="0" end="0"/>
                                                </p:txEl>
                                              </p:spTgt>
                                            </p:tgtEl>
                                            <p:attrNameLst>
                                              <p:attrName>style.visibility</p:attrName>
                                            </p:attrNameLst>
                                          </p:cBhvr>
                                          <p:to>
                                            <p:strVal val="visible"/>
                                          </p:to>
                                        </p:set>
                                        <p:animEffect transition="in" filter="fade">
                                          <p:cBhvr>
                                            <p:cTn id="7" dur="1500"/>
                                            <p:tgtEl>
                                              <p:spTgt spid="9">
                                                <p:txEl>
                                                  <p:pRg st="0" end="0"/>
                                                </p:txEl>
                                              </p:spTgt>
                                            </p:tgtEl>
                                          </p:cBhvr>
                                        </p:animEffect>
                                      </p:childTnLst>
                                    </p:cTn>
                                  </p:par>
                                  <p:par>
                                    <p:cTn id="8" presetID="2" presetClass="entr" presetSubtype="4" decel="100000" fill="hold" nodeType="withEffect">
                                      <p:stCondLst>
                                        <p:cond delay="500"/>
                                      </p:stCondLst>
                                      <p:childTnLst>
                                        <p:set>
                                          <p:cBhvr>
                                            <p:cTn id="9" dur="1" fill="hold">
                                              <p:stCondLst>
                                                <p:cond delay="0"/>
                                              </p:stCondLst>
                                            </p:cTn>
                                            <p:tgtEl>
                                              <p:spTgt spid="9">
                                                <p:txEl>
                                                  <p:pRg st="0" end="0"/>
                                                </p:txEl>
                                              </p:spTgt>
                                            </p:tgtEl>
                                            <p:attrNameLst>
                                              <p:attrName>style.visibility</p:attrName>
                                            </p:attrNameLst>
                                          </p:cBhvr>
                                          <p:to>
                                            <p:strVal val="visible"/>
                                          </p:to>
                                        </p:set>
                                        <p:anim calcmode="lin" valueType="num">
                                          <p:cBhvr additive="base">
                                            <p:cTn id="10" dur="1500" fill="hold"/>
                                            <p:tgtEl>
                                              <p:spTgt spid="9">
                                                <p:txEl>
                                                  <p:pRg st="0" end="0"/>
                                                </p:txEl>
                                              </p:spTgt>
                                            </p:tgtEl>
                                            <p:attrNameLst>
                                              <p:attrName>ppt_x</p:attrName>
                                            </p:attrNameLst>
                                          </p:cBhvr>
                                          <p:tavLst>
                                            <p:tav tm="0">
                                              <p:val>
                                                <p:strVal val="#ppt_x"/>
                                              </p:val>
                                            </p:tav>
                                            <p:tav tm="100000">
                                              <p:val>
                                                <p:strVal val="#ppt_x"/>
                                              </p:val>
                                            </p:tav>
                                          </p:tavLst>
                                        </p:anim>
                                        <p:anim calcmode="lin" valueType="num">
                                          <p:cBhvr additive="base">
                                            <p:cTn id="11" dur="1500" fill="hold"/>
                                            <p:tgtEl>
                                              <p:spTgt spid="9">
                                                <p:txEl>
                                                  <p:pRg st="0" end="0"/>
                                                </p:txEl>
                                              </p:spTgt>
                                            </p:tgtEl>
                                            <p:attrNameLst>
                                              <p:attrName>ppt_y</p:attrName>
                                            </p:attrNameLst>
                                          </p:cBhvr>
                                          <p:tavLst>
                                            <p:tav tm="0">
                                              <p:val>
                                                <p:strVal val="1+#ppt_h/2"/>
                                              </p:val>
                                            </p:tav>
                                            <p:tav tm="100000">
                                              <p:val>
                                                <p:strVal val="#ppt_y"/>
                                              </p:val>
                                            </p:tav>
                                          </p:tavLst>
                                        </p:anim>
                                      </p:childTnLst>
                                    </p:cTn>
                                  </p:par>
                                  <p:par>
                                    <p:cTn id="12" presetID="2" presetClass="entr" presetSubtype="4" decel="100000" fill="hold" nodeType="withEffect">
                                      <p:stCondLst>
                                        <p:cond delay="750"/>
                                      </p:stCondLst>
                                      <p:childTnLst>
                                        <p:set>
                                          <p:cBhvr>
                                            <p:cTn id="13" dur="1" fill="hold">
                                              <p:stCondLst>
                                                <p:cond delay="0"/>
                                              </p:stCondLst>
                                            </p:cTn>
                                            <p:tgtEl>
                                              <p:spTgt spid="13"/>
                                            </p:tgtEl>
                                            <p:attrNameLst>
                                              <p:attrName>style.visibility</p:attrName>
                                            </p:attrNameLst>
                                          </p:cBhvr>
                                          <p:to>
                                            <p:strVal val="visible"/>
                                          </p:to>
                                        </p:set>
                                        <p:anim calcmode="lin" valueType="num">
                                          <p:cBhvr additive="base">
                                            <p:cTn id="14" dur="1250" fill="hold"/>
                                            <p:tgtEl>
                                              <p:spTgt spid="13"/>
                                            </p:tgtEl>
                                            <p:attrNameLst>
                                              <p:attrName>ppt_x</p:attrName>
                                            </p:attrNameLst>
                                          </p:cBhvr>
                                          <p:tavLst>
                                            <p:tav tm="0">
                                              <p:val>
                                                <p:strVal val="#ppt_x"/>
                                              </p:val>
                                            </p:tav>
                                            <p:tav tm="100000">
                                              <p:val>
                                                <p:strVal val="#ppt_x"/>
                                              </p:val>
                                            </p:tav>
                                          </p:tavLst>
                                        </p:anim>
                                        <p:anim calcmode="lin" valueType="num">
                                          <p:cBhvr additive="base">
                                            <p:cTn id="15" dur="1250" fill="hold"/>
                                            <p:tgtEl>
                                              <p:spTgt spid="13"/>
                                            </p:tgtEl>
                                            <p:attrNameLst>
                                              <p:attrName>ppt_y</p:attrName>
                                            </p:attrNameLst>
                                          </p:cBhvr>
                                          <p:tavLst>
                                            <p:tav tm="0">
                                              <p:val>
                                                <p:strVal val="1+#ppt_h/2"/>
                                              </p:val>
                                            </p:tav>
                                            <p:tav tm="100000">
                                              <p:val>
                                                <p:strVal val="#ppt_y"/>
                                              </p:val>
                                            </p:tav>
                                          </p:tavLst>
                                        </p:anim>
                                      </p:childTnLst>
                                    </p:cTn>
                                  </p:par>
                                  <p:par>
                                    <p:cTn id="16" presetID="10" presetClass="entr" presetSubtype="0" fill="hold" grpId="0" nodeType="withEffect">
                                      <p:stCondLst>
                                        <p:cond delay="200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1000"/>
                                            <p:tgtEl>
                                              <p:spTgt spid="14"/>
                                            </p:tgtEl>
                                          </p:cBhvr>
                                        </p:animEffect>
                                      </p:childTnLst>
                                    </p:cTn>
                                  </p:par>
                                  <p:par>
                                    <p:cTn id="19" presetID="23" presetClass="entr" presetSubtype="16" fill="hold" grpId="0" nodeType="withEffect">
                                      <p:stCondLst>
                                        <p:cond delay="2000"/>
                                      </p:stCondLst>
                                      <p:childTnLst>
                                        <p:set>
                                          <p:cBhvr>
                                            <p:cTn id="20" dur="1" fill="hold">
                                              <p:stCondLst>
                                                <p:cond delay="0"/>
                                              </p:stCondLst>
                                            </p:cTn>
                                            <p:tgtEl>
                                              <p:spTgt spid="22"/>
                                            </p:tgtEl>
                                            <p:attrNameLst>
                                              <p:attrName>style.visibility</p:attrName>
                                            </p:attrNameLst>
                                          </p:cBhvr>
                                          <p:to>
                                            <p:strVal val="visible"/>
                                          </p:to>
                                        </p:set>
                                        <p:anim calcmode="lin" valueType="num">
                                          <p:cBhvr>
                                            <p:cTn id="21" dur="200" fill="hold"/>
                                            <p:tgtEl>
                                              <p:spTgt spid="22"/>
                                            </p:tgtEl>
                                            <p:attrNameLst>
                                              <p:attrName>ppt_w</p:attrName>
                                            </p:attrNameLst>
                                          </p:cBhvr>
                                          <p:tavLst>
                                            <p:tav tm="0">
                                              <p:val>
                                                <p:fltVal val="0"/>
                                              </p:val>
                                            </p:tav>
                                            <p:tav tm="100000">
                                              <p:val>
                                                <p:strVal val="#ppt_w"/>
                                              </p:val>
                                            </p:tav>
                                          </p:tavLst>
                                        </p:anim>
                                        <p:anim calcmode="lin" valueType="num">
                                          <p:cBhvr>
                                            <p:cTn id="22" dur="200" fill="hold"/>
                                            <p:tgtEl>
                                              <p:spTgt spid="22"/>
                                            </p:tgtEl>
                                            <p:attrNameLst>
                                              <p:attrName>ppt_h</p:attrName>
                                            </p:attrNameLst>
                                          </p:cBhvr>
                                          <p:tavLst>
                                            <p:tav tm="0">
                                              <p:val>
                                                <p:fltVal val="0"/>
                                              </p:val>
                                            </p:tav>
                                            <p:tav tm="100000">
                                              <p:val>
                                                <p:strVal val="#ppt_h"/>
                                              </p:val>
                                            </p:tav>
                                          </p:tavLst>
                                        </p:anim>
                                      </p:childTnLst>
                                    </p:cTn>
                                  </p:par>
                                  <p:par>
                                    <p:cTn id="23" presetID="6" presetClass="emph" presetSubtype="0" fill="hold" grpId="1" nodeType="withEffect">
                                      <p:stCondLst>
                                        <p:cond delay="2000"/>
                                      </p:stCondLst>
                                      <p:childTnLst>
                                        <p:animScale>
                                          <p:cBhvr>
                                            <p:cTn id="24" dur="1000" fill="hold"/>
                                            <p:tgtEl>
                                              <p:spTgt spid="22"/>
                                            </p:tgtEl>
                                          </p:cBhvr>
                                          <p:by x="110000" y="110000"/>
                                        </p:animScale>
                                      </p:childTnLst>
                                    </p:cTn>
                                  </p:par>
                                  <p:par>
                                    <p:cTn id="25" presetID="6" presetClass="emph" presetSubtype="0" accel="50000" decel="50000" fill="hold" grpId="2" nodeType="withEffect">
                                      <p:stCondLst>
                                        <p:cond delay="2000"/>
                                      </p:stCondLst>
                                      <p:childTnLst>
                                        <p:animScale>
                                          <p:cBhvr>
                                            <p:cTn id="26" dur="250" fill="hold"/>
                                            <p:tgtEl>
                                              <p:spTgt spid="22"/>
                                            </p:tgtEl>
                                          </p:cBhvr>
                                          <p:by x="91000" y="91000"/>
                                        </p:animScale>
                                      </p:childTnLst>
                                    </p:cTn>
                                  </p:par>
                                  <p:par>
                                    <p:cTn id="27" presetID="23" presetClass="entr" presetSubtype="16" fill="hold" nodeType="withEffect">
                                      <p:stCondLst>
                                        <p:cond delay="2100"/>
                                      </p:stCondLst>
                                      <p:childTnLst>
                                        <p:set>
                                          <p:cBhvr>
                                            <p:cTn id="28" dur="1" fill="hold">
                                              <p:stCondLst>
                                                <p:cond delay="0"/>
                                              </p:stCondLst>
                                            </p:cTn>
                                            <p:tgtEl>
                                              <p:spTgt spid="28"/>
                                            </p:tgtEl>
                                            <p:attrNameLst>
                                              <p:attrName>style.visibility</p:attrName>
                                            </p:attrNameLst>
                                          </p:cBhvr>
                                          <p:to>
                                            <p:strVal val="visible"/>
                                          </p:to>
                                        </p:set>
                                        <p:anim calcmode="lin" valueType="num">
                                          <p:cBhvr>
                                            <p:cTn id="29" dur="200" fill="hold"/>
                                            <p:tgtEl>
                                              <p:spTgt spid="28"/>
                                            </p:tgtEl>
                                            <p:attrNameLst>
                                              <p:attrName>ppt_w</p:attrName>
                                            </p:attrNameLst>
                                          </p:cBhvr>
                                          <p:tavLst>
                                            <p:tav tm="0">
                                              <p:val>
                                                <p:fltVal val="0"/>
                                              </p:val>
                                            </p:tav>
                                            <p:tav tm="100000">
                                              <p:val>
                                                <p:strVal val="#ppt_w"/>
                                              </p:val>
                                            </p:tav>
                                          </p:tavLst>
                                        </p:anim>
                                        <p:anim calcmode="lin" valueType="num">
                                          <p:cBhvr>
                                            <p:cTn id="30" dur="200" fill="hold"/>
                                            <p:tgtEl>
                                              <p:spTgt spid="28"/>
                                            </p:tgtEl>
                                            <p:attrNameLst>
                                              <p:attrName>ppt_h</p:attrName>
                                            </p:attrNameLst>
                                          </p:cBhvr>
                                          <p:tavLst>
                                            <p:tav tm="0">
                                              <p:val>
                                                <p:fltVal val="0"/>
                                              </p:val>
                                            </p:tav>
                                            <p:tav tm="100000">
                                              <p:val>
                                                <p:strVal val="#ppt_h"/>
                                              </p:val>
                                            </p:tav>
                                          </p:tavLst>
                                        </p:anim>
                                      </p:childTnLst>
                                    </p:cTn>
                                  </p:par>
                                  <p:par>
                                    <p:cTn id="31" presetID="6" presetClass="emph" presetSubtype="0" fill="hold" nodeType="withEffect">
                                      <p:stCondLst>
                                        <p:cond delay="2100"/>
                                      </p:stCondLst>
                                      <p:childTnLst>
                                        <p:animScale>
                                          <p:cBhvr>
                                            <p:cTn id="32" dur="1000" fill="hold"/>
                                            <p:tgtEl>
                                              <p:spTgt spid="28"/>
                                            </p:tgtEl>
                                          </p:cBhvr>
                                          <p:by x="110000" y="110000"/>
                                        </p:animScale>
                                      </p:childTnLst>
                                    </p:cTn>
                                  </p:par>
                                  <p:par>
                                    <p:cTn id="33" presetID="6" presetClass="emph" presetSubtype="0" accel="50000" decel="50000" fill="hold" nodeType="withEffect">
                                      <p:stCondLst>
                                        <p:cond delay="2100"/>
                                      </p:stCondLst>
                                      <p:childTnLst>
                                        <p:animScale>
                                          <p:cBhvr>
                                            <p:cTn id="34" dur="250" fill="hold"/>
                                            <p:tgtEl>
                                              <p:spTgt spid="28"/>
                                            </p:tgtEl>
                                          </p:cBhvr>
                                          <p:by x="91000" y="91000"/>
                                        </p:animScale>
                                      </p:childTnLst>
                                    </p:cTn>
                                  </p:par>
                                  <p:par>
                                    <p:cTn id="35" presetID="23" presetClass="entr" presetSubtype="16" fill="hold" nodeType="withEffect">
                                      <p:stCondLst>
                                        <p:cond delay="2150"/>
                                      </p:stCondLst>
                                      <p:childTnLst>
                                        <p:set>
                                          <p:cBhvr>
                                            <p:cTn id="36" dur="1" fill="hold">
                                              <p:stCondLst>
                                                <p:cond delay="0"/>
                                              </p:stCondLst>
                                            </p:cTn>
                                            <p:tgtEl>
                                              <p:spTgt spid="30"/>
                                            </p:tgtEl>
                                            <p:attrNameLst>
                                              <p:attrName>style.visibility</p:attrName>
                                            </p:attrNameLst>
                                          </p:cBhvr>
                                          <p:to>
                                            <p:strVal val="visible"/>
                                          </p:to>
                                        </p:set>
                                        <p:anim calcmode="lin" valueType="num">
                                          <p:cBhvr>
                                            <p:cTn id="37" dur="200" fill="hold"/>
                                            <p:tgtEl>
                                              <p:spTgt spid="30"/>
                                            </p:tgtEl>
                                            <p:attrNameLst>
                                              <p:attrName>ppt_w</p:attrName>
                                            </p:attrNameLst>
                                          </p:cBhvr>
                                          <p:tavLst>
                                            <p:tav tm="0">
                                              <p:val>
                                                <p:fltVal val="0"/>
                                              </p:val>
                                            </p:tav>
                                            <p:tav tm="100000">
                                              <p:val>
                                                <p:strVal val="#ppt_w"/>
                                              </p:val>
                                            </p:tav>
                                          </p:tavLst>
                                        </p:anim>
                                        <p:anim calcmode="lin" valueType="num">
                                          <p:cBhvr>
                                            <p:cTn id="38" dur="200" fill="hold"/>
                                            <p:tgtEl>
                                              <p:spTgt spid="30"/>
                                            </p:tgtEl>
                                            <p:attrNameLst>
                                              <p:attrName>ppt_h</p:attrName>
                                            </p:attrNameLst>
                                          </p:cBhvr>
                                          <p:tavLst>
                                            <p:tav tm="0">
                                              <p:val>
                                                <p:fltVal val="0"/>
                                              </p:val>
                                            </p:tav>
                                            <p:tav tm="100000">
                                              <p:val>
                                                <p:strVal val="#ppt_h"/>
                                              </p:val>
                                            </p:tav>
                                          </p:tavLst>
                                        </p:anim>
                                      </p:childTnLst>
                                    </p:cTn>
                                  </p:par>
                                  <p:par>
                                    <p:cTn id="39" presetID="6" presetClass="emph" presetSubtype="0" fill="hold" nodeType="withEffect">
                                      <p:stCondLst>
                                        <p:cond delay="2150"/>
                                      </p:stCondLst>
                                      <p:childTnLst>
                                        <p:animScale>
                                          <p:cBhvr>
                                            <p:cTn id="40" dur="1000" fill="hold"/>
                                            <p:tgtEl>
                                              <p:spTgt spid="30"/>
                                            </p:tgtEl>
                                          </p:cBhvr>
                                          <p:by x="110000" y="110000"/>
                                        </p:animScale>
                                      </p:childTnLst>
                                    </p:cTn>
                                  </p:par>
                                  <p:par>
                                    <p:cTn id="41" presetID="6" presetClass="emph" presetSubtype="0" accel="50000" decel="50000" fill="hold" nodeType="withEffect">
                                      <p:stCondLst>
                                        <p:cond delay="2150"/>
                                      </p:stCondLst>
                                      <p:childTnLst>
                                        <p:animScale>
                                          <p:cBhvr>
                                            <p:cTn id="42" dur="250" fill="hold"/>
                                            <p:tgtEl>
                                              <p:spTgt spid="30"/>
                                            </p:tgtEl>
                                          </p:cBhvr>
                                          <p:by x="91000" y="91000"/>
                                        </p:animScale>
                                      </p:childTnLst>
                                    </p:cTn>
                                  </p:par>
                                  <p:par>
                                    <p:cTn id="43" presetID="23" presetClass="entr" presetSubtype="16" fill="hold" nodeType="withEffect">
                                      <p:stCondLst>
                                        <p:cond delay="2200"/>
                                      </p:stCondLst>
                                      <p:childTnLst>
                                        <p:set>
                                          <p:cBhvr>
                                            <p:cTn id="44" dur="1" fill="hold">
                                              <p:stCondLst>
                                                <p:cond delay="0"/>
                                              </p:stCondLst>
                                            </p:cTn>
                                            <p:tgtEl>
                                              <p:spTgt spid="29"/>
                                            </p:tgtEl>
                                            <p:attrNameLst>
                                              <p:attrName>style.visibility</p:attrName>
                                            </p:attrNameLst>
                                          </p:cBhvr>
                                          <p:to>
                                            <p:strVal val="visible"/>
                                          </p:to>
                                        </p:set>
                                        <p:anim calcmode="lin" valueType="num">
                                          <p:cBhvr>
                                            <p:cTn id="45" dur="200" fill="hold"/>
                                            <p:tgtEl>
                                              <p:spTgt spid="29"/>
                                            </p:tgtEl>
                                            <p:attrNameLst>
                                              <p:attrName>ppt_w</p:attrName>
                                            </p:attrNameLst>
                                          </p:cBhvr>
                                          <p:tavLst>
                                            <p:tav tm="0">
                                              <p:val>
                                                <p:fltVal val="0"/>
                                              </p:val>
                                            </p:tav>
                                            <p:tav tm="100000">
                                              <p:val>
                                                <p:strVal val="#ppt_w"/>
                                              </p:val>
                                            </p:tav>
                                          </p:tavLst>
                                        </p:anim>
                                        <p:anim calcmode="lin" valueType="num">
                                          <p:cBhvr>
                                            <p:cTn id="46" dur="200" fill="hold"/>
                                            <p:tgtEl>
                                              <p:spTgt spid="29"/>
                                            </p:tgtEl>
                                            <p:attrNameLst>
                                              <p:attrName>ppt_h</p:attrName>
                                            </p:attrNameLst>
                                          </p:cBhvr>
                                          <p:tavLst>
                                            <p:tav tm="0">
                                              <p:val>
                                                <p:fltVal val="0"/>
                                              </p:val>
                                            </p:tav>
                                            <p:tav tm="100000">
                                              <p:val>
                                                <p:strVal val="#ppt_h"/>
                                              </p:val>
                                            </p:tav>
                                          </p:tavLst>
                                        </p:anim>
                                      </p:childTnLst>
                                    </p:cTn>
                                  </p:par>
                                  <p:par>
                                    <p:cTn id="47" presetID="6" presetClass="emph" presetSubtype="0" fill="hold" nodeType="withEffect">
                                      <p:stCondLst>
                                        <p:cond delay="2200"/>
                                      </p:stCondLst>
                                      <p:childTnLst>
                                        <p:animScale>
                                          <p:cBhvr>
                                            <p:cTn id="48" dur="1000" fill="hold"/>
                                            <p:tgtEl>
                                              <p:spTgt spid="29"/>
                                            </p:tgtEl>
                                          </p:cBhvr>
                                          <p:by x="110000" y="110000"/>
                                        </p:animScale>
                                      </p:childTnLst>
                                    </p:cTn>
                                  </p:par>
                                  <p:par>
                                    <p:cTn id="49" presetID="6" presetClass="emph" presetSubtype="0" accel="50000" decel="50000" fill="hold" nodeType="withEffect">
                                      <p:stCondLst>
                                        <p:cond delay="2200"/>
                                      </p:stCondLst>
                                      <p:childTnLst>
                                        <p:animScale>
                                          <p:cBhvr>
                                            <p:cTn id="50" dur="250" fill="hold"/>
                                            <p:tgtEl>
                                              <p:spTgt spid="29"/>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9" grpId="0" uiExpand="1" build="allAtOnce"/>
          <p:bldP spid="22" grpId="0" animBg="1"/>
          <p:bldP spid="22" grpId="1" animBg="1"/>
          <p:bldP spid="22" grpId="2" animBg="1"/>
        </p:bldLst>
      </p:timing>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F3A944-2290-913A-1BD6-14979CA47C29}"/>
              </a:ext>
            </a:extLst>
          </p:cNvPr>
          <p:cNvSpPr>
            <a:spLocks noGrp="1"/>
          </p:cNvSpPr>
          <p:nvPr>
            <p:ph type="title"/>
          </p:nvPr>
        </p:nvSpPr>
        <p:spPr>
          <a:xfrm>
            <a:off x="1353000" y="692942"/>
            <a:ext cx="9204164" cy="555068"/>
          </a:xfrm>
        </p:spPr>
        <p:txBody>
          <a:bodyPr>
            <a:normAutofit/>
          </a:bodyPr>
          <a:lstStyle/>
          <a:p>
            <a:r>
              <a:rPr lang="nl-NL" dirty="0"/>
              <a:t>Randvoorwaarden </a:t>
            </a:r>
          </a:p>
        </p:txBody>
      </p:sp>
      <p:sp>
        <p:nvSpPr>
          <p:cNvPr id="3" name="Tekstvak 2">
            <a:extLst>
              <a:ext uri="{FF2B5EF4-FFF2-40B4-BE49-F238E27FC236}">
                <a16:creationId xmlns:a16="http://schemas.microsoft.com/office/drawing/2014/main" id="{762871E5-C1CE-C270-383D-FEBFC7B58568}"/>
              </a:ext>
            </a:extLst>
          </p:cNvPr>
          <p:cNvSpPr txBox="1"/>
          <p:nvPr/>
        </p:nvSpPr>
        <p:spPr>
          <a:xfrm>
            <a:off x="1398679" y="1937442"/>
            <a:ext cx="9112806" cy="3785652"/>
          </a:xfrm>
          <a:prstGeom prst="rect">
            <a:avLst/>
          </a:prstGeom>
          <a:noFill/>
        </p:spPr>
        <p:txBody>
          <a:bodyPr wrap="square" lIns="91440" tIns="45720" rIns="91440" bIns="45720" rtlCol="0" anchor="t">
            <a:spAutoFit/>
          </a:bodyPr>
          <a:lstStyle/>
          <a:p>
            <a:pPr marL="285750" indent="-285750">
              <a:buFontTx/>
              <a:buChar char="-"/>
            </a:pPr>
            <a:r>
              <a:rPr lang="nl-NL" sz="2800" dirty="0"/>
              <a:t>Eenduidigheid aanpak</a:t>
            </a:r>
            <a:r>
              <a:rPr lang="nl-NL" sz="2800" dirty="0">
                <a:sym typeface="Wingdings" panose="05000000000000000000" pitchFamily="2" charset="2"/>
              </a:rPr>
              <a:t> </a:t>
            </a:r>
          </a:p>
          <a:p>
            <a:pPr marL="285750" indent="-285750">
              <a:buFontTx/>
              <a:buChar char="-"/>
            </a:pPr>
            <a:endParaRPr lang="nl-NL" sz="2800" dirty="0"/>
          </a:p>
          <a:p>
            <a:pPr marL="285750" indent="-285750">
              <a:buFontTx/>
              <a:buChar char="-"/>
            </a:pPr>
            <a:r>
              <a:rPr lang="nl-NL" sz="2800" dirty="0"/>
              <a:t>Geen free </a:t>
            </a:r>
            <a:r>
              <a:rPr lang="nl-NL" sz="2800" dirty="0" err="1"/>
              <a:t>rider</a:t>
            </a:r>
            <a:r>
              <a:rPr lang="nl-NL" sz="2800" dirty="0"/>
              <a:t> gedrag</a:t>
            </a:r>
          </a:p>
          <a:p>
            <a:pPr marL="285750" indent="-285750">
              <a:buFontTx/>
              <a:buChar char="-"/>
            </a:pPr>
            <a:endParaRPr lang="nl-NL" sz="2800" dirty="0"/>
          </a:p>
          <a:p>
            <a:pPr marL="285750" indent="-285750">
              <a:buFontTx/>
              <a:buChar char="-"/>
            </a:pPr>
            <a:r>
              <a:rPr lang="nl-NL" sz="2800" dirty="0"/>
              <a:t>Collectieve verantwoordelijkheid</a:t>
            </a:r>
            <a:br>
              <a:rPr lang="nl-NL" sz="2800" dirty="0"/>
            </a:br>
            <a:endParaRPr lang="nl-NL" sz="2800" dirty="0"/>
          </a:p>
          <a:p>
            <a:pPr marL="285750" indent="-285750">
              <a:buFontTx/>
              <a:buChar char="-"/>
            </a:pPr>
            <a:endParaRPr lang="nl-NL" dirty="0"/>
          </a:p>
          <a:p>
            <a:pPr marL="285750" indent="-285750">
              <a:buFontTx/>
              <a:buChar char="-"/>
            </a:pPr>
            <a:endParaRPr lang="nl-NL" dirty="0"/>
          </a:p>
          <a:p>
            <a:pPr marL="285750" indent="-285750">
              <a:buFontTx/>
              <a:buChar char="-"/>
            </a:pPr>
            <a:endParaRPr lang="nl-NL" dirty="0"/>
          </a:p>
          <a:p>
            <a:pPr marL="285750" indent="-285750">
              <a:buFontTx/>
              <a:buChar char="-"/>
            </a:pPr>
            <a:endParaRPr lang="nl-NL" dirty="0"/>
          </a:p>
        </p:txBody>
      </p:sp>
    </p:spTree>
    <p:extLst>
      <p:ext uri="{BB962C8B-B14F-4D97-AF65-F5344CB8AC3E}">
        <p14:creationId xmlns:p14="http://schemas.microsoft.com/office/powerpoint/2010/main" val="24997337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3D248A9-6EC9-96B2-F424-698CAFC2CB3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606" imgH="608" progId="TCLayout.ActiveDocument.1">
                  <p:embed/>
                </p:oleObj>
              </mc:Choice>
              <mc:Fallback>
                <p:oleObj name="think-cell Slide" r:id="rId4" imgW="606" imgH="608" progId="TCLayout.ActiveDocument.1">
                  <p:embed/>
                  <p:pic>
                    <p:nvPicPr>
                      <p:cNvPr id="5" name="think-cell data - do not delete" hidden="1">
                        <a:extLst>
                          <a:ext uri="{FF2B5EF4-FFF2-40B4-BE49-F238E27FC236}">
                            <a16:creationId xmlns:a16="http://schemas.microsoft.com/office/drawing/2014/main" id="{33D248A9-6EC9-96B2-F424-698CAFC2CB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C5B900-8D24-F49E-59D3-932654EF3DAD}"/>
              </a:ext>
            </a:extLst>
          </p:cNvPr>
          <p:cNvSpPr>
            <a:spLocks noGrp="1"/>
          </p:cNvSpPr>
          <p:nvPr>
            <p:ph type="title"/>
          </p:nvPr>
        </p:nvSpPr>
        <p:spPr/>
        <p:txBody>
          <a:bodyPr vert="horz">
            <a:normAutofit fontScale="90000"/>
          </a:bodyPr>
          <a:lstStyle/>
          <a:p>
            <a:r>
              <a:rPr lang="nl-NL" dirty="0">
                <a:latin typeface="Arial" panose="020B0604020202020204" pitchFamily="34" charset="0"/>
                <a:cs typeface="Arial" panose="020B0604020202020204" pitchFamily="34" charset="0"/>
              </a:rPr>
              <a:t>De ZZC streeft een zo ‘light’ mogelijke </a:t>
            </a:r>
            <a:br>
              <a:rPr lang="nl-NL" dirty="0">
                <a:latin typeface="Arial" panose="020B0604020202020204" pitchFamily="34" charset="0"/>
                <a:cs typeface="Arial" panose="020B0604020202020204" pitchFamily="34" charset="0"/>
              </a:rPr>
            </a:br>
            <a:r>
              <a:rPr lang="nl-NL" dirty="0" err="1">
                <a:latin typeface="Arial" panose="020B0604020202020204" pitchFamily="34" charset="0"/>
                <a:cs typeface="Arial" panose="020B0604020202020204" pitchFamily="34" charset="0"/>
              </a:rPr>
              <a:t>governance</a:t>
            </a:r>
            <a:r>
              <a:rPr lang="nl-NL" dirty="0">
                <a:latin typeface="Arial" panose="020B0604020202020204" pitchFamily="34" charset="0"/>
                <a:cs typeface="Arial" panose="020B0604020202020204" pitchFamily="34" charset="0"/>
              </a:rPr>
              <a:t> structuur na</a:t>
            </a:r>
          </a:p>
        </p:txBody>
      </p:sp>
      <p:sp>
        <p:nvSpPr>
          <p:cNvPr id="3" name="Footer Placeholder 2">
            <a:extLst>
              <a:ext uri="{FF2B5EF4-FFF2-40B4-BE49-F238E27FC236}">
                <a16:creationId xmlns:a16="http://schemas.microsoft.com/office/drawing/2014/main" id="{9F1548C5-15B6-6DB8-D4A9-2DA41924C868}"/>
              </a:ext>
            </a:extLst>
          </p:cNvPr>
          <p:cNvSpPr>
            <a:spLocks noGrp="1"/>
          </p:cNvSpPr>
          <p:nvPr>
            <p:ph type="ft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l-NL" sz="800" b="0" i="0" u="none" strike="noStrike" kern="1200" cap="none" spc="0" normalizeH="0" baseline="0" noProof="0" dirty="0">
                <a:ln>
                  <a:noFill/>
                </a:ln>
                <a:solidFill>
                  <a:srgbClr val="074576">
                    <a:tint val="75000"/>
                  </a:srgbClr>
                </a:solidFill>
                <a:effectLst/>
                <a:uLnTx/>
                <a:uFillTx/>
                <a:latin typeface="Calibri" panose="020F0502020204030204"/>
                <a:ea typeface="+mn-ea"/>
                <a:cs typeface="+mn-cs"/>
              </a:rPr>
              <a:t> </a:t>
            </a:r>
          </a:p>
        </p:txBody>
      </p:sp>
      <p:grpSp>
        <p:nvGrpSpPr>
          <p:cNvPr id="8" name="Group 7">
            <a:extLst>
              <a:ext uri="{FF2B5EF4-FFF2-40B4-BE49-F238E27FC236}">
                <a16:creationId xmlns:a16="http://schemas.microsoft.com/office/drawing/2014/main" id="{A85837E2-3D87-33F5-9011-58874A2E5020}"/>
              </a:ext>
            </a:extLst>
          </p:cNvPr>
          <p:cNvGrpSpPr/>
          <p:nvPr/>
        </p:nvGrpSpPr>
        <p:grpSpPr>
          <a:xfrm>
            <a:off x="127777" y="2051230"/>
            <a:ext cx="3823426" cy="3475842"/>
            <a:chOff x="349660" y="2016818"/>
            <a:chExt cx="3823426" cy="3475842"/>
          </a:xfrm>
        </p:grpSpPr>
        <p:sp>
          <p:nvSpPr>
            <p:cNvPr id="11" name="Oval 18">
              <a:extLst>
                <a:ext uri="{FF2B5EF4-FFF2-40B4-BE49-F238E27FC236}">
                  <a16:creationId xmlns:a16="http://schemas.microsoft.com/office/drawing/2014/main" id="{5324C37F-4C4F-9024-1A8A-73C1724B7BF6}"/>
                </a:ext>
              </a:extLst>
            </p:cNvPr>
            <p:cNvSpPr/>
            <p:nvPr/>
          </p:nvSpPr>
          <p:spPr>
            <a:xfrm>
              <a:off x="349660" y="2016818"/>
              <a:ext cx="3823426" cy="3475842"/>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Oval 27">
              <a:extLst>
                <a:ext uri="{FF2B5EF4-FFF2-40B4-BE49-F238E27FC236}">
                  <a16:creationId xmlns:a16="http://schemas.microsoft.com/office/drawing/2014/main" id="{62E342F6-29F9-3843-DB48-789D3E42DA1A}"/>
                </a:ext>
              </a:extLst>
            </p:cNvPr>
            <p:cNvSpPr/>
            <p:nvPr/>
          </p:nvSpPr>
          <p:spPr>
            <a:xfrm>
              <a:off x="1023953" y="2791915"/>
              <a:ext cx="2872596" cy="2611451"/>
            </a:xfrm>
            <a:prstGeom prst="ellipse">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3" name="Oval 28">
              <a:extLst>
                <a:ext uri="{FF2B5EF4-FFF2-40B4-BE49-F238E27FC236}">
                  <a16:creationId xmlns:a16="http://schemas.microsoft.com/office/drawing/2014/main" id="{58F96B9E-060D-DDCB-EFFA-AB635FB69921}"/>
                </a:ext>
              </a:extLst>
            </p:cNvPr>
            <p:cNvSpPr/>
            <p:nvPr/>
          </p:nvSpPr>
          <p:spPr>
            <a:xfrm>
              <a:off x="1709634" y="3489093"/>
              <a:ext cx="1962022" cy="1783656"/>
            </a:xfrm>
            <a:prstGeom prst="ellipse">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l-NL"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TextBox 30">
              <a:extLst>
                <a:ext uri="{FF2B5EF4-FFF2-40B4-BE49-F238E27FC236}">
                  <a16:creationId xmlns:a16="http://schemas.microsoft.com/office/drawing/2014/main" id="{DEDCF2AE-5661-6EC9-59B0-54D6D0F36424}"/>
                </a:ext>
              </a:extLst>
            </p:cNvPr>
            <p:cNvSpPr txBox="1"/>
            <p:nvPr/>
          </p:nvSpPr>
          <p:spPr>
            <a:xfrm>
              <a:off x="1668538" y="4119311"/>
              <a:ext cx="2044215" cy="523219"/>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Calibri" panose="020F0502020204030204"/>
                  <a:ea typeface="+mn-ea"/>
                  <a:cs typeface="+mn-cs"/>
                </a:rPr>
                <a:t>Schil 1: ZZC kernvertegenwoordiging</a:t>
              </a:r>
            </a:p>
          </p:txBody>
        </p:sp>
        <p:sp>
          <p:nvSpPr>
            <p:cNvPr id="15" name="TextBox 32">
              <a:extLst>
                <a:ext uri="{FF2B5EF4-FFF2-40B4-BE49-F238E27FC236}">
                  <a16:creationId xmlns:a16="http://schemas.microsoft.com/office/drawing/2014/main" id="{568445C0-9697-CE03-7DF0-26DCE256635A}"/>
                </a:ext>
              </a:extLst>
            </p:cNvPr>
            <p:cNvSpPr txBox="1"/>
            <p:nvPr/>
          </p:nvSpPr>
          <p:spPr>
            <a:xfrm>
              <a:off x="1283429" y="2881583"/>
              <a:ext cx="2248637" cy="523219"/>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FFFFFF"/>
                  </a:solidFill>
                  <a:effectLst/>
                  <a:uLnTx/>
                  <a:uFillTx/>
                  <a:latin typeface="Calibri" panose="020F0502020204030204"/>
                  <a:ea typeface="+mn-ea"/>
                  <a:cs typeface="+mn-cs"/>
                </a:rPr>
                <a:t>Schil 2: </a:t>
              </a:r>
              <a:br>
                <a:rPr kumimoji="0" lang="nl-NL" sz="1400" b="1" i="0" u="none" strike="noStrike" kern="1200" cap="none" spc="0" normalizeH="0" baseline="0" noProof="0">
                  <a:ln>
                    <a:noFill/>
                  </a:ln>
                  <a:solidFill>
                    <a:srgbClr val="FFFFFF"/>
                  </a:solidFill>
                  <a:effectLst/>
                  <a:uLnTx/>
                  <a:uFillTx/>
                  <a:latin typeface="Calibri" panose="020F0502020204030204"/>
                  <a:ea typeface="+mn-ea"/>
                  <a:cs typeface="+mn-cs"/>
                </a:rPr>
              </a:br>
              <a:r>
                <a:rPr kumimoji="0" lang="nl-NL" sz="1400" b="1" i="0" u="none" strike="noStrike" kern="1200" cap="none" spc="0" normalizeH="0" baseline="0" noProof="0">
                  <a:ln>
                    <a:noFill/>
                  </a:ln>
                  <a:solidFill>
                    <a:srgbClr val="FFFFFF"/>
                  </a:solidFill>
                  <a:effectLst/>
                  <a:uLnTx/>
                  <a:uFillTx/>
                  <a:latin typeface="Calibri" panose="020F0502020204030204"/>
                  <a:ea typeface="+mn-ea"/>
                  <a:cs typeface="+mn-cs"/>
                </a:rPr>
                <a:t>Bredere ZZC coalitie</a:t>
              </a:r>
            </a:p>
          </p:txBody>
        </p:sp>
        <p:sp>
          <p:nvSpPr>
            <p:cNvPr id="16" name="TextBox 33">
              <a:extLst>
                <a:ext uri="{FF2B5EF4-FFF2-40B4-BE49-F238E27FC236}">
                  <a16:creationId xmlns:a16="http://schemas.microsoft.com/office/drawing/2014/main" id="{C1864923-1A1E-202F-490F-7F5CAC571E57}"/>
                </a:ext>
              </a:extLst>
            </p:cNvPr>
            <p:cNvSpPr txBox="1"/>
            <p:nvPr/>
          </p:nvSpPr>
          <p:spPr>
            <a:xfrm>
              <a:off x="880114" y="2064245"/>
              <a:ext cx="2720851" cy="523219"/>
            </a:xfrm>
            <a:prstGeom prst="rect">
              <a:avLst/>
            </a:prstGeom>
            <a:noFill/>
          </p:spPr>
          <p:txBody>
            <a:bodyPr wrap="square"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rgbClr val="074576"/>
                  </a:solidFill>
                  <a:effectLst/>
                  <a:uLnTx/>
                  <a:uFillTx/>
                  <a:latin typeface="Calibri" panose="020F0502020204030204"/>
                  <a:ea typeface="+mn-ea"/>
                  <a:cs typeface="+mn-cs"/>
                </a:rPr>
                <a:t>Schil 3: </a:t>
              </a:r>
              <a:br>
                <a:rPr kumimoji="0" lang="nl-NL" sz="1400" b="1" i="0" u="none" strike="noStrike" kern="1200" cap="none" spc="0" normalizeH="0" baseline="0" noProof="0">
                  <a:ln>
                    <a:noFill/>
                  </a:ln>
                  <a:solidFill>
                    <a:srgbClr val="074576"/>
                  </a:solidFill>
                  <a:effectLst/>
                  <a:uLnTx/>
                  <a:uFillTx/>
                  <a:latin typeface="Calibri" panose="020F0502020204030204"/>
                  <a:ea typeface="+mn-ea"/>
                  <a:cs typeface="+mn-cs"/>
                </a:rPr>
              </a:br>
              <a:r>
                <a:rPr kumimoji="0" lang="nl-NL" sz="1400" b="1" i="0" u="none" strike="noStrike" kern="1200" cap="none" spc="0" normalizeH="0" baseline="0" noProof="0">
                  <a:ln>
                    <a:noFill/>
                  </a:ln>
                  <a:solidFill>
                    <a:srgbClr val="074576"/>
                  </a:solidFill>
                  <a:effectLst/>
                  <a:uLnTx/>
                  <a:uFillTx/>
                  <a:latin typeface="Calibri" panose="020F0502020204030204"/>
                  <a:ea typeface="+mn-ea"/>
                  <a:cs typeface="+mn-cs"/>
                </a:rPr>
                <a:t>Aanbieders buiten de ZZC</a:t>
              </a:r>
            </a:p>
          </p:txBody>
        </p:sp>
      </p:grpSp>
      <p:sp>
        <p:nvSpPr>
          <p:cNvPr id="17" name="Text Placeholder 5">
            <a:extLst>
              <a:ext uri="{FF2B5EF4-FFF2-40B4-BE49-F238E27FC236}">
                <a16:creationId xmlns:a16="http://schemas.microsoft.com/office/drawing/2014/main" id="{D2766BEC-D499-8805-4823-F879658D99AE}"/>
              </a:ext>
            </a:extLst>
          </p:cNvPr>
          <p:cNvSpPr txBox="1">
            <a:spLocks/>
          </p:cNvSpPr>
          <p:nvPr/>
        </p:nvSpPr>
        <p:spPr>
          <a:xfrm>
            <a:off x="4043742" y="1434970"/>
            <a:ext cx="7780021" cy="4803905"/>
          </a:xfrm>
          <a:prstGeom prst="rect">
            <a:avLst/>
          </a:prstGeom>
        </p:spPr>
        <p:txBody>
          <a:bodyPr vert="horz" lIns="0" tIns="0" rIns="0" bIns="0" rtlCol="0" anchor="t">
            <a:no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7965" marR="0" lvl="0" indent="-227965" algn="l" defTabSz="914377" rtl="0" eaLnBrk="1" fontAlgn="auto" latinLnBrk="0" hangingPunct="1">
              <a:lnSpc>
                <a:spcPct val="100000"/>
              </a:lnSpc>
              <a:spcBef>
                <a:spcPts val="1000"/>
              </a:spcBef>
              <a:spcAft>
                <a:spcPts val="300"/>
              </a:spcAft>
              <a:buClrTx/>
              <a:buSzTx/>
              <a:buFont typeface="Arial" panose="020B0604020202020204" pitchFamily="34" charset="0"/>
              <a:buChar char="•"/>
              <a:tabLst/>
              <a:defRPr/>
            </a:pPr>
            <a:r>
              <a:rPr kumimoji="0" lang="nl-NL" sz="1600" i="0" u="none" strike="noStrike" kern="1200" cap="none" spc="0" normalizeH="0" baseline="0" noProof="0" dirty="0">
                <a:ln>
                  <a:noFill/>
                </a:ln>
                <a:solidFill>
                  <a:srgbClr val="074576"/>
                </a:solidFill>
                <a:effectLst/>
                <a:uLnTx/>
                <a:uFillTx/>
                <a:latin typeface="Calibri" panose="020F0502020204030204"/>
                <a:ea typeface="+mn-ea"/>
                <a:cs typeface="Calibri"/>
              </a:rPr>
              <a:t>De </a:t>
            </a:r>
            <a:r>
              <a:rPr kumimoji="0" lang="nl-NL" sz="1600" b="1" i="0" u="none" strike="noStrike" kern="1200" cap="none" spc="0" normalizeH="0" baseline="0" noProof="0" dirty="0">
                <a:ln>
                  <a:noFill/>
                </a:ln>
                <a:solidFill>
                  <a:srgbClr val="074576"/>
                </a:solidFill>
                <a:effectLst/>
                <a:uLnTx/>
                <a:uFillTx/>
                <a:latin typeface="Calibri" panose="020F0502020204030204"/>
                <a:ea typeface="+mn-ea"/>
                <a:cs typeface="Calibri"/>
              </a:rPr>
              <a:t>Kernvertegenwoordiging</a:t>
            </a:r>
            <a:r>
              <a:rPr kumimoji="0" lang="nl-NL" sz="1600" i="0" u="none" strike="noStrike" kern="1200" cap="none" spc="0" normalizeH="0" baseline="0" noProof="0" dirty="0">
                <a:ln>
                  <a:noFill/>
                </a:ln>
                <a:solidFill>
                  <a:srgbClr val="074576"/>
                </a:solidFill>
                <a:effectLst/>
                <a:uLnTx/>
                <a:uFillTx/>
                <a:latin typeface="Calibri" panose="020F0502020204030204"/>
                <a:ea typeface="+mn-ea"/>
                <a:cs typeface="Calibri"/>
              </a:rPr>
              <a:t> is de </a:t>
            </a:r>
            <a:r>
              <a:rPr kumimoji="0" lang="nl-NL" sz="1600" b="1" i="0" u="none" strike="noStrike" kern="1200" cap="none" spc="0" normalizeH="0" baseline="0" noProof="0" dirty="0">
                <a:ln>
                  <a:noFill/>
                </a:ln>
                <a:solidFill>
                  <a:srgbClr val="074576"/>
                </a:solidFill>
                <a:effectLst/>
                <a:uLnTx/>
                <a:uFillTx/>
                <a:latin typeface="Calibri" panose="020F0502020204030204"/>
                <a:ea typeface="+mn-ea"/>
                <a:cs typeface="Calibri"/>
              </a:rPr>
              <a:t>motor van de netwerkorganisatie</a:t>
            </a:r>
          </a:p>
          <a:p>
            <a:pPr marL="742950" marR="0" lvl="1" indent="-285750" algn="l" defTabSz="914377" rtl="0" eaLnBrk="1" fontAlgn="auto" latinLnBrk="0" hangingPunct="1">
              <a:lnSpc>
                <a:spcPct val="100000"/>
              </a:lnSpc>
              <a:spcBef>
                <a:spcPts val="500"/>
              </a:spcBef>
              <a:spcAft>
                <a:spcPts val="300"/>
              </a:spcAft>
              <a:buClrTx/>
              <a:buSzTx/>
              <a:buFont typeface="Courier New" panose="02070309020205020404" pitchFamily="49" charset="0"/>
              <a:buChar char="o"/>
              <a:tabLst/>
              <a:defRPr/>
            </a:pPr>
            <a:r>
              <a:rPr kumimoji="0" lang="nl-NL" sz="1600" b="0" i="0" u="none" strike="noStrike" kern="1200" cap="none" spc="0" normalizeH="0" baseline="0" noProof="0" dirty="0">
                <a:ln>
                  <a:noFill/>
                </a:ln>
                <a:solidFill>
                  <a:srgbClr val="074576"/>
                </a:solidFill>
                <a:effectLst/>
                <a:uLnTx/>
                <a:uFillTx/>
                <a:latin typeface="Calibri" panose="020F0502020204030204"/>
                <a:ea typeface="+mn-ea"/>
                <a:cs typeface="Calibri"/>
              </a:rPr>
              <a:t>vertegenwoordigt de volledige ZZC</a:t>
            </a:r>
          </a:p>
          <a:p>
            <a:pPr marL="742950" marR="0" lvl="1" indent="-285750" algn="l" defTabSz="914377" rtl="0" eaLnBrk="1" fontAlgn="auto" latinLnBrk="0" hangingPunct="1">
              <a:lnSpc>
                <a:spcPct val="100000"/>
              </a:lnSpc>
              <a:spcBef>
                <a:spcPts val="500"/>
              </a:spcBef>
              <a:spcAft>
                <a:spcPts val="300"/>
              </a:spcAft>
              <a:buClrTx/>
              <a:buSzTx/>
              <a:buFont typeface="Courier New" panose="02070309020205020404" pitchFamily="49" charset="0"/>
              <a:buChar char="o"/>
              <a:tabLst/>
              <a:defRPr/>
            </a:pPr>
            <a:r>
              <a:rPr kumimoji="0" lang="nl-NL" sz="1600" b="0" i="0" u="none" strike="noStrike" kern="1200" cap="none" spc="0" normalizeH="0" baseline="0" noProof="0" dirty="0">
                <a:ln>
                  <a:noFill/>
                </a:ln>
                <a:solidFill>
                  <a:srgbClr val="074576"/>
                </a:solidFill>
                <a:effectLst/>
                <a:uLnTx/>
                <a:uFillTx/>
                <a:latin typeface="Calibri" panose="020F0502020204030204"/>
                <a:ea typeface="+mn-ea"/>
                <a:cs typeface="Calibri" panose="020F0502020204030204" pitchFamily="34" charset="0"/>
              </a:rPr>
              <a:t>bewaakt ‘de beweging’ en geeft richting aan de plannen</a:t>
            </a:r>
          </a:p>
          <a:p>
            <a:pPr marL="742950" marR="0" lvl="1" indent="-285750" algn="l" defTabSz="914377" rtl="0" eaLnBrk="1" fontAlgn="auto" latinLnBrk="0" hangingPunct="1">
              <a:lnSpc>
                <a:spcPct val="100000"/>
              </a:lnSpc>
              <a:spcBef>
                <a:spcPts val="500"/>
              </a:spcBef>
              <a:spcAft>
                <a:spcPts val="300"/>
              </a:spcAft>
              <a:buClrTx/>
              <a:buSzTx/>
              <a:buFont typeface="Courier New" panose="02070309020205020404" pitchFamily="49" charset="0"/>
              <a:buChar char="o"/>
              <a:tabLst/>
              <a:defRPr/>
            </a:pPr>
            <a:r>
              <a:rPr kumimoji="0" lang="nl-NL" sz="1600" b="0" i="0" u="none" strike="noStrike" kern="1200" cap="none" spc="0" normalizeH="0" baseline="0" noProof="0" dirty="0">
                <a:ln>
                  <a:noFill/>
                </a:ln>
                <a:solidFill>
                  <a:srgbClr val="074576"/>
                </a:solidFill>
                <a:effectLst/>
                <a:uLnTx/>
                <a:uFillTx/>
                <a:latin typeface="Calibri" panose="020F0502020204030204"/>
                <a:ea typeface="+mn-ea"/>
                <a:cs typeface="Calibri" panose="020F0502020204030204" pitchFamily="34" charset="0"/>
              </a:rPr>
              <a:t>neemt </a:t>
            </a:r>
            <a:r>
              <a:rPr kumimoji="0" lang="nl-NL" sz="1600" b="0" i="1" u="none" strike="noStrike" kern="1200" cap="none" spc="0" normalizeH="0" baseline="0" noProof="0" dirty="0">
                <a:ln>
                  <a:noFill/>
                </a:ln>
                <a:solidFill>
                  <a:srgbClr val="074576"/>
                </a:solidFill>
                <a:effectLst/>
                <a:uLnTx/>
                <a:uFillTx/>
                <a:latin typeface="Calibri" panose="020F0502020204030204"/>
                <a:ea typeface="+mn-ea"/>
                <a:cs typeface="Calibri" panose="020F0502020204030204" pitchFamily="34" charset="0"/>
              </a:rPr>
              <a:t>principe</a:t>
            </a:r>
            <a:r>
              <a:rPr kumimoji="0" lang="nl-NL" sz="1600" b="0" i="0" u="none" strike="noStrike" kern="1200" cap="none" spc="0" normalizeH="0" baseline="0" noProof="0" dirty="0">
                <a:ln>
                  <a:noFill/>
                </a:ln>
                <a:solidFill>
                  <a:srgbClr val="074576"/>
                </a:solidFill>
                <a:effectLst/>
                <a:uLnTx/>
                <a:uFillTx/>
                <a:latin typeface="Calibri" panose="020F0502020204030204"/>
                <a:ea typeface="+mn-ea"/>
                <a:cs typeface="Calibri" panose="020F0502020204030204" pitchFamily="34" charset="0"/>
              </a:rPr>
              <a:t>besluiten, maar besluit niet voor/namens een ZZC-deelnemer</a:t>
            </a:r>
          </a:p>
          <a:p>
            <a:pPr marL="227965" marR="0" lvl="0" indent="-227965" algn="l" defTabSz="914377" rtl="0" eaLnBrk="1" fontAlgn="auto" latinLnBrk="0" hangingPunct="1">
              <a:lnSpc>
                <a:spcPct val="100000"/>
              </a:lnSpc>
              <a:spcBef>
                <a:spcPts val="1000"/>
              </a:spcBef>
              <a:spcAft>
                <a:spcPts val="300"/>
              </a:spcAft>
              <a:buClrTx/>
              <a:buSzTx/>
              <a:buFont typeface="Arial" panose="020B0604020202020204" pitchFamily="34" charset="0"/>
              <a:buChar char="•"/>
              <a:tabLst/>
              <a:defRPr/>
            </a:pPr>
            <a:r>
              <a:rPr kumimoji="0" lang="nl-NL" sz="1600" b="0" i="0" u="none" strike="noStrike" kern="1200" cap="none" spc="0" normalizeH="0" baseline="0" noProof="0" dirty="0">
                <a:ln>
                  <a:noFill/>
                </a:ln>
                <a:solidFill>
                  <a:srgbClr val="074576"/>
                </a:solidFill>
                <a:effectLst/>
                <a:uLnTx/>
                <a:uFillTx/>
                <a:latin typeface="Calibri" panose="020F0502020204030204"/>
                <a:ea typeface="+mn-ea"/>
                <a:cs typeface="Calibri" panose="020F0502020204030204" pitchFamily="34" charset="0"/>
              </a:rPr>
              <a:t>ZZC-deelnemers </a:t>
            </a:r>
            <a:r>
              <a:rPr kumimoji="0" lang="nl-NL" sz="1600" b="1" i="0" u="none" strike="noStrike" kern="1200" cap="none" spc="0" normalizeH="0" baseline="0" noProof="0" dirty="0">
                <a:ln>
                  <a:noFill/>
                </a:ln>
                <a:solidFill>
                  <a:srgbClr val="074576"/>
                </a:solidFill>
                <a:effectLst/>
                <a:uLnTx/>
                <a:uFillTx/>
                <a:latin typeface="Calibri" panose="020F0502020204030204"/>
                <a:ea typeface="+mn-ea"/>
                <a:cs typeface="Calibri" panose="020F0502020204030204" pitchFamily="34" charset="0"/>
              </a:rPr>
              <a:t>committeren zich bindend aan de ZZC-uitvoeringsagenda </a:t>
            </a:r>
            <a:r>
              <a:rPr kumimoji="0" lang="nl-NL" sz="1600" b="0" i="0" u="none" strike="noStrike" kern="1200" cap="none" spc="0" normalizeH="0" baseline="0" noProof="0" dirty="0">
                <a:ln>
                  <a:noFill/>
                </a:ln>
                <a:solidFill>
                  <a:srgbClr val="074576"/>
                </a:solidFill>
                <a:effectLst/>
                <a:uLnTx/>
                <a:uFillTx/>
                <a:latin typeface="Calibri" panose="020F0502020204030204"/>
                <a:ea typeface="+mn-ea"/>
                <a:cs typeface="Calibri" panose="020F0502020204030204" pitchFamily="34" charset="0"/>
              </a:rPr>
              <a:t>en vooraf vastgestelde afspraken en uitkomsten</a:t>
            </a:r>
          </a:p>
          <a:p>
            <a:pPr marL="803275" indent="-309563">
              <a:lnSpc>
                <a:spcPct val="100000"/>
              </a:lnSpc>
              <a:spcAft>
                <a:spcPts val="300"/>
              </a:spcAft>
              <a:buFont typeface="Courier New" panose="02070309020205020404" pitchFamily="49" charset="0"/>
              <a:buChar char="o"/>
              <a:defRPr/>
            </a:pPr>
            <a:r>
              <a:rPr lang="nl-NL" sz="1600" b="1" dirty="0">
                <a:solidFill>
                  <a:srgbClr val="074576"/>
                </a:solidFill>
                <a:latin typeface="Calibri" panose="020F0502020204030204"/>
                <a:cs typeface="Calibri"/>
              </a:rPr>
              <a:t>Samenwerkingsovereenkomst</a:t>
            </a:r>
            <a:r>
              <a:rPr kumimoji="0" lang="nl-NL" sz="1600" b="1" i="0" u="none" strike="noStrike" kern="1200" cap="none" spc="0" normalizeH="0" baseline="0" noProof="0" dirty="0">
                <a:ln>
                  <a:noFill/>
                </a:ln>
                <a:solidFill>
                  <a:srgbClr val="074576"/>
                </a:solidFill>
                <a:effectLst/>
                <a:uLnTx/>
                <a:uFillTx/>
                <a:latin typeface="Calibri" panose="020F0502020204030204"/>
                <a:ea typeface="+mn-ea"/>
                <a:cs typeface="Calibri"/>
              </a:rPr>
              <a:t> (SOK): </a:t>
            </a:r>
            <a:r>
              <a:rPr kumimoji="0" lang="nl-NL" sz="1600" b="0" i="0" u="none" strike="noStrike" kern="1200" cap="none" spc="0" normalizeH="0" baseline="0" noProof="0" dirty="0">
                <a:ln>
                  <a:noFill/>
                </a:ln>
                <a:solidFill>
                  <a:srgbClr val="074576"/>
                </a:solidFill>
                <a:effectLst/>
                <a:uLnTx/>
                <a:uFillTx/>
                <a:latin typeface="Calibri" panose="020F0502020204030204"/>
                <a:ea typeface="+mn-ea"/>
                <a:cs typeface="Calibri"/>
              </a:rPr>
              <a:t>beschrijft o.a.</a:t>
            </a:r>
            <a:r>
              <a:rPr lang="nl-NL" sz="1600" dirty="0">
                <a:solidFill>
                  <a:srgbClr val="074576"/>
                </a:solidFill>
                <a:latin typeface="Calibri" panose="020F0502020204030204"/>
                <a:cs typeface="Calibri"/>
              </a:rPr>
              <a:t> de doelstellingen van de transformatie en wijze van samenwerking</a:t>
            </a:r>
            <a:endParaRPr kumimoji="0" lang="nl-NL" sz="1600" b="0" i="0" u="none" strike="noStrike" kern="1200" cap="none" spc="0" normalizeH="0" baseline="0" noProof="0" dirty="0">
              <a:ln>
                <a:noFill/>
              </a:ln>
              <a:solidFill>
                <a:srgbClr val="074576"/>
              </a:solidFill>
              <a:effectLst/>
              <a:uLnTx/>
              <a:uFillTx/>
              <a:latin typeface="Calibri" panose="020F0502020204030204"/>
              <a:ea typeface="+mn-ea"/>
              <a:cs typeface="Calibri"/>
            </a:endParaRPr>
          </a:p>
          <a:p>
            <a:pPr marL="803275" indent="-309563">
              <a:lnSpc>
                <a:spcPct val="100000"/>
              </a:lnSpc>
              <a:spcAft>
                <a:spcPts val="300"/>
              </a:spcAft>
              <a:buFont typeface="Courier New" panose="02070309020205020404" pitchFamily="49" charset="0"/>
              <a:buChar char="o"/>
              <a:defRPr/>
            </a:pPr>
            <a:r>
              <a:rPr lang="nl-NL" sz="1600" b="1" dirty="0">
                <a:solidFill>
                  <a:srgbClr val="074576"/>
                </a:solidFill>
                <a:latin typeface="Calibri" panose="020F0502020204030204"/>
                <a:cs typeface="Calibri"/>
              </a:rPr>
              <a:t>Nadere overeenkomsten (NOK) per thema: </a:t>
            </a:r>
            <a:r>
              <a:rPr lang="nl-NL" sz="1600" dirty="0">
                <a:solidFill>
                  <a:srgbClr val="074576"/>
                </a:solidFill>
                <a:latin typeface="Calibri" panose="020F0502020204030204"/>
                <a:cs typeface="Calibri"/>
              </a:rPr>
              <a:t>beschrijft de mijlpalen en daarmee de beoogde bijdrage van betrokkenen, en vormt basis voor het financieel contract</a:t>
            </a:r>
          </a:p>
          <a:p>
            <a:pPr marL="285750" indent="-285750">
              <a:lnSpc>
                <a:spcPct val="100000"/>
              </a:lnSpc>
              <a:spcAft>
                <a:spcPts val="300"/>
              </a:spcAft>
              <a:defRPr/>
            </a:pPr>
            <a:r>
              <a:rPr lang="nl-NL" sz="1600" dirty="0">
                <a:solidFill>
                  <a:srgbClr val="074576"/>
                </a:solidFill>
                <a:latin typeface="Calibri" panose="020F0502020204030204"/>
                <a:cs typeface="Calibri"/>
              </a:rPr>
              <a:t>De samenwerking binnen de ZZC volgt een </a:t>
            </a:r>
            <a:r>
              <a:rPr lang="nl-NL" sz="1600" b="1" dirty="0">
                <a:solidFill>
                  <a:srgbClr val="074576"/>
                </a:solidFill>
                <a:latin typeface="Calibri" panose="020F0502020204030204"/>
                <a:cs typeface="Calibri"/>
              </a:rPr>
              <a:t>strak ritme:</a:t>
            </a:r>
          </a:p>
          <a:p>
            <a:pPr marL="714375" indent="-266700">
              <a:lnSpc>
                <a:spcPct val="100000"/>
              </a:lnSpc>
              <a:spcAft>
                <a:spcPts val="300"/>
              </a:spcAft>
              <a:buFont typeface="Courier New" panose="02070309020205020404" pitchFamily="49" charset="0"/>
              <a:buChar char="o"/>
              <a:defRPr/>
            </a:pPr>
            <a:r>
              <a:rPr lang="nl-NL" sz="1600" dirty="0">
                <a:solidFill>
                  <a:srgbClr val="074576"/>
                </a:solidFill>
                <a:latin typeface="Calibri" panose="020F0502020204030204"/>
                <a:cs typeface="Calibri"/>
              </a:rPr>
              <a:t>Wekelijkse bijeenkomst bestuurders KV-instellingen</a:t>
            </a:r>
            <a:r>
              <a:rPr lang="nl-NL" sz="1600" b="1" dirty="0">
                <a:solidFill>
                  <a:srgbClr val="074576"/>
                </a:solidFill>
                <a:latin typeface="Calibri" panose="020F0502020204030204"/>
                <a:cs typeface="Calibri"/>
              </a:rPr>
              <a:t> </a:t>
            </a:r>
            <a:r>
              <a:rPr lang="nl-NL" sz="1600" dirty="0">
                <a:solidFill>
                  <a:srgbClr val="074576"/>
                </a:solidFill>
                <a:latin typeface="Calibri" panose="020F0502020204030204"/>
                <a:cs typeface="Calibri"/>
              </a:rPr>
              <a:t>en CZ</a:t>
            </a:r>
          </a:p>
          <a:p>
            <a:pPr marL="714375" indent="-266700">
              <a:lnSpc>
                <a:spcPct val="100000"/>
              </a:lnSpc>
              <a:spcAft>
                <a:spcPts val="300"/>
              </a:spcAft>
              <a:buFont typeface="Courier New" panose="02070309020205020404" pitchFamily="49" charset="0"/>
              <a:buChar char="o"/>
              <a:defRPr/>
            </a:pPr>
            <a:r>
              <a:rPr lang="nl-NL" sz="1600" dirty="0">
                <a:solidFill>
                  <a:srgbClr val="074576"/>
                </a:solidFill>
                <a:latin typeface="Calibri" panose="020F0502020204030204"/>
                <a:cs typeface="Calibri"/>
              </a:rPr>
              <a:t>Kwartaal bijeenkomst met alle ca. 70 ZZC-deelnemers</a:t>
            </a:r>
          </a:p>
        </p:txBody>
      </p:sp>
      <p:sp>
        <p:nvSpPr>
          <p:cNvPr id="10" name="Tijdelijke aanduiding voor dianummer 3">
            <a:extLst>
              <a:ext uri="{FF2B5EF4-FFF2-40B4-BE49-F238E27FC236}">
                <a16:creationId xmlns:a16="http://schemas.microsoft.com/office/drawing/2014/main" id="{AD0D5774-5F7A-A92F-FD09-0BB9D067CDB6}"/>
              </a:ext>
            </a:extLst>
          </p:cNvPr>
          <p:cNvSpPr>
            <a:spLocks noGrp="1"/>
          </p:cNvSpPr>
          <p:nvPr>
            <p:ph type="sldNum" sz="quarter" idx="4"/>
          </p:nvPr>
        </p:nvSpPr>
        <p:spPr>
          <a:xfrm>
            <a:off x="9104212"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BE2D24-2D97-41E0-9A10-305B4CE75A67}" type="slidenum">
              <a:rPr kumimoji="0" lang="nl-NL" sz="1200" b="0" i="0" u="none" strike="noStrike" kern="1200" cap="none" spc="0" normalizeH="0" baseline="0" noProof="0" smtClean="0">
                <a:ln>
                  <a:noFill/>
                </a:ln>
                <a:solidFill>
                  <a:srgbClr val="074576">
                    <a:tint val="75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nl-NL" sz="1200" b="0" i="0" u="none" strike="noStrike" kern="1200" cap="none" spc="0" normalizeH="0" baseline="0" noProof="0">
              <a:ln>
                <a:noFill/>
              </a:ln>
              <a:solidFill>
                <a:srgbClr val="074576">
                  <a:tint val="75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8414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F3A944-2290-913A-1BD6-14979CA47C29}"/>
              </a:ext>
            </a:extLst>
          </p:cNvPr>
          <p:cNvSpPr>
            <a:spLocks noGrp="1"/>
          </p:cNvSpPr>
          <p:nvPr>
            <p:ph type="title"/>
          </p:nvPr>
        </p:nvSpPr>
        <p:spPr>
          <a:xfrm>
            <a:off x="1353000" y="692942"/>
            <a:ext cx="9204164" cy="555068"/>
          </a:xfrm>
        </p:spPr>
        <p:txBody>
          <a:bodyPr>
            <a:normAutofit/>
          </a:bodyPr>
          <a:lstStyle/>
          <a:p>
            <a:r>
              <a:rPr lang="nl-NL" dirty="0" err="1"/>
              <a:t>Governance</a:t>
            </a:r>
            <a:r>
              <a:rPr lang="nl-NL" dirty="0"/>
              <a:t> </a:t>
            </a:r>
          </a:p>
        </p:txBody>
      </p:sp>
      <p:sp>
        <p:nvSpPr>
          <p:cNvPr id="3" name="Tekstvak 2">
            <a:extLst>
              <a:ext uri="{FF2B5EF4-FFF2-40B4-BE49-F238E27FC236}">
                <a16:creationId xmlns:a16="http://schemas.microsoft.com/office/drawing/2014/main" id="{762871E5-C1CE-C270-383D-FEBFC7B58568}"/>
              </a:ext>
            </a:extLst>
          </p:cNvPr>
          <p:cNvSpPr txBox="1"/>
          <p:nvPr/>
        </p:nvSpPr>
        <p:spPr>
          <a:xfrm>
            <a:off x="1398679" y="1937442"/>
            <a:ext cx="9112806" cy="5293757"/>
          </a:xfrm>
          <a:prstGeom prst="rect">
            <a:avLst/>
          </a:prstGeom>
          <a:noFill/>
        </p:spPr>
        <p:txBody>
          <a:bodyPr wrap="square" lIns="91440" tIns="45720" rIns="91440" bIns="45720" rtlCol="0" anchor="t">
            <a:spAutoFit/>
          </a:bodyPr>
          <a:lstStyle/>
          <a:p>
            <a:pPr marL="285750" indent="-285750">
              <a:buFontTx/>
              <a:buChar char="-"/>
            </a:pPr>
            <a:r>
              <a:rPr lang="nl-NL" sz="2800" dirty="0"/>
              <a:t>Eenduidigheid aanpak</a:t>
            </a:r>
            <a:r>
              <a:rPr lang="nl-NL" sz="2800" dirty="0">
                <a:sym typeface="Wingdings" panose="05000000000000000000" pitchFamily="2" charset="2"/>
              </a:rPr>
              <a:t> </a:t>
            </a:r>
          </a:p>
          <a:p>
            <a:pPr marL="285750" indent="-285750">
              <a:buFontTx/>
              <a:buChar char="-"/>
            </a:pPr>
            <a:endParaRPr lang="nl-NL" sz="2800" dirty="0"/>
          </a:p>
          <a:p>
            <a:pPr marL="285750" indent="-285750">
              <a:buFontTx/>
              <a:buChar char="-"/>
            </a:pPr>
            <a:r>
              <a:rPr lang="nl-NL" sz="2800" dirty="0"/>
              <a:t>Geen free </a:t>
            </a:r>
            <a:r>
              <a:rPr lang="nl-NL" sz="2800" dirty="0" err="1"/>
              <a:t>rider</a:t>
            </a:r>
            <a:r>
              <a:rPr lang="nl-NL" sz="2800" dirty="0"/>
              <a:t> gedrag</a:t>
            </a:r>
          </a:p>
          <a:p>
            <a:pPr marL="285750" indent="-285750">
              <a:buFontTx/>
              <a:buChar char="-"/>
            </a:pPr>
            <a:endParaRPr lang="nl-NL" sz="2800" dirty="0"/>
          </a:p>
          <a:p>
            <a:pPr marL="285750" indent="-285750">
              <a:buFontTx/>
              <a:buChar char="-"/>
            </a:pPr>
            <a:r>
              <a:rPr lang="nl-NL" sz="2800" dirty="0"/>
              <a:t>Netwerkorganisatie: collectieve verantwoordelijkheid</a:t>
            </a:r>
            <a:br>
              <a:rPr lang="nl-NL" sz="2800" dirty="0"/>
            </a:br>
            <a:endParaRPr lang="nl-NL" sz="2800" dirty="0"/>
          </a:p>
          <a:p>
            <a:pPr marL="285750" indent="-285750">
              <a:buFontTx/>
              <a:buChar char="-"/>
            </a:pPr>
            <a:r>
              <a:rPr lang="nl-NL" sz="2800" dirty="0"/>
              <a:t>Kenmerken netwerkorganisatie Prof. </a:t>
            </a:r>
            <a:r>
              <a:rPr lang="nl-NL" sz="2800" dirty="0" err="1"/>
              <a:t>Kenis</a:t>
            </a:r>
            <a:r>
              <a:rPr lang="nl-NL" sz="2800" dirty="0"/>
              <a:t>:</a:t>
            </a:r>
            <a:r>
              <a:rPr lang="nl-NL" sz="1200" b="1" i="0" dirty="0">
                <a:solidFill>
                  <a:srgbClr val="000000"/>
                </a:solidFill>
                <a:effectLst/>
                <a:latin typeface="robotoslab"/>
              </a:rPr>
              <a:t> </a:t>
            </a:r>
            <a:r>
              <a:rPr lang="nl-NL" sz="1400" i="1" dirty="0">
                <a:solidFill>
                  <a:srgbClr val="000000"/>
                </a:solidFill>
                <a:effectLst/>
                <a:latin typeface="robotoslab"/>
              </a:rPr>
              <a:t>een verband van soevereine en unieke organisaties die informatie, middelen, activiteiten en competenties van soevereine en unieke organisaties verbinden en delen om samen een </a:t>
            </a:r>
            <a:r>
              <a:rPr lang="nl-NL" sz="1400" i="1" dirty="0" err="1">
                <a:solidFill>
                  <a:srgbClr val="000000"/>
                </a:solidFill>
                <a:effectLst/>
                <a:latin typeface="robotoslab"/>
              </a:rPr>
              <a:t>outcome</a:t>
            </a:r>
            <a:r>
              <a:rPr lang="nl-NL" sz="1400" i="1" dirty="0">
                <a:solidFill>
                  <a:srgbClr val="000000"/>
                </a:solidFill>
                <a:effectLst/>
                <a:latin typeface="robotoslab"/>
              </a:rPr>
              <a:t> te bewerkstelligen die geen van de organisaties afzonderlijk tot stand kan brengen. Een vorm van organiseren die zich onderscheidt van andere vormen van organiseren, zoals markt (competitie), bureaucratie (hiërarchie) en ‘gewoon’ samenwerken. Het is één manier om concreet dingen te bereiken, maar wel één met de grootste operationele complexiteit</a:t>
            </a:r>
            <a:endParaRPr lang="nl-NL" sz="1400" i="1" dirty="0"/>
          </a:p>
          <a:p>
            <a:pPr marL="285750" indent="-285750">
              <a:buFontTx/>
              <a:buChar char="-"/>
            </a:pPr>
            <a:endParaRPr lang="nl-NL" dirty="0"/>
          </a:p>
          <a:p>
            <a:pPr marL="285750" indent="-285750">
              <a:buFontTx/>
              <a:buChar char="-"/>
            </a:pPr>
            <a:endParaRPr lang="nl-NL" dirty="0"/>
          </a:p>
          <a:p>
            <a:pPr marL="285750" indent="-285750">
              <a:buFontTx/>
              <a:buChar char="-"/>
            </a:pPr>
            <a:endParaRPr lang="nl-NL" dirty="0"/>
          </a:p>
          <a:p>
            <a:pPr marL="285750" indent="-285750">
              <a:buFontTx/>
              <a:buChar char="-"/>
            </a:pPr>
            <a:endParaRPr lang="nl-NL" dirty="0"/>
          </a:p>
        </p:txBody>
      </p:sp>
    </p:spTree>
    <p:extLst>
      <p:ext uri="{BB962C8B-B14F-4D97-AF65-F5344CB8AC3E}">
        <p14:creationId xmlns:p14="http://schemas.microsoft.com/office/powerpoint/2010/main" val="90759161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F3A944-2290-913A-1BD6-14979CA47C29}"/>
              </a:ext>
            </a:extLst>
          </p:cNvPr>
          <p:cNvSpPr>
            <a:spLocks noGrp="1"/>
          </p:cNvSpPr>
          <p:nvPr>
            <p:ph type="title"/>
          </p:nvPr>
        </p:nvSpPr>
        <p:spPr>
          <a:xfrm>
            <a:off x="1353000" y="692942"/>
            <a:ext cx="9204164" cy="555068"/>
          </a:xfrm>
        </p:spPr>
        <p:txBody>
          <a:bodyPr>
            <a:normAutofit/>
          </a:bodyPr>
          <a:lstStyle/>
          <a:p>
            <a:r>
              <a:rPr lang="nl-NL" dirty="0" err="1"/>
              <a:t>Governance</a:t>
            </a:r>
            <a:r>
              <a:rPr lang="nl-NL" dirty="0"/>
              <a:t> </a:t>
            </a:r>
          </a:p>
        </p:txBody>
      </p:sp>
      <p:sp>
        <p:nvSpPr>
          <p:cNvPr id="3" name="Tekstvak 2">
            <a:extLst>
              <a:ext uri="{FF2B5EF4-FFF2-40B4-BE49-F238E27FC236}">
                <a16:creationId xmlns:a16="http://schemas.microsoft.com/office/drawing/2014/main" id="{762871E5-C1CE-C270-383D-FEBFC7B58568}"/>
              </a:ext>
            </a:extLst>
          </p:cNvPr>
          <p:cNvSpPr txBox="1"/>
          <p:nvPr/>
        </p:nvSpPr>
        <p:spPr>
          <a:xfrm>
            <a:off x="1398679" y="1937442"/>
            <a:ext cx="9112806" cy="4647426"/>
          </a:xfrm>
          <a:prstGeom prst="rect">
            <a:avLst/>
          </a:prstGeom>
          <a:noFill/>
        </p:spPr>
        <p:txBody>
          <a:bodyPr wrap="square" lIns="91440" tIns="45720" rIns="91440" bIns="45720" rtlCol="0" anchor="t">
            <a:spAutoFit/>
          </a:bodyPr>
          <a:lstStyle/>
          <a:p>
            <a:pPr marL="285750" indent="-285750">
              <a:buFontTx/>
              <a:buChar char="-"/>
            </a:pPr>
            <a:r>
              <a:rPr lang="nl-NL" sz="2800" dirty="0"/>
              <a:t>Verantwoordelijkheid nemen voor toegankelijkheid van de zorg is een strategische keuze</a:t>
            </a:r>
            <a:r>
              <a:rPr lang="nl-NL" sz="2800" dirty="0">
                <a:sym typeface="Wingdings" panose="05000000000000000000" pitchFamily="2" charset="2"/>
              </a:rPr>
              <a:t> </a:t>
            </a:r>
          </a:p>
          <a:p>
            <a:pPr marL="285750" indent="-285750">
              <a:buFontTx/>
              <a:buChar char="-"/>
            </a:pPr>
            <a:endParaRPr lang="nl-NL" sz="2800" dirty="0"/>
          </a:p>
          <a:p>
            <a:pPr marL="285750" indent="-285750">
              <a:buFontTx/>
              <a:buChar char="-"/>
            </a:pPr>
            <a:r>
              <a:rPr lang="nl-NL" sz="2800" dirty="0"/>
              <a:t>Dat vraagt van </a:t>
            </a:r>
            <a:r>
              <a:rPr lang="nl-NL" sz="2800" dirty="0" err="1"/>
              <a:t>RvT’s</a:t>
            </a:r>
            <a:r>
              <a:rPr lang="nl-NL" sz="2800" dirty="0"/>
              <a:t> goedkeuring  </a:t>
            </a:r>
            <a:br>
              <a:rPr lang="nl-NL" sz="2800" dirty="0"/>
            </a:br>
            <a:r>
              <a:rPr lang="nl-NL" sz="2800" dirty="0"/>
              <a:t>en het opnemen van verantwoordelijkheid </a:t>
            </a:r>
          </a:p>
          <a:p>
            <a:pPr marL="914400" lvl="1" indent="-457200">
              <a:buFont typeface="Wingdings" panose="05000000000000000000" pitchFamily="2" charset="2"/>
              <a:buChar char="Ø"/>
            </a:pPr>
            <a:r>
              <a:rPr lang="nl-NL" sz="2800" dirty="0"/>
              <a:t>door op te trekken met andere </a:t>
            </a:r>
            <a:r>
              <a:rPr lang="nl-NL" sz="2800" dirty="0" err="1"/>
              <a:t>RvT’s</a:t>
            </a:r>
            <a:r>
              <a:rPr lang="nl-NL" sz="2800" dirty="0"/>
              <a:t> </a:t>
            </a:r>
          </a:p>
          <a:p>
            <a:pPr marL="914400" lvl="1" indent="-457200">
              <a:buFont typeface="Wingdings" panose="05000000000000000000" pitchFamily="2" charset="2"/>
              <a:buChar char="Ø"/>
            </a:pPr>
            <a:r>
              <a:rPr lang="nl-NL" sz="2800" dirty="0"/>
              <a:t>door steun voor bestuur, o.a. tijdsinvestering </a:t>
            </a:r>
          </a:p>
          <a:p>
            <a:pPr marL="914400" lvl="1" indent="-457200">
              <a:buFont typeface="Wingdings" panose="05000000000000000000" pitchFamily="2" charset="2"/>
              <a:buChar char="Ø"/>
            </a:pPr>
            <a:r>
              <a:rPr lang="nl-NL" sz="2800" dirty="0"/>
              <a:t>door accepteren onzekerheden</a:t>
            </a:r>
            <a:endParaRPr lang="nl-NL" sz="1400" i="1" dirty="0"/>
          </a:p>
          <a:p>
            <a:pPr marL="285750" indent="-285750">
              <a:buFontTx/>
              <a:buChar char="-"/>
            </a:pPr>
            <a:endParaRPr lang="nl-NL" dirty="0"/>
          </a:p>
          <a:p>
            <a:pPr marL="285750" indent="-285750">
              <a:buFontTx/>
              <a:buChar char="-"/>
            </a:pPr>
            <a:endParaRPr lang="nl-NL" dirty="0"/>
          </a:p>
          <a:p>
            <a:pPr marL="285750" indent="-285750">
              <a:buFontTx/>
              <a:buChar char="-"/>
            </a:pPr>
            <a:endParaRPr lang="nl-NL" dirty="0"/>
          </a:p>
          <a:p>
            <a:pPr marL="285750" indent="-285750">
              <a:buFontTx/>
              <a:buChar char="-"/>
            </a:pPr>
            <a:endParaRPr lang="nl-NL" dirty="0"/>
          </a:p>
        </p:txBody>
      </p:sp>
    </p:spTree>
    <p:extLst>
      <p:ext uri="{BB962C8B-B14F-4D97-AF65-F5344CB8AC3E}">
        <p14:creationId xmlns:p14="http://schemas.microsoft.com/office/powerpoint/2010/main" val="16093005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ijdelijke aanduiding voor voettekst 1">
            <a:extLst>
              <a:ext uri="{FF2B5EF4-FFF2-40B4-BE49-F238E27FC236}">
                <a16:creationId xmlns:a16="http://schemas.microsoft.com/office/drawing/2014/main" id="{8CD1E6BE-CA4A-4ED2-A89C-139BC0F95E65}"/>
              </a:ext>
            </a:extLst>
          </p:cNvPr>
          <p:cNvSpPr>
            <a:spLocks noGrp="1"/>
          </p:cNvSpPr>
          <p:nvPr>
            <p:ph type="ftr" sz="quarter" idx="11"/>
          </p:nvPr>
        </p:nvSpPr>
        <p:spPr/>
        <p:txBody>
          <a:bodyPr/>
          <a:lstStyle/>
          <a:p>
            <a:r>
              <a:rPr lang="nl-NL"/>
              <a:t> </a:t>
            </a:r>
          </a:p>
        </p:txBody>
      </p:sp>
      <p:sp>
        <p:nvSpPr>
          <p:cNvPr id="3" name="Tijdelijke aanduiding voor dianummer 2">
            <a:extLst>
              <a:ext uri="{FF2B5EF4-FFF2-40B4-BE49-F238E27FC236}">
                <a16:creationId xmlns:a16="http://schemas.microsoft.com/office/drawing/2014/main" id="{14CF647E-29F4-4B0F-9201-A3C6AB3FE875}"/>
              </a:ext>
            </a:extLst>
          </p:cNvPr>
          <p:cNvSpPr>
            <a:spLocks noGrp="1"/>
          </p:cNvSpPr>
          <p:nvPr>
            <p:ph type="sldNum" sz="quarter" idx="12"/>
          </p:nvPr>
        </p:nvSpPr>
        <p:spPr/>
        <p:txBody>
          <a:bodyPr/>
          <a:lstStyle/>
          <a:p>
            <a:r>
              <a:rPr lang="nl-NL"/>
              <a:t> </a:t>
            </a:r>
          </a:p>
        </p:txBody>
      </p:sp>
      <p:grpSp>
        <p:nvGrpSpPr>
          <p:cNvPr id="7" name="Groep 6">
            <a:extLst>
              <a:ext uri="{FF2B5EF4-FFF2-40B4-BE49-F238E27FC236}">
                <a16:creationId xmlns:a16="http://schemas.microsoft.com/office/drawing/2014/main" id="{5B5C861D-4AB8-73BE-6E9F-F142EC15C908}"/>
              </a:ext>
            </a:extLst>
          </p:cNvPr>
          <p:cNvGrpSpPr/>
          <p:nvPr/>
        </p:nvGrpSpPr>
        <p:grpSpPr>
          <a:xfrm>
            <a:off x="719648" y="2238678"/>
            <a:ext cx="5584801" cy="3854996"/>
            <a:chOff x="539735" y="1679008"/>
            <a:chExt cx="4188601" cy="2891247"/>
          </a:xfrm>
        </p:grpSpPr>
        <p:sp>
          <p:nvSpPr>
            <p:cNvPr id="10" name="Tekstvak 9">
              <a:extLst>
                <a:ext uri="{FF2B5EF4-FFF2-40B4-BE49-F238E27FC236}">
                  <a16:creationId xmlns:a16="http://schemas.microsoft.com/office/drawing/2014/main" id="{34C5F0FA-93B5-460B-959F-1AF66B051D97}"/>
                </a:ext>
              </a:extLst>
            </p:cNvPr>
            <p:cNvSpPr txBox="1"/>
            <p:nvPr/>
          </p:nvSpPr>
          <p:spPr>
            <a:xfrm>
              <a:off x="687910" y="1731016"/>
              <a:ext cx="4029575" cy="2839239"/>
            </a:xfrm>
            <a:prstGeom prst="rect">
              <a:avLst/>
            </a:prstGeom>
            <a:noFill/>
          </p:spPr>
          <p:txBody>
            <a:bodyPr wrap="square">
              <a:spAutoFit/>
            </a:bodyPr>
            <a:lstStyle/>
            <a:p>
              <a:pPr marL="228594" indent="-228594">
                <a:buFont typeface="Arial" panose="020B0604020202020204" pitchFamily="34" charset="0"/>
                <a:buChar char="•"/>
              </a:pPr>
              <a:r>
                <a:rPr lang="nl-NL" sz="1600" dirty="0">
                  <a:solidFill>
                    <a:srgbClr val="202122"/>
                  </a:solidFill>
                  <a:latin typeface="Avenir Next LT Pro Demi" panose="020B0604020202020204" pitchFamily="34" charset="0"/>
                  <a:cs typeface="Aldhabi" panose="020B0604020202020204" pitchFamily="2" charset="-78"/>
                </a:rPr>
                <a:t>13 gemeenten</a:t>
              </a:r>
              <a:endParaRPr lang="nl-NL" sz="1600" dirty="0">
                <a:latin typeface="Avenir Next LT Pro Demi" panose="020B0604020202020204" pitchFamily="34" charset="0"/>
                <a:cs typeface="Aldhabi" panose="020B0604020202020204" pitchFamily="2" charset="-78"/>
              </a:endParaRPr>
            </a:p>
            <a:p>
              <a:pPr marL="228594" indent="-228594">
                <a:buFont typeface="Arial" panose="020B0604020202020204" pitchFamily="34" charset="0"/>
                <a:buChar char="•"/>
              </a:pPr>
              <a:endParaRPr lang="nl-NL" sz="1600" dirty="0">
                <a:solidFill>
                  <a:srgbClr val="202122"/>
                </a:solidFill>
                <a:latin typeface="Avenir Next LT Pro Demi" panose="020B0604020202020204" pitchFamily="34" charset="0"/>
                <a:cs typeface="Aldhabi" panose="020B0604020202020204" pitchFamily="2" charset="-78"/>
              </a:endParaRPr>
            </a:p>
            <a:p>
              <a:pPr marL="228594" indent="-228594">
                <a:buFont typeface="Arial" panose="020B0604020202020204" pitchFamily="34" charset="0"/>
                <a:buChar char="•"/>
              </a:pPr>
              <a:r>
                <a:rPr lang="nl-NL" sz="1600" dirty="0">
                  <a:solidFill>
                    <a:srgbClr val="202122"/>
                  </a:solidFill>
                  <a:latin typeface="Avenir Next LT Pro Demi" panose="020B0604020202020204" pitchFamily="34" charset="0"/>
                  <a:cs typeface="Aldhabi" panose="020B0604020202020204" pitchFamily="2" charset="-78"/>
                </a:rPr>
                <a:t>383.488 inwoners </a:t>
              </a:r>
            </a:p>
            <a:p>
              <a:pPr marL="228594" indent="-228594">
                <a:buFont typeface="Arial" panose="020B0604020202020204" pitchFamily="34" charset="0"/>
                <a:buChar char="•"/>
              </a:pPr>
              <a:endParaRPr lang="nl-NL" sz="1600" dirty="0">
                <a:solidFill>
                  <a:srgbClr val="202122"/>
                </a:solidFill>
                <a:latin typeface="Avenir Next LT Pro Demi" panose="020B0604020202020204" pitchFamily="34" charset="0"/>
                <a:cs typeface="Aldhabi" panose="020B0604020202020204" pitchFamily="2" charset="-78"/>
              </a:endParaRPr>
            </a:p>
            <a:p>
              <a:pPr marL="228594" indent="-228594">
                <a:buFont typeface="Arial" panose="020B0604020202020204" pitchFamily="34" charset="0"/>
                <a:buChar char="•"/>
              </a:pPr>
              <a:r>
                <a:rPr lang="nl-NL" sz="1600" dirty="0">
                  <a:solidFill>
                    <a:srgbClr val="202122"/>
                  </a:solidFill>
                  <a:latin typeface="Avenir Next LT Pro Demi" panose="020B0604020202020204" pitchFamily="34" charset="0"/>
                  <a:cs typeface="Aldhabi" panose="020B0604020202020204" pitchFamily="2" charset="-78"/>
                </a:rPr>
                <a:t>56% woont in de regio </a:t>
              </a:r>
              <a:r>
                <a:rPr lang="nl-NL" sz="1600" dirty="0">
                  <a:latin typeface="Avenir Next LT Pro Demi" panose="020B0604020202020204" pitchFamily="34" charset="0"/>
                  <a:cs typeface="Aldhabi" panose="020B0604020202020204" pitchFamily="2" charset="-78"/>
                </a:rPr>
                <a:t>Midden-Zeeland</a:t>
              </a:r>
              <a:br>
                <a:rPr lang="nl-NL" sz="1600" dirty="0">
                  <a:latin typeface="Avenir Next LT Pro Demi" panose="020B0604020202020204" pitchFamily="34" charset="0"/>
                  <a:cs typeface="Aldhabi" panose="020B0604020202020204" pitchFamily="2" charset="-78"/>
                </a:rPr>
              </a:br>
              <a:r>
                <a:rPr lang="nl-NL" sz="1600" dirty="0">
                  <a:latin typeface="Avenir Next LT Pro Demi" panose="020B0604020202020204" pitchFamily="34" charset="0"/>
                  <a:cs typeface="Aldhabi" panose="020B0604020202020204" pitchFamily="2" charset="-78"/>
                </a:rPr>
                <a:t>16% in Noord- Zeeland</a:t>
              </a:r>
              <a:br>
                <a:rPr lang="nl-NL" sz="1600" dirty="0">
                  <a:latin typeface="Avenir Next LT Pro Demi" panose="020B0604020202020204" pitchFamily="34" charset="0"/>
                  <a:cs typeface="Aldhabi" panose="020B0604020202020204" pitchFamily="2" charset="-78"/>
                </a:rPr>
              </a:br>
              <a:r>
                <a:rPr lang="nl-NL" sz="1600" dirty="0">
                  <a:latin typeface="Avenir Next LT Pro Demi" panose="020B0604020202020204" pitchFamily="34" charset="0"/>
                  <a:cs typeface="Aldhabi" panose="020B0604020202020204" pitchFamily="2" charset="-78"/>
                </a:rPr>
                <a:t>28 % in Zeeuws-Vlaanderen</a:t>
              </a:r>
              <a:br>
                <a:rPr lang="nl-NL" sz="1600" dirty="0">
                  <a:latin typeface="Avenir Next LT Pro Demi" panose="020B0604020202020204" pitchFamily="34" charset="0"/>
                  <a:cs typeface="Aldhabi" panose="020B0604020202020204" pitchFamily="2" charset="-78"/>
                </a:rPr>
              </a:br>
              <a:endParaRPr lang="nl-NL" sz="1600" dirty="0">
                <a:latin typeface="Avenir Next LT Pro Demi" panose="020B0604020202020204" pitchFamily="34" charset="0"/>
                <a:cs typeface="Aldhabi" panose="020B0604020202020204" pitchFamily="2" charset="-78"/>
              </a:endParaRPr>
            </a:p>
            <a:p>
              <a:pPr marL="228594" indent="-228594">
                <a:buFont typeface="Arial" panose="020B0604020202020204" pitchFamily="34" charset="0"/>
                <a:buChar char="•"/>
              </a:pPr>
              <a:r>
                <a:rPr lang="nl-NL" sz="1600" dirty="0">
                  <a:solidFill>
                    <a:srgbClr val="202122"/>
                  </a:solidFill>
                  <a:latin typeface="Avenir Next LT Pro Demi" panose="020B0604020202020204" pitchFamily="34" charset="0"/>
                  <a:cs typeface="Aldhabi" panose="020B0604020202020204" pitchFamily="2" charset="-78"/>
                </a:rPr>
                <a:t>29% ouderen in gemeente Sluis (19% in Nederland)</a:t>
              </a:r>
              <a:br>
                <a:rPr lang="nl-NL" sz="1600" dirty="0">
                  <a:solidFill>
                    <a:srgbClr val="202122"/>
                  </a:solidFill>
                  <a:latin typeface="Avenir Next LT Pro Demi" panose="020B0604020202020204" pitchFamily="34" charset="0"/>
                  <a:cs typeface="Aldhabi" panose="020B0604020202020204" pitchFamily="2" charset="-78"/>
                </a:rPr>
              </a:br>
              <a:endParaRPr lang="nl-NL" sz="1600" dirty="0">
                <a:solidFill>
                  <a:srgbClr val="202122"/>
                </a:solidFill>
                <a:latin typeface="Avenir Next LT Pro Demi" panose="020B0604020202020204" pitchFamily="34" charset="0"/>
                <a:cs typeface="Aldhabi" panose="020B0604020202020204" pitchFamily="2" charset="-78"/>
              </a:endParaRPr>
            </a:p>
            <a:p>
              <a:pPr marL="228594" indent="-228594">
                <a:buFont typeface="Arial" panose="020B0604020202020204" pitchFamily="34" charset="0"/>
                <a:buChar char="•"/>
              </a:pPr>
              <a:endParaRPr lang="nl-NL" sz="1600" dirty="0">
                <a:solidFill>
                  <a:srgbClr val="202122"/>
                </a:solidFill>
                <a:latin typeface="Avenir Next LT Pro Demi" panose="020B0604020202020204" pitchFamily="34" charset="0"/>
                <a:cs typeface="Aldhabi" panose="020B0604020202020204" pitchFamily="2" charset="-78"/>
              </a:endParaRPr>
            </a:p>
            <a:p>
              <a:pPr marL="228594" indent="-228594">
                <a:buFont typeface="Arial" panose="020B0604020202020204" pitchFamily="34" charset="0"/>
                <a:buChar char="•"/>
              </a:pPr>
              <a:r>
                <a:rPr lang="nl-NL" sz="1600" dirty="0">
                  <a:solidFill>
                    <a:srgbClr val="202122"/>
                  </a:solidFill>
                  <a:latin typeface="Avenir Next LT Pro Demi" panose="020B0604020202020204" pitchFamily="34" charset="0"/>
                  <a:cs typeface="Aldhabi" panose="020B0604020202020204" pitchFamily="2" charset="-78"/>
                </a:rPr>
                <a:t>Land   2.934 km</a:t>
              </a:r>
              <a:r>
                <a:rPr lang="nl-NL" sz="1600" baseline="30000" dirty="0">
                  <a:solidFill>
                    <a:srgbClr val="202122"/>
                  </a:solidFill>
                  <a:latin typeface="Avenir Next LT Pro Demi" panose="020B0604020202020204" pitchFamily="34" charset="0"/>
                  <a:cs typeface="Aldhabi" panose="020B0604020202020204" pitchFamily="2" charset="-78"/>
                </a:rPr>
                <a:t>2  </a:t>
              </a:r>
              <a:r>
                <a:rPr lang="nl-NL" sz="1600" dirty="0">
                  <a:solidFill>
                    <a:srgbClr val="202122"/>
                  </a:solidFill>
                  <a:latin typeface="Avenir Next LT Pro Demi" panose="020B0604020202020204" pitchFamily="34" charset="0"/>
                  <a:cs typeface="Aldhabi" panose="020B0604020202020204" pitchFamily="2" charset="-78"/>
                </a:rPr>
                <a:t>- Water 1.782 km</a:t>
              </a:r>
              <a:r>
                <a:rPr lang="nl-NL" sz="1600" baseline="30000" dirty="0">
                  <a:solidFill>
                    <a:srgbClr val="202122"/>
                  </a:solidFill>
                  <a:latin typeface="Avenir Next LT Pro Demi" panose="020B0604020202020204" pitchFamily="34" charset="0"/>
                  <a:cs typeface="Aldhabi" panose="020B0604020202020204" pitchFamily="2" charset="-78"/>
                </a:rPr>
                <a:t>2</a:t>
              </a:r>
              <a:endParaRPr lang="nl-NL" sz="1600" dirty="0">
                <a:solidFill>
                  <a:srgbClr val="202122"/>
                </a:solidFill>
                <a:latin typeface="Avenir Next LT Pro Demi" panose="020B0604020202020204" pitchFamily="34" charset="0"/>
                <a:cs typeface="Aldhabi" panose="020B0604020202020204" pitchFamily="2" charset="-78"/>
              </a:endParaRPr>
            </a:p>
            <a:p>
              <a:pPr marL="228594" indent="-228594">
                <a:buFont typeface="Arial" panose="020B0604020202020204" pitchFamily="34" charset="0"/>
                <a:buChar char="•"/>
              </a:pPr>
              <a:endParaRPr lang="nl-NL" sz="1600" dirty="0">
                <a:solidFill>
                  <a:srgbClr val="202122"/>
                </a:solidFill>
                <a:latin typeface="Avenir Next LT Pro Demi" panose="020B0604020202020204" pitchFamily="34" charset="0"/>
                <a:cs typeface="Aldhabi" panose="020B0604020202020204" pitchFamily="2" charset="-78"/>
              </a:endParaRPr>
            </a:p>
            <a:p>
              <a:endParaRPr lang="nl-NL" sz="1600" dirty="0">
                <a:latin typeface="Avenir Next LT Pro Demi" panose="020B0604020202020204" pitchFamily="34" charset="0"/>
                <a:cs typeface="Aldhabi" panose="020B0604020202020204" pitchFamily="2" charset="-78"/>
              </a:endParaRPr>
            </a:p>
            <a:p>
              <a:endParaRPr lang="nl-NL" sz="1600" dirty="0">
                <a:latin typeface="Avenir Next LT Pro Demi" panose="020B0604020202020204" pitchFamily="34" charset="0"/>
                <a:cs typeface="Aldhabi" panose="020B0604020202020204" pitchFamily="2" charset="-78"/>
              </a:endParaRPr>
            </a:p>
          </p:txBody>
        </p:sp>
        <p:sp>
          <p:nvSpPr>
            <p:cNvPr id="4" name="Rechthoek: afgeronde hoeken 3">
              <a:extLst>
                <a:ext uri="{FF2B5EF4-FFF2-40B4-BE49-F238E27FC236}">
                  <a16:creationId xmlns:a16="http://schemas.microsoft.com/office/drawing/2014/main" id="{3CCC2CD3-DF6B-4B45-A439-A34620709273}"/>
                </a:ext>
              </a:extLst>
            </p:cNvPr>
            <p:cNvSpPr/>
            <p:nvPr/>
          </p:nvSpPr>
          <p:spPr>
            <a:xfrm>
              <a:off x="539735" y="1679008"/>
              <a:ext cx="4188601" cy="255676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600"/>
            </a:p>
          </p:txBody>
        </p:sp>
      </p:grpSp>
      <p:pic>
        <p:nvPicPr>
          <p:cNvPr id="14" name="Afbeelding 13">
            <a:extLst>
              <a:ext uri="{FF2B5EF4-FFF2-40B4-BE49-F238E27FC236}">
                <a16:creationId xmlns:a16="http://schemas.microsoft.com/office/drawing/2014/main" id="{36854EEB-6D6C-48E7-B404-60F07431A8C2}"/>
              </a:ext>
            </a:extLst>
          </p:cNvPr>
          <p:cNvPicPr>
            <a:picLocks noChangeAspect="1"/>
          </p:cNvPicPr>
          <p:nvPr/>
        </p:nvPicPr>
        <p:blipFill rotWithShape="1">
          <a:blip r:embed="rId3"/>
          <a:srcRect t="5187" b="47952"/>
          <a:stretch/>
        </p:blipFill>
        <p:spPr>
          <a:xfrm>
            <a:off x="9101562" y="174625"/>
            <a:ext cx="2784141" cy="2808513"/>
          </a:xfrm>
          <a:prstGeom prst="rect">
            <a:avLst/>
          </a:prstGeom>
        </p:spPr>
      </p:pic>
      <p:grpSp>
        <p:nvGrpSpPr>
          <p:cNvPr id="11" name="Groep 10">
            <a:extLst>
              <a:ext uri="{FF2B5EF4-FFF2-40B4-BE49-F238E27FC236}">
                <a16:creationId xmlns:a16="http://schemas.microsoft.com/office/drawing/2014/main" id="{04088AA7-AB10-4926-8A82-75E925FD74AF}"/>
              </a:ext>
            </a:extLst>
          </p:cNvPr>
          <p:cNvGrpSpPr/>
          <p:nvPr/>
        </p:nvGrpSpPr>
        <p:grpSpPr>
          <a:xfrm>
            <a:off x="7088698" y="3567040"/>
            <a:ext cx="2886265" cy="3079912"/>
            <a:chOff x="2278395" y="351021"/>
            <a:chExt cx="4846115" cy="5941179"/>
          </a:xfrm>
        </p:grpSpPr>
        <p:sp>
          <p:nvSpPr>
            <p:cNvPr id="12" name="Freeform 4">
              <a:extLst>
                <a:ext uri="{FF2B5EF4-FFF2-40B4-BE49-F238E27FC236}">
                  <a16:creationId xmlns:a16="http://schemas.microsoft.com/office/drawing/2014/main" id="{2744E1BC-8F28-4145-86F2-F4F5CD136DE3}"/>
                </a:ext>
              </a:extLst>
            </p:cNvPr>
            <p:cNvSpPr>
              <a:spLocks/>
            </p:cNvSpPr>
            <p:nvPr/>
          </p:nvSpPr>
          <p:spPr bwMode="auto">
            <a:xfrm>
              <a:off x="3752121" y="1617330"/>
              <a:ext cx="983237" cy="1675718"/>
            </a:xfrm>
            <a:custGeom>
              <a:avLst/>
              <a:gdLst/>
              <a:ahLst/>
              <a:cxnLst>
                <a:cxn ang="0">
                  <a:pos x="200" y="156"/>
                </a:cxn>
                <a:cxn ang="0">
                  <a:pos x="156" y="340"/>
                </a:cxn>
                <a:cxn ang="0">
                  <a:pos x="112" y="612"/>
                </a:cxn>
                <a:cxn ang="0">
                  <a:pos x="44" y="852"/>
                </a:cxn>
                <a:cxn ang="0">
                  <a:pos x="0" y="984"/>
                </a:cxn>
                <a:cxn ang="0">
                  <a:pos x="64" y="992"/>
                </a:cxn>
                <a:cxn ang="0">
                  <a:pos x="92" y="1028"/>
                </a:cxn>
                <a:cxn ang="0">
                  <a:pos x="52" y="1132"/>
                </a:cxn>
                <a:cxn ang="0">
                  <a:pos x="120" y="1148"/>
                </a:cxn>
                <a:cxn ang="0">
                  <a:pos x="200" y="1120"/>
                </a:cxn>
                <a:cxn ang="0">
                  <a:pos x="276" y="1136"/>
                </a:cxn>
                <a:cxn ang="0">
                  <a:pos x="336" y="1096"/>
                </a:cxn>
                <a:cxn ang="0">
                  <a:pos x="392" y="1048"/>
                </a:cxn>
                <a:cxn ang="0">
                  <a:pos x="468" y="1028"/>
                </a:cxn>
                <a:cxn ang="0">
                  <a:pos x="520" y="1132"/>
                </a:cxn>
                <a:cxn ang="0">
                  <a:pos x="612" y="1168"/>
                </a:cxn>
                <a:cxn ang="0">
                  <a:pos x="616" y="1208"/>
                </a:cxn>
                <a:cxn ang="0">
                  <a:pos x="664" y="1136"/>
                </a:cxn>
                <a:cxn ang="0">
                  <a:pos x="720" y="1020"/>
                </a:cxn>
                <a:cxn ang="0">
                  <a:pos x="664" y="1000"/>
                </a:cxn>
                <a:cxn ang="0">
                  <a:pos x="608" y="1012"/>
                </a:cxn>
                <a:cxn ang="0">
                  <a:pos x="552" y="952"/>
                </a:cxn>
                <a:cxn ang="0">
                  <a:pos x="432" y="916"/>
                </a:cxn>
                <a:cxn ang="0">
                  <a:pos x="516" y="792"/>
                </a:cxn>
                <a:cxn ang="0">
                  <a:pos x="528" y="696"/>
                </a:cxn>
                <a:cxn ang="0">
                  <a:pos x="512" y="492"/>
                </a:cxn>
                <a:cxn ang="0">
                  <a:pos x="588" y="512"/>
                </a:cxn>
                <a:cxn ang="0">
                  <a:pos x="680" y="460"/>
                </a:cxn>
                <a:cxn ang="0">
                  <a:pos x="704" y="332"/>
                </a:cxn>
                <a:cxn ang="0">
                  <a:pos x="612" y="352"/>
                </a:cxn>
                <a:cxn ang="0">
                  <a:pos x="568" y="236"/>
                </a:cxn>
                <a:cxn ang="0">
                  <a:pos x="508" y="48"/>
                </a:cxn>
                <a:cxn ang="0">
                  <a:pos x="420" y="72"/>
                </a:cxn>
                <a:cxn ang="0">
                  <a:pos x="348" y="112"/>
                </a:cxn>
                <a:cxn ang="0">
                  <a:pos x="264" y="4"/>
                </a:cxn>
              </a:cxnLst>
              <a:rect l="0" t="0" r="r" b="b"/>
              <a:pathLst>
                <a:path w="720" h="1208">
                  <a:moveTo>
                    <a:pt x="212" y="0"/>
                  </a:moveTo>
                  <a:lnTo>
                    <a:pt x="200" y="156"/>
                  </a:lnTo>
                  <a:lnTo>
                    <a:pt x="168" y="248"/>
                  </a:lnTo>
                  <a:lnTo>
                    <a:pt x="156" y="340"/>
                  </a:lnTo>
                  <a:lnTo>
                    <a:pt x="128" y="460"/>
                  </a:lnTo>
                  <a:lnTo>
                    <a:pt x="112" y="612"/>
                  </a:lnTo>
                  <a:lnTo>
                    <a:pt x="84" y="720"/>
                  </a:lnTo>
                  <a:lnTo>
                    <a:pt x="44" y="852"/>
                  </a:lnTo>
                  <a:lnTo>
                    <a:pt x="4" y="948"/>
                  </a:lnTo>
                  <a:lnTo>
                    <a:pt x="0" y="984"/>
                  </a:lnTo>
                  <a:lnTo>
                    <a:pt x="28" y="988"/>
                  </a:lnTo>
                  <a:lnTo>
                    <a:pt x="64" y="992"/>
                  </a:lnTo>
                  <a:lnTo>
                    <a:pt x="96" y="988"/>
                  </a:lnTo>
                  <a:lnTo>
                    <a:pt x="92" y="1028"/>
                  </a:lnTo>
                  <a:lnTo>
                    <a:pt x="64" y="1096"/>
                  </a:lnTo>
                  <a:lnTo>
                    <a:pt x="52" y="1132"/>
                  </a:lnTo>
                  <a:lnTo>
                    <a:pt x="88" y="1136"/>
                  </a:lnTo>
                  <a:lnTo>
                    <a:pt x="120" y="1148"/>
                  </a:lnTo>
                  <a:lnTo>
                    <a:pt x="152" y="1124"/>
                  </a:lnTo>
                  <a:lnTo>
                    <a:pt x="200" y="1120"/>
                  </a:lnTo>
                  <a:lnTo>
                    <a:pt x="224" y="1156"/>
                  </a:lnTo>
                  <a:lnTo>
                    <a:pt x="276" y="1136"/>
                  </a:lnTo>
                  <a:lnTo>
                    <a:pt x="300" y="1120"/>
                  </a:lnTo>
                  <a:lnTo>
                    <a:pt x="336" y="1096"/>
                  </a:lnTo>
                  <a:lnTo>
                    <a:pt x="372" y="1088"/>
                  </a:lnTo>
                  <a:lnTo>
                    <a:pt x="392" y="1048"/>
                  </a:lnTo>
                  <a:lnTo>
                    <a:pt x="436" y="1044"/>
                  </a:lnTo>
                  <a:lnTo>
                    <a:pt x="468" y="1028"/>
                  </a:lnTo>
                  <a:lnTo>
                    <a:pt x="512" y="1104"/>
                  </a:lnTo>
                  <a:lnTo>
                    <a:pt x="520" y="1132"/>
                  </a:lnTo>
                  <a:lnTo>
                    <a:pt x="592" y="1140"/>
                  </a:lnTo>
                  <a:lnTo>
                    <a:pt x="612" y="1168"/>
                  </a:lnTo>
                  <a:lnTo>
                    <a:pt x="592" y="1200"/>
                  </a:lnTo>
                  <a:lnTo>
                    <a:pt x="616" y="1208"/>
                  </a:lnTo>
                  <a:lnTo>
                    <a:pt x="644" y="1184"/>
                  </a:lnTo>
                  <a:lnTo>
                    <a:pt x="664" y="1136"/>
                  </a:lnTo>
                  <a:lnTo>
                    <a:pt x="708" y="1048"/>
                  </a:lnTo>
                  <a:lnTo>
                    <a:pt x="720" y="1020"/>
                  </a:lnTo>
                  <a:lnTo>
                    <a:pt x="684" y="1016"/>
                  </a:lnTo>
                  <a:lnTo>
                    <a:pt x="664" y="1000"/>
                  </a:lnTo>
                  <a:lnTo>
                    <a:pt x="636" y="1016"/>
                  </a:lnTo>
                  <a:lnTo>
                    <a:pt x="608" y="1012"/>
                  </a:lnTo>
                  <a:lnTo>
                    <a:pt x="584" y="996"/>
                  </a:lnTo>
                  <a:lnTo>
                    <a:pt x="552" y="952"/>
                  </a:lnTo>
                  <a:lnTo>
                    <a:pt x="472" y="960"/>
                  </a:lnTo>
                  <a:lnTo>
                    <a:pt x="432" y="916"/>
                  </a:lnTo>
                  <a:lnTo>
                    <a:pt x="548" y="804"/>
                  </a:lnTo>
                  <a:lnTo>
                    <a:pt x="516" y="792"/>
                  </a:lnTo>
                  <a:lnTo>
                    <a:pt x="516" y="740"/>
                  </a:lnTo>
                  <a:lnTo>
                    <a:pt x="528" y="696"/>
                  </a:lnTo>
                  <a:lnTo>
                    <a:pt x="476" y="520"/>
                  </a:lnTo>
                  <a:lnTo>
                    <a:pt x="512" y="492"/>
                  </a:lnTo>
                  <a:lnTo>
                    <a:pt x="552" y="484"/>
                  </a:lnTo>
                  <a:lnTo>
                    <a:pt x="588" y="512"/>
                  </a:lnTo>
                  <a:lnTo>
                    <a:pt x="632" y="512"/>
                  </a:lnTo>
                  <a:lnTo>
                    <a:pt x="680" y="460"/>
                  </a:lnTo>
                  <a:lnTo>
                    <a:pt x="716" y="396"/>
                  </a:lnTo>
                  <a:lnTo>
                    <a:pt x="704" y="332"/>
                  </a:lnTo>
                  <a:lnTo>
                    <a:pt x="644" y="324"/>
                  </a:lnTo>
                  <a:lnTo>
                    <a:pt x="612" y="352"/>
                  </a:lnTo>
                  <a:lnTo>
                    <a:pt x="564" y="292"/>
                  </a:lnTo>
                  <a:lnTo>
                    <a:pt x="568" y="236"/>
                  </a:lnTo>
                  <a:lnTo>
                    <a:pt x="572" y="176"/>
                  </a:lnTo>
                  <a:lnTo>
                    <a:pt x="508" y="48"/>
                  </a:lnTo>
                  <a:lnTo>
                    <a:pt x="456" y="48"/>
                  </a:lnTo>
                  <a:lnTo>
                    <a:pt x="420" y="72"/>
                  </a:lnTo>
                  <a:lnTo>
                    <a:pt x="404" y="104"/>
                  </a:lnTo>
                  <a:lnTo>
                    <a:pt x="348" y="112"/>
                  </a:lnTo>
                  <a:lnTo>
                    <a:pt x="268" y="60"/>
                  </a:lnTo>
                  <a:lnTo>
                    <a:pt x="264" y="4"/>
                  </a:lnTo>
                  <a:lnTo>
                    <a:pt x="212" y="0"/>
                  </a:lnTo>
                  <a:close/>
                </a:path>
              </a:pathLst>
            </a:custGeom>
            <a:solidFill>
              <a:srgbClr val="00B050"/>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13" name="Freeform 5">
              <a:extLst>
                <a:ext uri="{FF2B5EF4-FFF2-40B4-BE49-F238E27FC236}">
                  <a16:creationId xmlns:a16="http://schemas.microsoft.com/office/drawing/2014/main" id="{9DD31CAE-4B7C-494B-8397-A9FECFD4F7F2}"/>
                </a:ext>
              </a:extLst>
            </p:cNvPr>
            <p:cNvSpPr>
              <a:spLocks/>
            </p:cNvSpPr>
            <p:nvPr/>
          </p:nvSpPr>
          <p:spPr bwMode="auto">
            <a:xfrm>
              <a:off x="4036921" y="1162694"/>
              <a:ext cx="230552" cy="371324"/>
            </a:xfrm>
            <a:custGeom>
              <a:avLst/>
              <a:gdLst/>
              <a:ahLst/>
              <a:cxnLst>
                <a:cxn ang="0">
                  <a:pos x="76" y="60"/>
                </a:cxn>
                <a:cxn ang="0">
                  <a:pos x="24" y="136"/>
                </a:cxn>
                <a:cxn ang="0">
                  <a:pos x="8" y="180"/>
                </a:cxn>
                <a:cxn ang="0">
                  <a:pos x="0" y="268"/>
                </a:cxn>
                <a:cxn ang="0">
                  <a:pos x="52" y="252"/>
                </a:cxn>
                <a:cxn ang="0">
                  <a:pos x="92" y="248"/>
                </a:cxn>
                <a:cxn ang="0">
                  <a:pos x="96" y="216"/>
                </a:cxn>
                <a:cxn ang="0">
                  <a:pos x="148" y="180"/>
                </a:cxn>
                <a:cxn ang="0">
                  <a:pos x="156" y="88"/>
                </a:cxn>
                <a:cxn ang="0">
                  <a:pos x="168" y="60"/>
                </a:cxn>
                <a:cxn ang="0">
                  <a:pos x="132" y="0"/>
                </a:cxn>
                <a:cxn ang="0">
                  <a:pos x="100" y="16"/>
                </a:cxn>
                <a:cxn ang="0">
                  <a:pos x="104" y="52"/>
                </a:cxn>
                <a:cxn ang="0">
                  <a:pos x="76" y="60"/>
                </a:cxn>
              </a:cxnLst>
              <a:rect l="0" t="0" r="r" b="b"/>
              <a:pathLst>
                <a:path w="168" h="268">
                  <a:moveTo>
                    <a:pt x="76" y="60"/>
                  </a:moveTo>
                  <a:lnTo>
                    <a:pt x="24" y="136"/>
                  </a:lnTo>
                  <a:lnTo>
                    <a:pt x="8" y="180"/>
                  </a:lnTo>
                  <a:lnTo>
                    <a:pt x="0" y="268"/>
                  </a:lnTo>
                  <a:lnTo>
                    <a:pt x="52" y="252"/>
                  </a:lnTo>
                  <a:lnTo>
                    <a:pt x="92" y="248"/>
                  </a:lnTo>
                  <a:lnTo>
                    <a:pt x="96" y="216"/>
                  </a:lnTo>
                  <a:lnTo>
                    <a:pt x="148" y="180"/>
                  </a:lnTo>
                  <a:lnTo>
                    <a:pt x="156" y="88"/>
                  </a:lnTo>
                  <a:lnTo>
                    <a:pt x="168" y="60"/>
                  </a:lnTo>
                  <a:lnTo>
                    <a:pt x="132" y="0"/>
                  </a:lnTo>
                  <a:lnTo>
                    <a:pt x="100" y="16"/>
                  </a:lnTo>
                  <a:lnTo>
                    <a:pt x="104" y="52"/>
                  </a:lnTo>
                  <a:lnTo>
                    <a:pt x="76" y="60"/>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15" name="Freeform 6">
              <a:extLst>
                <a:ext uri="{FF2B5EF4-FFF2-40B4-BE49-F238E27FC236}">
                  <a16:creationId xmlns:a16="http://schemas.microsoft.com/office/drawing/2014/main" id="{B8224C97-60E6-4347-B7C8-CDCCFFF4069F}"/>
                </a:ext>
              </a:extLst>
            </p:cNvPr>
            <p:cNvSpPr>
              <a:spLocks/>
            </p:cNvSpPr>
            <p:nvPr/>
          </p:nvSpPr>
          <p:spPr bwMode="auto">
            <a:xfrm>
              <a:off x="4240349" y="927048"/>
              <a:ext cx="137878" cy="138057"/>
            </a:xfrm>
            <a:custGeom>
              <a:avLst/>
              <a:gdLst/>
              <a:ahLst/>
              <a:cxnLst>
                <a:cxn ang="0">
                  <a:pos x="99" y="0"/>
                </a:cxn>
                <a:cxn ang="0">
                  <a:pos x="78" y="24"/>
                </a:cxn>
                <a:cxn ang="0">
                  <a:pos x="75" y="42"/>
                </a:cxn>
                <a:cxn ang="0">
                  <a:pos x="57" y="45"/>
                </a:cxn>
                <a:cxn ang="0">
                  <a:pos x="33" y="57"/>
                </a:cxn>
                <a:cxn ang="0">
                  <a:pos x="0" y="90"/>
                </a:cxn>
                <a:cxn ang="0">
                  <a:pos x="33" y="99"/>
                </a:cxn>
                <a:cxn ang="0">
                  <a:pos x="54" y="78"/>
                </a:cxn>
                <a:cxn ang="0">
                  <a:pos x="81" y="69"/>
                </a:cxn>
                <a:cxn ang="0">
                  <a:pos x="84" y="42"/>
                </a:cxn>
                <a:cxn ang="0">
                  <a:pos x="102" y="21"/>
                </a:cxn>
                <a:cxn ang="0">
                  <a:pos x="99" y="0"/>
                </a:cxn>
              </a:cxnLst>
              <a:rect l="0" t="0" r="r" b="b"/>
              <a:pathLst>
                <a:path w="102" h="99">
                  <a:moveTo>
                    <a:pt x="99" y="0"/>
                  </a:moveTo>
                  <a:lnTo>
                    <a:pt x="78" y="24"/>
                  </a:lnTo>
                  <a:lnTo>
                    <a:pt x="75" y="42"/>
                  </a:lnTo>
                  <a:lnTo>
                    <a:pt x="57" y="45"/>
                  </a:lnTo>
                  <a:lnTo>
                    <a:pt x="33" y="57"/>
                  </a:lnTo>
                  <a:lnTo>
                    <a:pt x="0" y="90"/>
                  </a:lnTo>
                  <a:lnTo>
                    <a:pt x="33" y="99"/>
                  </a:lnTo>
                  <a:lnTo>
                    <a:pt x="54" y="78"/>
                  </a:lnTo>
                  <a:lnTo>
                    <a:pt x="81" y="69"/>
                  </a:lnTo>
                  <a:lnTo>
                    <a:pt x="84" y="42"/>
                  </a:lnTo>
                  <a:lnTo>
                    <a:pt x="102" y="21"/>
                  </a:lnTo>
                  <a:lnTo>
                    <a:pt x="99" y="0"/>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16" name="Freeform 7">
              <a:extLst>
                <a:ext uri="{FF2B5EF4-FFF2-40B4-BE49-F238E27FC236}">
                  <a16:creationId xmlns:a16="http://schemas.microsoft.com/office/drawing/2014/main" id="{80D68C1A-B176-455D-AE44-9A8763105B65}"/>
                </a:ext>
              </a:extLst>
            </p:cNvPr>
            <p:cNvSpPr>
              <a:spLocks/>
            </p:cNvSpPr>
            <p:nvPr/>
          </p:nvSpPr>
          <p:spPr bwMode="auto">
            <a:xfrm>
              <a:off x="4394050" y="881822"/>
              <a:ext cx="94934" cy="52368"/>
            </a:xfrm>
            <a:custGeom>
              <a:avLst/>
              <a:gdLst/>
              <a:ahLst/>
              <a:cxnLst>
                <a:cxn ang="0">
                  <a:pos x="48" y="0"/>
                </a:cxn>
                <a:cxn ang="0">
                  <a:pos x="69" y="6"/>
                </a:cxn>
                <a:cxn ang="0">
                  <a:pos x="45" y="24"/>
                </a:cxn>
                <a:cxn ang="0">
                  <a:pos x="27" y="27"/>
                </a:cxn>
                <a:cxn ang="0">
                  <a:pos x="0" y="39"/>
                </a:cxn>
                <a:cxn ang="0">
                  <a:pos x="18" y="9"/>
                </a:cxn>
                <a:cxn ang="0">
                  <a:pos x="48" y="0"/>
                </a:cxn>
              </a:cxnLst>
              <a:rect l="0" t="0" r="r" b="b"/>
              <a:pathLst>
                <a:path w="69" h="39">
                  <a:moveTo>
                    <a:pt x="48" y="0"/>
                  </a:moveTo>
                  <a:lnTo>
                    <a:pt x="69" y="6"/>
                  </a:lnTo>
                  <a:lnTo>
                    <a:pt x="45" y="24"/>
                  </a:lnTo>
                  <a:lnTo>
                    <a:pt x="27" y="27"/>
                  </a:lnTo>
                  <a:lnTo>
                    <a:pt x="0" y="39"/>
                  </a:lnTo>
                  <a:lnTo>
                    <a:pt x="18" y="9"/>
                  </a:lnTo>
                  <a:lnTo>
                    <a:pt x="48" y="0"/>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17" name="Freeform 8">
              <a:extLst>
                <a:ext uri="{FF2B5EF4-FFF2-40B4-BE49-F238E27FC236}">
                  <a16:creationId xmlns:a16="http://schemas.microsoft.com/office/drawing/2014/main" id="{7F1D33C3-4DC6-4A9D-8737-897F17663C63}"/>
                </a:ext>
              </a:extLst>
            </p:cNvPr>
            <p:cNvSpPr>
              <a:spLocks/>
            </p:cNvSpPr>
            <p:nvPr/>
          </p:nvSpPr>
          <p:spPr bwMode="auto">
            <a:xfrm>
              <a:off x="4581655" y="565242"/>
              <a:ext cx="488229" cy="230889"/>
            </a:xfrm>
            <a:custGeom>
              <a:avLst/>
              <a:gdLst/>
              <a:ahLst/>
              <a:cxnLst>
                <a:cxn ang="0">
                  <a:pos x="0" y="165"/>
                </a:cxn>
                <a:cxn ang="0">
                  <a:pos x="51" y="147"/>
                </a:cxn>
                <a:cxn ang="0">
                  <a:pos x="63" y="120"/>
                </a:cxn>
                <a:cxn ang="0">
                  <a:pos x="96" y="123"/>
                </a:cxn>
                <a:cxn ang="0">
                  <a:pos x="156" y="111"/>
                </a:cxn>
                <a:cxn ang="0">
                  <a:pos x="195" y="81"/>
                </a:cxn>
                <a:cxn ang="0">
                  <a:pos x="264" y="69"/>
                </a:cxn>
                <a:cxn ang="0">
                  <a:pos x="315" y="33"/>
                </a:cxn>
                <a:cxn ang="0">
                  <a:pos x="339" y="24"/>
                </a:cxn>
                <a:cxn ang="0">
                  <a:pos x="357" y="24"/>
                </a:cxn>
                <a:cxn ang="0">
                  <a:pos x="345" y="0"/>
                </a:cxn>
                <a:cxn ang="0">
                  <a:pos x="267" y="33"/>
                </a:cxn>
                <a:cxn ang="0">
                  <a:pos x="219" y="42"/>
                </a:cxn>
                <a:cxn ang="0">
                  <a:pos x="201" y="57"/>
                </a:cxn>
                <a:cxn ang="0">
                  <a:pos x="153" y="60"/>
                </a:cxn>
                <a:cxn ang="0">
                  <a:pos x="108" y="78"/>
                </a:cxn>
                <a:cxn ang="0">
                  <a:pos x="36" y="105"/>
                </a:cxn>
                <a:cxn ang="0">
                  <a:pos x="30" y="126"/>
                </a:cxn>
                <a:cxn ang="0">
                  <a:pos x="9" y="132"/>
                </a:cxn>
                <a:cxn ang="0">
                  <a:pos x="0" y="165"/>
                </a:cxn>
              </a:cxnLst>
              <a:rect l="0" t="0" r="r" b="b"/>
              <a:pathLst>
                <a:path w="357" h="165">
                  <a:moveTo>
                    <a:pt x="0" y="165"/>
                  </a:moveTo>
                  <a:lnTo>
                    <a:pt x="51" y="147"/>
                  </a:lnTo>
                  <a:lnTo>
                    <a:pt x="63" y="120"/>
                  </a:lnTo>
                  <a:lnTo>
                    <a:pt x="96" y="123"/>
                  </a:lnTo>
                  <a:lnTo>
                    <a:pt x="156" y="111"/>
                  </a:lnTo>
                  <a:lnTo>
                    <a:pt x="195" y="81"/>
                  </a:lnTo>
                  <a:lnTo>
                    <a:pt x="264" y="69"/>
                  </a:lnTo>
                  <a:lnTo>
                    <a:pt x="315" y="33"/>
                  </a:lnTo>
                  <a:lnTo>
                    <a:pt x="339" y="24"/>
                  </a:lnTo>
                  <a:lnTo>
                    <a:pt x="357" y="24"/>
                  </a:lnTo>
                  <a:lnTo>
                    <a:pt x="345" y="0"/>
                  </a:lnTo>
                  <a:lnTo>
                    <a:pt x="267" y="33"/>
                  </a:lnTo>
                  <a:lnTo>
                    <a:pt x="219" y="42"/>
                  </a:lnTo>
                  <a:lnTo>
                    <a:pt x="201" y="57"/>
                  </a:lnTo>
                  <a:lnTo>
                    <a:pt x="153" y="60"/>
                  </a:lnTo>
                  <a:lnTo>
                    <a:pt x="108" y="78"/>
                  </a:lnTo>
                  <a:lnTo>
                    <a:pt x="36" y="105"/>
                  </a:lnTo>
                  <a:lnTo>
                    <a:pt x="30" y="126"/>
                  </a:lnTo>
                  <a:lnTo>
                    <a:pt x="9" y="132"/>
                  </a:lnTo>
                  <a:lnTo>
                    <a:pt x="0" y="165"/>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18" name="Freeform 9">
              <a:extLst>
                <a:ext uri="{FF2B5EF4-FFF2-40B4-BE49-F238E27FC236}">
                  <a16:creationId xmlns:a16="http://schemas.microsoft.com/office/drawing/2014/main" id="{225549FE-7E05-4E9C-841D-8E7DC5E2E0F3}"/>
                </a:ext>
              </a:extLst>
            </p:cNvPr>
            <p:cNvSpPr>
              <a:spLocks/>
            </p:cNvSpPr>
            <p:nvPr/>
          </p:nvSpPr>
          <p:spPr bwMode="auto">
            <a:xfrm>
              <a:off x="5162556" y="534301"/>
              <a:ext cx="413637" cy="78550"/>
            </a:xfrm>
            <a:custGeom>
              <a:avLst/>
              <a:gdLst/>
              <a:ahLst/>
              <a:cxnLst>
                <a:cxn ang="0">
                  <a:pos x="303" y="0"/>
                </a:cxn>
                <a:cxn ang="0">
                  <a:pos x="225" y="0"/>
                </a:cxn>
                <a:cxn ang="0">
                  <a:pos x="177" y="9"/>
                </a:cxn>
                <a:cxn ang="0">
                  <a:pos x="156" y="9"/>
                </a:cxn>
                <a:cxn ang="0">
                  <a:pos x="120" y="18"/>
                </a:cxn>
                <a:cxn ang="0">
                  <a:pos x="45" y="15"/>
                </a:cxn>
                <a:cxn ang="0">
                  <a:pos x="27" y="6"/>
                </a:cxn>
                <a:cxn ang="0">
                  <a:pos x="0" y="24"/>
                </a:cxn>
                <a:cxn ang="0">
                  <a:pos x="6" y="48"/>
                </a:cxn>
                <a:cxn ang="0">
                  <a:pos x="45" y="54"/>
                </a:cxn>
                <a:cxn ang="0">
                  <a:pos x="69" y="57"/>
                </a:cxn>
                <a:cxn ang="0">
                  <a:pos x="90" y="48"/>
                </a:cxn>
                <a:cxn ang="0">
                  <a:pos x="96" y="30"/>
                </a:cxn>
                <a:cxn ang="0">
                  <a:pos x="147" y="30"/>
                </a:cxn>
                <a:cxn ang="0">
                  <a:pos x="237" y="18"/>
                </a:cxn>
                <a:cxn ang="0">
                  <a:pos x="270" y="9"/>
                </a:cxn>
                <a:cxn ang="0">
                  <a:pos x="303" y="0"/>
                </a:cxn>
              </a:cxnLst>
              <a:rect l="0" t="0" r="r" b="b"/>
              <a:pathLst>
                <a:path w="303" h="57">
                  <a:moveTo>
                    <a:pt x="303" y="0"/>
                  </a:moveTo>
                  <a:lnTo>
                    <a:pt x="225" y="0"/>
                  </a:lnTo>
                  <a:lnTo>
                    <a:pt x="177" y="9"/>
                  </a:lnTo>
                  <a:lnTo>
                    <a:pt x="156" y="9"/>
                  </a:lnTo>
                  <a:lnTo>
                    <a:pt x="120" y="18"/>
                  </a:lnTo>
                  <a:lnTo>
                    <a:pt x="45" y="15"/>
                  </a:lnTo>
                  <a:lnTo>
                    <a:pt x="27" y="6"/>
                  </a:lnTo>
                  <a:lnTo>
                    <a:pt x="0" y="24"/>
                  </a:lnTo>
                  <a:lnTo>
                    <a:pt x="6" y="48"/>
                  </a:lnTo>
                  <a:lnTo>
                    <a:pt x="45" y="54"/>
                  </a:lnTo>
                  <a:lnTo>
                    <a:pt x="69" y="57"/>
                  </a:lnTo>
                  <a:lnTo>
                    <a:pt x="90" y="48"/>
                  </a:lnTo>
                  <a:lnTo>
                    <a:pt x="96" y="30"/>
                  </a:lnTo>
                  <a:lnTo>
                    <a:pt x="147" y="30"/>
                  </a:lnTo>
                  <a:lnTo>
                    <a:pt x="237" y="18"/>
                  </a:lnTo>
                  <a:lnTo>
                    <a:pt x="270" y="9"/>
                  </a:lnTo>
                  <a:lnTo>
                    <a:pt x="303" y="0"/>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19" name="Freeform 10">
              <a:extLst>
                <a:ext uri="{FF2B5EF4-FFF2-40B4-BE49-F238E27FC236}">
                  <a16:creationId xmlns:a16="http://schemas.microsoft.com/office/drawing/2014/main" id="{B178D593-D884-4CF7-ACAB-0CDA321F83A8}"/>
                </a:ext>
              </a:extLst>
            </p:cNvPr>
            <p:cNvSpPr>
              <a:spLocks/>
            </p:cNvSpPr>
            <p:nvPr/>
          </p:nvSpPr>
          <p:spPr bwMode="auto">
            <a:xfrm>
              <a:off x="5788664" y="441469"/>
              <a:ext cx="239593" cy="104732"/>
            </a:xfrm>
            <a:custGeom>
              <a:avLst/>
              <a:gdLst/>
              <a:ahLst/>
              <a:cxnLst>
                <a:cxn ang="0">
                  <a:pos x="177" y="0"/>
                </a:cxn>
                <a:cxn ang="0">
                  <a:pos x="102" y="9"/>
                </a:cxn>
                <a:cxn ang="0">
                  <a:pos x="69" y="12"/>
                </a:cxn>
                <a:cxn ang="0">
                  <a:pos x="51" y="24"/>
                </a:cxn>
                <a:cxn ang="0">
                  <a:pos x="6" y="33"/>
                </a:cxn>
                <a:cxn ang="0">
                  <a:pos x="0" y="57"/>
                </a:cxn>
                <a:cxn ang="0">
                  <a:pos x="15" y="75"/>
                </a:cxn>
                <a:cxn ang="0">
                  <a:pos x="24" y="51"/>
                </a:cxn>
                <a:cxn ang="0">
                  <a:pos x="90" y="54"/>
                </a:cxn>
                <a:cxn ang="0">
                  <a:pos x="123" y="27"/>
                </a:cxn>
                <a:cxn ang="0">
                  <a:pos x="168" y="21"/>
                </a:cxn>
                <a:cxn ang="0">
                  <a:pos x="177" y="0"/>
                </a:cxn>
              </a:cxnLst>
              <a:rect l="0" t="0" r="r" b="b"/>
              <a:pathLst>
                <a:path w="177" h="75">
                  <a:moveTo>
                    <a:pt x="177" y="0"/>
                  </a:moveTo>
                  <a:lnTo>
                    <a:pt x="102" y="9"/>
                  </a:lnTo>
                  <a:lnTo>
                    <a:pt x="69" y="12"/>
                  </a:lnTo>
                  <a:lnTo>
                    <a:pt x="51" y="24"/>
                  </a:lnTo>
                  <a:lnTo>
                    <a:pt x="6" y="33"/>
                  </a:lnTo>
                  <a:lnTo>
                    <a:pt x="0" y="57"/>
                  </a:lnTo>
                  <a:lnTo>
                    <a:pt x="15" y="75"/>
                  </a:lnTo>
                  <a:lnTo>
                    <a:pt x="24" y="51"/>
                  </a:lnTo>
                  <a:lnTo>
                    <a:pt x="90" y="54"/>
                  </a:lnTo>
                  <a:lnTo>
                    <a:pt x="123" y="27"/>
                  </a:lnTo>
                  <a:lnTo>
                    <a:pt x="168" y="21"/>
                  </a:lnTo>
                  <a:lnTo>
                    <a:pt x="177" y="0"/>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20" name="Freeform 11">
              <a:extLst>
                <a:ext uri="{FF2B5EF4-FFF2-40B4-BE49-F238E27FC236}">
                  <a16:creationId xmlns:a16="http://schemas.microsoft.com/office/drawing/2014/main" id="{2184FD97-8C54-4005-87E6-33B0451F185D}"/>
                </a:ext>
              </a:extLst>
            </p:cNvPr>
            <p:cNvSpPr>
              <a:spLocks/>
            </p:cNvSpPr>
            <p:nvPr/>
          </p:nvSpPr>
          <p:spPr bwMode="auto">
            <a:xfrm>
              <a:off x="6279151" y="351021"/>
              <a:ext cx="88154" cy="28563"/>
            </a:xfrm>
            <a:custGeom>
              <a:avLst/>
              <a:gdLst/>
              <a:ahLst/>
              <a:cxnLst>
                <a:cxn ang="0">
                  <a:pos x="42" y="0"/>
                </a:cxn>
                <a:cxn ang="0">
                  <a:pos x="0" y="15"/>
                </a:cxn>
                <a:cxn ang="0">
                  <a:pos x="45" y="21"/>
                </a:cxn>
                <a:cxn ang="0">
                  <a:pos x="66" y="6"/>
                </a:cxn>
                <a:cxn ang="0">
                  <a:pos x="42" y="0"/>
                </a:cxn>
              </a:cxnLst>
              <a:rect l="0" t="0" r="r" b="b"/>
              <a:pathLst>
                <a:path w="66" h="21">
                  <a:moveTo>
                    <a:pt x="42" y="0"/>
                  </a:moveTo>
                  <a:lnTo>
                    <a:pt x="0" y="15"/>
                  </a:lnTo>
                  <a:lnTo>
                    <a:pt x="45" y="21"/>
                  </a:lnTo>
                  <a:lnTo>
                    <a:pt x="66" y="6"/>
                  </a:lnTo>
                  <a:lnTo>
                    <a:pt x="42" y="0"/>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21" name="Freeform 12">
              <a:extLst>
                <a:ext uri="{FF2B5EF4-FFF2-40B4-BE49-F238E27FC236}">
                  <a16:creationId xmlns:a16="http://schemas.microsoft.com/office/drawing/2014/main" id="{A4654935-51EF-4B25-9953-4A2CBA26072B}"/>
                </a:ext>
              </a:extLst>
            </p:cNvPr>
            <p:cNvSpPr>
              <a:spLocks/>
            </p:cNvSpPr>
            <p:nvPr/>
          </p:nvSpPr>
          <p:spPr bwMode="auto">
            <a:xfrm>
              <a:off x="4837070" y="662836"/>
              <a:ext cx="1320025" cy="1266309"/>
            </a:xfrm>
            <a:custGeom>
              <a:avLst/>
              <a:gdLst/>
              <a:ahLst/>
              <a:cxnLst>
                <a:cxn ang="0">
                  <a:pos x="684" y="0"/>
                </a:cxn>
                <a:cxn ang="0">
                  <a:pos x="558" y="12"/>
                </a:cxn>
                <a:cxn ang="0">
                  <a:pos x="471" y="42"/>
                </a:cxn>
                <a:cxn ang="0">
                  <a:pos x="300" y="120"/>
                </a:cxn>
                <a:cxn ang="0">
                  <a:pos x="198" y="177"/>
                </a:cxn>
                <a:cxn ang="0">
                  <a:pos x="138" y="240"/>
                </a:cxn>
                <a:cxn ang="0">
                  <a:pos x="60" y="351"/>
                </a:cxn>
                <a:cxn ang="0">
                  <a:pos x="18" y="462"/>
                </a:cxn>
                <a:cxn ang="0">
                  <a:pos x="33" y="570"/>
                </a:cxn>
                <a:cxn ang="0">
                  <a:pos x="51" y="705"/>
                </a:cxn>
                <a:cxn ang="0">
                  <a:pos x="39" y="747"/>
                </a:cxn>
                <a:cxn ang="0">
                  <a:pos x="0" y="795"/>
                </a:cxn>
                <a:cxn ang="0">
                  <a:pos x="33" y="828"/>
                </a:cxn>
                <a:cxn ang="0">
                  <a:pos x="84" y="837"/>
                </a:cxn>
                <a:cxn ang="0">
                  <a:pos x="216" y="864"/>
                </a:cxn>
                <a:cxn ang="0">
                  <a:pos x="243" y="846"/>
                </a:cxn>
                <a:cxn ang="0">
                  <a:pos x="273" y="852"/>
                </a:cxn>
                <a:cxn ang="0">
                  <a:pos x="396" y="891"/>
                </a:cxn>
                <a:cxn ang="0">
                  <a:pos x="468" y="912"/>
                </a:cxn>
                <a:cxn ang="0">
                  <a:pos x="525" y="867"/>
                </a:cxn>
                <a:cxn ang="0">
                  <a:pos x="606" y="891"/>
                </a:cxn>
                <a:cxn ang="0">
                  <a:pos x="648" y="852"/>
                </a:cxn>
                <a:cxn ang="0">
                  <a:pos x="732" y="804"/>
                </a:cxn>
                <a:cxn ang="0">
                  <a:pos x="813" y="711"/>
                </a:cxn>
                <a:cxn ang="0">
                  <a:pos x="903" y="744"/>
                </a:cxn>
                <a:cxn ang="0">
                  <a:pos x="969" y="654"/>
                </a:cxn>
                <a:cxn ang="0">
                  <a:pos x="918" y="582"/>
                </a:cxn>
                <a:cxn ang="0">
                  <a:pos x="885" y="504"/>
                </a:cxn>
                <a:cxn ang="0">
                  <a:pos x="864" y="459"/>
                </a:cxn>
                <a:cxn ang="0">
                  <a:pos x="801" y="447"/>
                </a:cxn>
                <a:cxn ang="0">
                  <a:pos x="747" y="402"/>
                </a:cxn>
                <a:cxn ang="0">
                  <a:pos x="774" y="294"/>
                </a:cxn>
                <a:cxn ang="0">
                  <a:pos x="777" y="252"/>
                </a:cxn>
                <a:cxn ang="0">
                  <a:pos x="801" y="195"/>
                </a:cxn>
                <a:cxn ang="0">
                  <a:pos x="834" y="117"/>
                </a:cxn>
                <a:cxn ang="0">
                  <a:pos x="795" y="93"/>
                </a:cxn>
                <a:cxn ang="0">
                  <a:pos x="774" y="105"/>
                </a:cxn>
                <a:cxn ang="0">
                  <a:pos x="705" y="90"/>
                </a:cxn>
                <a:cxn ang="0">
                  <a:pos x="714" y="18"/>
                </a:cxn>
              </a:cxnLst>
              <a:rect l="0" t="0" r="r" b="b"/>
              <a:pathLst>
                <a:path w="969" h="912">
                  <a:moveTo>
                    <a:pt x="714" y="18"/>
                  </a:moveTo>
                  <a:lnTo>
                    <a:pt x="684" y="0"/>
                  </a:lnTo>
                  <a:lnTo>
                    <a:pt x="657" y="15"/>
                  </a:lnTo>
                  <a:lnTo>
                    <a:pt x="558" y="12"/>
                  </a:lnTo>
                  <a:lnTo>
                    <a:pt x="519" y="33"/>
                  </a:lnTo>
                  <a:lnTo>
                    <a:pt x="471" y="42"/>
                  </a:lnTo>
                  <a:lnTo>
                    <a:pt x="405" y="78"/>
                  </a:lnTo>
                  <a:lnTo>
                    <a:pt x="300" y="120"/>
                  </a:lnTo>
                  <a:lnTo>
                    <a:pt x="243" y="159"/>
                  </a:lnTo>
                  <a:lnTo>
                    <a:pt x="198" y="177"/>
                  </a:lnTo>
                  <a:lnTo>
                    <a:pt x="171" y="222"/>
                  </a:lnTo>
                  <a:lnTo>
                    <a:pt x="138" y="240"/>
                  </a:lnTo>
                  <a:lnTo>
                    <a:pt x="93" y="276"/>
                  </a:lnTo>
                  <a:lnTo>
                    <a:pt x="60" y="351"/>
                  </a:lnTo>
                  <a:lnTo>
                    <a:pt x="42" y="438"/>
                  </a:lnTo>
                  <a:lnTo>
                    <a:pt x="18" y="462"/>
                  </a:lnTo>
                  <a:lnTo>
                    <a:pt x="33" y="492"/>
                  </a:lnTo>
                  <a:lnTo>
                    <a:pt x="33" y="570"/>
                  </a:lnTo>
                  <a:lnTo>
                    <a:pt x="57" y="594"/>
                  </a:lnTo>
                  <a:lnTo>
                    <a:pt x="51" y="705"/>
                  </a:lnTo>
                  <a:lnTo>
                    <a:pt x="39" y="723"/>
                  </a:lnTo>
                  <a:lnTo>
                    <a:pt x="39" y="747"/>
                  </a:lnTo>
                  <a:lnTo>
                    <a:pt x="54" y="759"/>
                  </a:lnTo>
                  <a:lnTo>
                    <a:pt x="0" y="795"/>
                  </a:lnTo>
                  <a:lnTo>
                    <a:pt x="12" y="828"/>
                  </a:lnTo>
                  <a:lnTo>
                    <a:pt x="33" y="828"/>
                  </a:lnTo>
                  <a:lnTo>
                    <a:pt x="66" y="864"/>
                  </a:lnTo>
                  <a:lnTo>
                    <a:pt x="84" y="837"/>
                  </a:lnTo>
                  <a:lnTo>
                    <a:pt x="180" y="876"/>
                  </a:lnTo>
                  <a:lnTo>
                    <a:pt x="216" y="864"/>
                  </a:lnTo>
                  <a:lnTo>
                    <a:pt x="216" y="843"/>
                  </a:lnTo>
                  <a:lnTo>
                    <a:pt x="243" y="846"/>
                  </a:lnTo>
                  <a:lnTo>
                    <a:pt x="261" y="834"/>
                  </a:lnTo>
                  <a:lnTo>
                    <a:pt x="273" y="852"/>
                  </a:lnTo>
                  <a:lnTo>
                    <a:pt x="372" y="855"/>
                  </a:lnTo>
                  <a:lnTo>
                    <a:pt x="396" y="891"/>
                  </a:lnTo>
                  <a:lnTo>
                    <a:pt x="426" y="900"/>
                  </a:lnTo>
                  <a:lnTo>
                    <a:pt x="468" y="912"/>
                  </a:lnTo>
                  <a:lnTo>
                    <a:pt x="495" y="900"/>
                  </a:lnTo>
                  <a:lnTo>
                    <a:pt x="525" y="867"/>
                  </a:lnTo>
                  <a:lnTo>
                    <a:pt x="558" y="861"/>
                  </a:lnTo>
                  <a:lnTo>
                    <a:pt x="606" y="891"/>
                  </a:lnTo>
                  <a:lnTo>
                    <a:pt x="639" y="879"/>
                  </a:lnTo>
                  <a:lnTo>
                    <a:pt x="648" y="852"/>
                  </a:lnTo>
                  <a:lnTo>
                    <a:pt x="702" y="834"/>
                  </a:lnTo>
                  <a:lnTo>
                    <a:pt x="732" y="804"/>
                  </a:lnTo>
                  <a:lnTo>
                    <a:pt x="810" y="732"/>
                  </a:lnTo>
                  <a:lnTo>
                    <a:pt x="813" y="711"/>
                  </a:lnTo>
                  <a:lnTo>
                    <a:pt x="861" y="717"/>
                  </a:lnTo>
                  <a:lnTo>
                    <a:pt x="903" y="744"/>
                  </a:lnTo>
                  <a:lnTo>
                    <a:pt x="948" y="711"/>
                  </a:lnTo>
                  <a:lnTo>
                    <a:pt x="969" y="654"/>
                  </a:lnTo>
                  <a:lnTo>
                    <a:pt x="933" y="609"/>
                  </a:lnTo>
                  <a:lnTo>
                    <a:pt x="918" y="582"/>
                  </a:lnTo>
                  <a:lnTo>
                    <a:pt x="918" y="528"/>
                  </a:lnTo>
                  <a:lnTo>
                    <a:pt x="885" y="504"/>
                  </a:lnTo>
                  <a:lnTo>
                    <a:pt x="861" y="492"/>
                  </a:lnTo>
                  <a:lnTo>
                    <a:pt x="864" y="459"/>
                  </a:lnTo>
                  <a:lnTo>
                    <a:pt x="840" y="447"/>
                  </a:lnTo>
                  <a:lnTo>
                    <a:pt x="801" y="447"/>
                  </a:lnTo>
                  <a:lnTo>
                    <a:pt x="756" y="435"/>
                  </a:lnTo>
                  <a:lnTo>
                    <a:pt x="747" y="402"/>
                  </a:lnTo>
                  <a:lnTo>
                    <a:pt x="750" y="348"/>
                  </a:lnTo>
                  <a:lnTo>
                    <a:pt x="774" y="294"/>
                  </a:lnTo>
                  <a:lnTo>
                    <a:pt x="789" y="282"/>
                  </a:lnTo>
                  <a:lnTo>
                    <a:pt x="777" y="252"/>
                  </a:lnTo>
                  <a:lnTo>
                    <a:pt x="792" y="228"/>
                  </a:lnTo>
                  <a:lnTo>
                    <a:pt x="801" y="195"/>
                  </a:lnTo>
                  <a:lnTo>
                    <a:pt x="849" y="150"/>
                  </a:lnTo>
                  <a:lnTo>
                    <a:pt x="834" y="117"/>
                  </a:lnTo>
                  <a:lnTo>
                    <a:pt x="828" y="96"/>
                  </a:lnTo>
                  <a:lnTo>
                    <a:pt x="795" y="93"/>
                  </a:lnTo>
                  <a:lnTo>
                    <a:pt x="789" y="123"/>
                  </a:lnTo>
                  <a:lnTo>
                    <a:pt x="774" y="105"/>
                  </a:lnTo>
                  <a:lnTo>
                    <a:pt x="729" y="111"/>
                  </a:lnTo>
                  <a:lnTo>
                    <a:pt x="705" y="90"/>
                  </a:lnTo>
                  <a:lnTo>
                    <a:pt x="717" y="54"/>
                  </a:lnTo>
                  <a:lnTo>
                    <a:pt x="714" y="18"/>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cxnSp>
          <p:nvCxnSpPr>
            <p:cNvPr id="22" name="Line 13">
              <a:extLst>
                <a:ext uri="{FF2B5EF4-FFF2-40B4-BE49-F238E27FC236}">
                  <a16:creationId xmlns:a16="http://schemas.microsoft.com/office/drawing/2014/main" id="{4936F9BB-F9A1-43ED-9AAC-D49952378594}"/>
                </a:ext>
              </a:extLst>
            </p:cNvPr>
            <p:cNvCxnSpPr/>
            <p:nvPr/>
          </p:nvCxnSpPr>
          <p:spPr bwMode="auto">
            <a:xfrm flipV="1">
              <a:off x="4455078" y="1343595"/>
              <a:ext cx="393295" cy="330859"/>
            </a:xfrm>
            <a:prstGeom prst="line">
              <a:avLst/>
            </a:prstGeom>
            <a:noFill/>
            <a:ln w="12700">
              <a:solidFill>
                <a:schemeClr val="tx1"/>
              </a:solidFill>
              <a:round/>
              <a:headEnd/>
              <a:tailEnd/>
            </a:ln>
            <a:effectLst/>
          </p:spPr>
        </p:cxnSp>
        <p:sp>
          <p:nvSpPr>
            <p:cNvPr id="23" name="Freeform 14">
              <a:extLst>
                <a:ext uri="{FF2B5EF4-FFF2-40B4-BE49-F238E27FC236}">
                  <a16:creationId xmlns:a16="http://schemas.microsoft.com/office/drawing/2014/main" id="{66246D2A-FD30-4C4B-B495-49799064B264}"/>
                </a:ext>
              </a:extLst>
            </p:cNvPr>
            <p:cNvSpPr>
              <a:spLocks/>
            </p:cNvSpPr>
            <p:nvPr/>
          </p:nvSpPr>
          <p:spPr bwMode="auto">
            <a:xfrm>
              <a:off x="4488986" y="2671795"/>
              <a:ext cx="40686" cy="42847"/>
            </a:xfrm>
            <a:custGeom>
              <a:avLst/>
              <a:gdLst/>
              <a:ahLst/>
              <a:cxnLst>
                <a:cxn ang="0">
                  <a:pos x="27" y="0"/>
                </a:cxn>
                <a:cxn ang="0">
                  <a:pos x="30" y="30"/>
                </a:cxn>
                <a:cxn ang="0">
                  <a:pos x="0" y="18"/>
                </a:cxn>
                <a:cxn ang="0">
                  <a:pos x="27" y="0"/>
                </a:cxn>
              </a:cxnLst>
              <a:rect l="0" t="0" r="r" b="b"/>
              <a:pathLst>
                <a:path w="30" h="30">
                  <a:moveTo>
                    <a:pt x="27" y="0"/>
                  </a:moveTo>
                  <a:lnTo>
                    <a:pt x="30" y="30"/>
                  </a:lnTo>
                  <a:lnTo>
                    <a:pt x="0" y="18"/>
                  </a:lnTo>
                  <a:lnTo>
                    <a:pt x="27" y="0"/>
                  </a:lnTo>
                  <a:close/>
                </a:path>
              </a:pathLst>
            </a:custGeom>
            <a:solidFill>
              <a:schemeClr val="bg1"/>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24" name="Freeform 15">
              <a:extLst>
                <a:ext uri="{FF2B5EF4-FFF2-40B4-BE49-F238E27FC236}">
                  <a16:creationId xmlns:a16="http://schemas.microsoft.com/office/drawing/2014/main" id="{516CB471-1C9C-4C67-8311-63999FD0C22E}"/>
                </a:ext>
              </a:extLst>
            </p:cNvPr>
            <p:cNvSpPr>
              <a:spLocks/>
            </p:cNvSpPr>
            <p:nvPr/>
          </p:nvSpPr>
          <p:spPr bwMode="auto">
            <a:xfrm>
              <a:off x="4538711" y="2388540"/>
              <a:ext cx="892825" cy="704564"/>
            </a:xfrm>
            <a:custGeom>
              <a:avLst/>
              <a:gdLst/>
              <a:ahLst/>
              <a:cxnLst>
                <a:cxn ang="0">
                  <a:pos x="0" y="333"/>
                </a:cxn>
                <a:cxn ang="0">
                  <a:pos x="24" y="405"/>
                </a:cxn>
                <a:cxn ang="0">
                  <a:pos x="48" y="396"/>
                </a:cxn>
                <a:cxn ang="0">
                  <a:pos x="84" y="381"/>
                </a:cxn>
                <a:cxn ang="0">
                  <a:pos x="102" y="396"/>
                </a:cxn>
                <a:cxn ang="0">
                  <a:pos x="171" y="432"/>
                </a:cxn>
                <a:cxn ang="0">
                  <a:pos x="186" y="453"/>
                </a:cxn>
                <a:cxn ang="0">
                  <a:pos x="213" y="480"/>
                </a:cxn>
                <a:cxn ang="0">
                  <a:pos x="264" y="507"/>
                </a:cxn>
                <a:cxn ang="0">
                  <a:pos x="285" y="501"/>
                </a:cxn>
                <a:cxn ang="0">
                  <a:pos x="342" y="495"/>
                </a:cxn>
                <a:cxn ang="0">
                  <a:pos x="360" y="483"/>
                </a:cxn>
                <a:cxn ang="0">
                  <a:pos x="384" y="444"/>
                </a:cxn>
                <a:cxn ang="0">
                  <a:pos x="390" y="414"/>
                </a:cxn>
                <a:cxn ang="0">
                  <a:pos x="375" y="381"/>
                </a:cxn>
                <a:cxn ang="0">
                  <a:pos x="399" y="360"/>
                </a:cxn>
                <a:cxn ang="0">
                  <a:pos x="411" y="342"/>
                </a:cxn>
                <a:cxn ang="0">
                  <a:pos x="447" y="339"/>
                </a:cxn>
                <a:cxn ang="0">
                  <a:pos x="486" y="294"/>
                </a:cxn>
                <a:cxn ang="0">
                  <a:pos x="492" y="276"/>
                </a:cxn>
                <a:cxn ang="0">
                  <a:pos x="600" y="237"/>
                </a:cxn>
                <a:cxn ang="0">
                  <a:pos x="657" y="108"/>
                </a:cxn>
                <a:cxn ang="0">
                  <a:pos x="657" y="63"/>
                </a:cxn>
                <a:cxn ang="0">
                  <a:pos x="636" y="42"/>
                </a:cxn>
                <a:cxn ang="0">
                  <a:pos x="540" y="24"/>
                </a:cxn>
                <a:cxn ang="0">
                  <a:pos x="510" y="9"/>
                </a:cxn>
                <a:cxn ang="0">
                  <a:pos x="459" y="0"/>
                </a:cxn>
                <a:cxn ang="0">
                  <a:pos x="429" y="21"/>
                </a:cxn>
                <a:cxn ang="0">
                  <a:pos x="390" y="24"/>
                </a:cxn>
                <a:cxn ang="0">
                  <a:pos x="348" y="75"/>
                </a:cxn>
                <a:cxn ang="0">
                  <a:pos x="324" y="81"/>
                </a:cxn>
                <a:cxn ang="0">
                  <a:pos x="306" y="111"/>
                </a:cxn>
                <a:cxn ang="0">
                  <a:pos x="300" y="132"/>
                </a:cxn>
                <a:cxn ang="0">
                  <a:pos x="267" y="168"/>
                </a:cxn>
                <a:cxn ang="0">
                  <a:pos x="225" y="186"/>
                </a:cxn>
                <a:cxn ang="0">
                  <a:pos x="93" y="261"/>
                </a:cxn>
                <a:cxn ang="0">
                  <a:pos x="30" y="306"/>
                </a:cxn>
                <a:cxn ang="0">
                  <a:pos x="0" y="333"/>
                </a:cxn>
              </a:cxnLst>
              <a:rect l="0" t="0" r="r" b="b"/>
              <a:pathLst>
                <a:path w="657" h="507">
                  <a:moveTo>
                    <a:pt x="0" y="333"/>
                  </a:moveTo>
                  <a:lnTo>
                    <a:pt x="24" y="405"/>
                  </a:lnTo>
                  <a:lnTo>
                    <a:pt x="48" y="396"/>
                  </a:lnTo>
                  <a:lnTo>
                    <a:pt x="84" y="381"/>
                  </a:lnTo>
                  <a:lnTo>
                    <a:pt x="102" y="396"/>
                  </a:lnTo>
                  <a:lnTo>
                    <a:pt x="171" y="432"/>
                  </a:lnTo>
                  <a:lnTo>
                    <a:pt x="186" y="453"/>
                  </a:lnTo>
                  <a:lnTo>
                    <a:pt x="213" y="480"/>
                  </a:lnTo>
                  <a:lnTo>
                    <a:pt x="264" y="507"/>
                  </a:lnTo>
                  <a:lnTo>
                    <a:pt x="285" y="501"/>
                  </a:lnTo>
                  <a:lnTo>
                    <a:pt x="342" y="495"/>
                  </a:lnTo>
                  <a:lnTo>
                    <a:pt x="360" y="483"/>
                  </a:lnTo>
                  <a:lnTo>
                    <a:pt x="384" y="444"/>
                  </a:lnTo>
                  <a:lnTo>
                    <a:pt x="390" y="414"/>
                  </a:lnTo>
                  <a:lnTo>
                    <a:pt x="375" y="381"/>
                  </a:lnTo>
                  <a:lnTo>
                    <a:pt x="399" y="360"/>
                  </a:lnTo>
                  <a:lnTo>
                    <a:pt x="411" y="342"/>
                  </a:lnTo>
                  <a:lnTo>
                    <a:pt x="447" y="339"/>
                  </a:lnTo>
                  <a:lnTo>
                    <a:pt x="486" y="294"/>
                  </a:lnTo>
                  <a:lnTo>
                    <a:pt x="492" y="276"/>
                  </a:lnTo>
                  <a:lnTo>
                    <a:pt x="600" y="237"/>
                  </a:lnTo>
                  <a:lnTo>
                    <a:pt x="657" y="108"/>
                  </a:lnTo>
                  <a:lnTo>
                    <a:pt x="657" y="63"/>
                  </a:lnTo>
                  <a:lnTo>
                    <a:pt x="636" y="42"/>
                  </a:lnTo>
                  <a:lnTo>
                    <a:pt x="540" y="24"/>
                  </a:lnTo>
                  <a:lnTo>
                    <a:pt x="510" y="9"/>
                  </a:lnTo>
                  <a:lnTo>
                    <a:pt x="459" y="0"/>
                  </a:lnTo>
                  <a:lnTo>
                    <a:pt x="429" y="21"/>
                  </a:lnTo>
                  <a:lnTo>
                    <a:pt x="390" y="24"/>
                  </a:lnTo>
                  <a:lnTo>
                    <a:pt x="348" y="75"/>
                  </a:lnTo>
                  <a:lnTo>
                    <a:pt x="324" y="81"/>
                  </a:lnTo>
                  <a:lnTo>
                    <a:pt x="306" y="111"/>
                  </a:lnTo>
                  <a:lnTo>
                    <a:pt x="300" y="132"/>
                  </a:lnTo>
                  <a:lnTo>
                    <a:pt x="267" y="168"/>
                  </a:lnTo>
                  <a:lnTo>
                    <a:pt x="225" y="186"/>
                  </a:lnTo>
                  <a:lnTo>
                    <a:pt x="93" y="261"/>
                  </a:lnTo>
                  <a:lnTo>
                    <a:pt x="30" y="306"/>
                  </a:lnTo>
                  <a:lnTo>
                    <a:pt x="0" y="333"/>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25" name="Freeform 16">
              <a:extLst>
                <a:ext uri="{FF2B5EF4-FFF2-40B4-BE49-F238E27FC236}">
                  <a16:creationId xmlns:a16="http://schemas.microsoft.com/office/drawing/2014/main" id="{6B423A94-EF21-401E-81C2-AD19DB153CE1}"/>
                </a:ext>
              </a:extLst>
            </p:cNvPr>
            <p:cNvSpPr>
              <a:spLocks/>
            </p:cNvSpPr>
            <p:nvPr/>
          </p:nvSpPr>
          <p:spPr bwMode="auto">
            <a:xfrm>
              <a:off x="5130912" y="1869636"/>
              <a:ext cx="488229" cy="483197"/>
            </a:xfrm>
            <a:custGeom>
              <a:avLst/>
              <a:gdLst/>
              <a:ahLst/>
              <a:cxnLst>
                <a:cxn ang="0">
                  <a:pos x="102" y="15"/>
                </a:cxn>
                <a:cxn ang="0">
                  <a:pos x="54" y="18"/>
                </a:cxn>
                <a:cxn ang="0">
                  <a:pos x="45" y="57"/>
                </a:cxn>
                <a:cxn ang="0">
                  <a:pos x="21" y="84"/>
                </a:cxn>
                <a:cxn ang="0">
                  <a:pos x="9" y="114"/>
                </a:cxn>
                <a:cxn ang="0">
                  <a:pos x="0" y="261"/>
                </a:cxn>
                <a:cxn ang="0">
                  <a:pos x="48" y="336"/>
                </a:cxn>
                <a:cxn ang="0">
                  <a:pos x="72" y="348"/>
                </a:cxn>
                <a:cxn ang="0">
                  <a:pos x="111" y="345"/>
                </a:cxn>
                <a:cxn ang="0">
                  <a:pos x="264" y="330"/>
                </a:cxn>
                <a:cxn ang="0">
                  <a:pos x="327" y="309"/>
                </a:cxn>
                <a:cxn ang="0">
                  <a:pos x="360" y="291"/>
                </a:cxn>
                <a:cxn ang="0">
                  <a:pos x="348" y="255"/>
                </a:cxn>
                <a:cxn ang="0">
                  <a:pos x="321" y="243"/>
                </a:cxn>
                <a:cxn ang="0">
                  <a:pos x="336" y="225"/>
                </a:cxn>
                <a:cxn ang="0">
                  <a:pos x="327" y="171"/>
                </a:cxn>
                <a:cxn ang="0">
                  <a:pos x="312" y="147"/>
                </a:cxn>
                <a:cxn ang="0">
                  <a:pos x="237" y="96"/>
                </a:cxn>
                <a:cxn ang="0">
                  <a:pos x="189" y="72"/>
                </a:cxn>
                <a:cxn ang="0">
                  <a:pos x="168" y="24"/>
                </a:cxn>
                <a:cxn ang="0">
                  <a:pos x="144" y="0"/>
                </a:cxn>
                <a:cxn ang="0">
                  <a:pos x="102" y="15"/>
                </a:cxn>
              </a:cxnLst>
              <a:rect l="0" t="0" r="r" b="b"/>
              <a:pathLst>
                <a:path w="360" h="348">
                  <a:moveTo>
                    <a:pt x="102" y="15"/>
                  </a:moveTo>
                  <a:lnTo>
                    <a:pt x="54" y="18"/>
                  </a:lnTo>
                  <a:lnTo>
                    <a:pt x="45" y="57"/>
                  </a:lnTo>
                  <a:lnTo>
                    <a:pt x="21" y="84"/>
                  </a:lnTo>
                  <a:lnTo>
                    <a:pt x="9" y="114"/>
                  </a:lnTo>
                  <a:lnTo>
                    <a:pt x="0" y="261"/>
                  </a:lnTo>
                  <a:lnTo>
                    <a:pt x="48" y="336"/>
                  </a:lnTo>
                  <a:lnTo>
                    <a:pt x="72" y="348"/>
                  </a:lnTo>
                  <a:lnTo>
                    <a:pt x="111" y="345"/>
                  </a:lnTo>
                  <a:lnTo>
                    <a:pt x="264" y="330"/>
                  </a:lnTo>
                  <a:lnTo>
                    <a:pt x="327" y="309"/>
                  </a:lnTo>
                  <a:lnTo>
                    <a:pt x="360" y="291"/>
                  </a:lnTo>
                  <a:lnTo>
                    <a:pt x="348" y="255"/>
                  </a:lnTo>
                  <a:lnTo>
                    <a:pt x="321" y="243"/>
                  </a:lnTo>
                  <a:lnTo>
                    <a:pt x="336" y="225"/>
                  </a:lnTo>
                  <a:lnTo>
                    <a:pt x="327" y="171"/>
                  </a:lnTo>
                  <a:lnTo>
                    <a:pt x="312" y="147"/>
                  </a:lnTo>
                  <a:lnTo>
                    <a:pt x="237" y="96"/>
                  </a:lnTo>
                  <a:lnTo>
                    <a:pt x="189" y="72"/>
                  </a:lnTo>
                  <a:lnTo>
                    <a:pt x="168" y="24"/>
                  </a:lnTo>
                  <a:lnTo>
                    <a:pt x="144" y="0"/>
                  </a:lnTo>
                  <a:lnTo>
                    <a:pt x="102" y="15"/>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26" name="Freeform 18">
              <a:extLst>
                <a:ext uri="{FF2B5EF4-FFF2-40B4-BE49-F238E27FC236}">
                  <a16:creationId xmlns:a16="http://schemas.microsoft.com/office/drawing/2014/main" id="{FFEE7FB8-402F-4D6A-B99E-8F2C655D43A3}"/>
                </a:ext>
              </a:extLst>
            </p:cNvPr>
            <p:cNvSpPr>
              <a:spLocks/>
            </p:cNvSpPr>
            <p:nvPr/>
          </p:nvSpPr>
          <p:spPr bwMode="auto">
            <a:xfrm>
              <a:off x="5840650" y="531922"/>
              <a:ext cx="1283860" cy="1306775"/>
            </a:xfrm>
            <a:custGeom>
              <a:avLst/>
              <a:gdLst/>
              <a:ahLst/>
              <a:cxnLst>
                <a:cxn ang="0">
                  <a:pos x="848" y="908"/>
                </a:cxn>
                <a:cxn ang="0">
                  <a:pos x="932" y="704"/>
                </a:cxn>
                <a:cxn ang="0">
                  <a:pos x="928" y="622"/>
                </a:cxn>
                <a:cxn ang="0">
                  <a:pos x="902" y="474"/>
                </a:cxn>
                <a:cxn ang="0">
                  <a:pos x="942" y="388"/>
                </a:cxn>
                <a:cxn ang="0">
                  <a:pos x="922" y="332"/>
                </a:cxn>
                <a:cxn ang="0">
                  <a:pos x="836" y="312"/>
                </a:cxn>
                <a:cxn ang="0">
                  <a:pos x="802" y="282"/>
                </a:cxn>
                <a:cxn ang="0">
                  <a:pos x="800" y="242"/>
                </a:cxn>
                <a:cxn ang="0">
                  <a:pos x="666" y="188"/>
                </a:cxn>
                <a:cxn ang="0">
                  <a:pos x="618" y="62"/>
                </a:cxn>
                <a:cxn ang="0">
                  <a:pos x="530" y="12"/>
                </a:cxn>
                <a:cxn ang="0">
                  <a:pos x="422" y="24"/>
                </a:cxn>
                <a:cxn ang="0">
                  <a:pos x="262" y="66"/>
                </a:cxn>
                <a:cxn ang="0">
                  <a:pos x="128" y="112"/>
                </a:cxn>
                <a:cxn ang="0">
                  <a:pos x="92" y="122"/>
                </a:cxn>
                <a:cxn ang="0">
                  <a:pos x="42" y="102"/>
                </a:cxn>
                <a:cxn ang="0">
                  <a:pos x="32" y="118"/>
                </a:cxn>
                <a:cxn ang="0">
                  <a:pos x="16" y="136"/>
                </a:cxn>
                <a:cxn ang="0">
                  <a:pos x="46" y="176"/>
                </a:cxn>
                <a:cxn ang="0">
                  <a:pos x="80" y="200"/>
                </a:cxn>
                <a:cxn ang="0">
                  <a:pos x="54" y="288"/>
                </a:cxn>
                <a:cxn ang="0">
                  <a:pos x="30" y="344"/>
                </a:cxn>
                <a:cxn ang="0">
                  <a:pos x="28" y="386"/>
                </a:cxn>
                <a:cxn ang="0">
                  <a:pos x="2" y="502"/>
                </a:cxn>
                <a:cxn ang="0">
                  <a:pos x="48" y="540"/>
                </a:cxn>
                <a:cxn ang="0">
                  <a:pos x="116" y="554"/>
                </a:cxn>
                <a:cxn ang="0">
                  <a:pos x="166" y="554"/>
                </a:cxn>
                <a:cxn ang="0">
                  <a:pos x="188" y="460"/>
                </a:cxn>
                <a:cxn ang="0">
                  <a:pos x="252" y="398"/>
                </a:cxn>
                <a:cxn ang="0">
                  <a:pos x="308" y="416"/>
                </a:cxn>
                <a:cxn ang="0">
                  <a:pos x="356" y="452"/>
                </a:cxn>
                <a:cxn ang="0">
                  <a:pos x="408" y="488"/>
                </a:cxn>
                <a:cxn ang="0">
                  <a:pos x="420" y="526"/>
                </a:cxn>
                <a:cxn ang="0">
                  <a:pos x="502" y="538"/>
                </a:cxn>
                <a:cxn ang="0">
                  <a:pos x="532" y="526"/>
                </a:cxn>
                <a:cxn ang="0">
                  <a:pos x="724" y="728"/>
                </a:cxn>
                <a:cxn ang="0">
                  <a:pos x="786" y="792"/>
                </a:cxn>
                <a:cxn ang="0">
                  <a:pos x="802" y="824"/>
                </a:cxn>
                <a:cxn ang="0">
                  <a:pos x="790" y="862"/>
                </a:cxn>
                <a:cxn ang="0">
                  <a:pos x="822" y="886"/>
                </a:cxn>
                <a:cxn ang="0">
                  <a:pos x="838" y="942"/>
                </a:cxn>
              </a:cxnLst>
              <a:rect l="0" t="0" r="r" b="b"/>
              <a:pathLst>
                <a:path w="942" h="942">
                  <a:moveTo>
                    <a:pt x="838" y="942"/>
                  </a:moveTo>
                  <a:lnTo>
                    <a:pt x="848" y="908"/>
                  </a:lnTo>
                  <a:lnTo>
                    <a:pt x="926" y="746"/>
                  </a:lnTo>
                  <a:lnTo>
                    <a:pt x="932" y="704"/>
                  </a:lnTo>
                  <a:lnTo>
                    <a:pt x="938" y="630"/>
                  </a:lnTo>
                  <a:lnTo>
                    <a:pt x="928" y="622"/>
                  </a:lnTo>
                  <a:lnTo>
                    <a:pt x="930" y="504"/>
                  </a:lnTo>
                  <a:lnTo>
                    <a:pt x="902" y="474"/>
                  </a:lnTo>
                  <a:lnTo>
                    <a:pt x="930" y="408"/>
                  </a:lnTo>
                  <a:lnTo>
                    <a:pt x="942" y="388"/>
                  </a:lnTo>
                  <a:lnTo>
                    <a:pt x="928" y="350"/>
                  </a:lnTo>
                  <a:lnTo>
                    <a:pt x="922" y="332"/>
                  </a:lnTo>
                  <a:lnTo>
                    <a:pt x="876" y="316"/>
                  </a:lnTo>
                  <a:lnTo>
                    <a:pt x="836" y="312"/>
                  </a:lnTo>
                  <a:lnTo>
                    <a:pt x="816" y="290"/>
                  </a:lnTo>
                  <a:lnTo>
                    <a:pt x="802" y="282"/>
                  </a:lnTo>
                  <a:lnTo>
                    <a:pt x="820" y="258"/>
                  </a:lnTo>
                  <a:lnTo>
                    <a:pt x="800" y="242"/>
                  </a:lnTo>
                  <a:lnTo>
                    <a:pt x="714" y="204"/>
                  </a:lnTo>
                  <a:lnTo>
                    <a:pt x="666" y="188"/>
                  </a:lnTo>
                  <a:lnTo>
                    <a:pt x="642" y="142"/>
                  </a:lnTo>
                  <a:lnTo>
                    <a:pt x="618" y="62"/>
                  </a:lnTo>
                  <a:lnTo>
                    <a:pt x="594" y="28"/>
                  </a:lnTo>
                  <a:lnTo>
                    <a:pt x="530" y="12"/>
                  </a:lnTo>
                  <a:lnTo>
                    <a:pt x="482" y="0"/>
                  </a:lnTo>
                  <a:lnTo>
                    <a:pt x="422" y="24"/>
                  </a:lnTo>
                  <a:lnTo>
                    <a:pt x="336" y="50"/>
                  </a:lnTo>
                  <a:lnTo>
                    <a:pt x="262" y="66"/>
                  </a:lnTo>
                  <a:lnTo>
                    <a:pt x="192" y="84"/>
                  </a:lnTo>
                  <a:lnTo>
                    <a:pt x="128" y="112"/>
                  </a:lnTo>
                  <a:lnTo>
                    <a:pt x="116" y="126"/>
                  </a:lnTo>
                  <a:lnTo>
                    <a:pt x="92" y="122"/>
                  </a:lnTo>
                  <a:lnTo>
                    <a:pt x="92" y="96"/>
                  </a:lnTo>
                  <a:lnTo>
                    <a:pt x="42" y="102"/>
                  </a:lnTo>
                  <a:lnTo>
                    <a:pt x="32" y="92"/>
                  </a:lnTo>
                  <a:lnTo>
                    <a:pt x="32" y="118"/>
                  </a:lnTo>
                  <a:lnTo>
                    <a:pt x="42" y="140"/>
                  </a:lnTo>
                  <a:lnTo>
                    <a:pt x="16" y="136"/>
                  </a:lnTo>
                  <a:lnTo>
                    <a:pt x="14" y="150"/>
                  </a:lnTo>
                  <a:lnTo>
                    <a:pt x="46" y="176"/>
                  </a:lnTo>
                  <a:lnTo>
                    <a:pt x="92" y="180"/>
                  </a:lnTo>
                  <a:lnTo>
                    <a:pt x="80" y="200"/>
                  </a:lnTo>
                  <a:lnTo>
                    <a:pt x="102" y="242"/>
                  </a:lnTo>
                  <a:lnTo>
                    <a:pt x="54" y="288"/>
                  </a:lnTo>
                  <a:lnTo>
                    <a:pt x="44" y="326"/>
                  </a:lnTo>
                  <a:lnTo>
                    <a:pt x="30" y="344"/>
                  </a:lnTo>
                  <a:lnTo>
                    <a:pt x="42" y="378"/>
                  </a:lnTo>
                  <a:lnTo>
                    <a:pt x="28" y="386"/>
                  </a:lnTo>
                  <a:lnTo>
                    <a:pt x="0" y="442"/>
                  </a:lnTo>
                  <a:lnTo>
                    <a:pt x="2" y="502"/>
                  </a:lnTo>
                  <a:lnTo>
                    <a:pt x="6" y="530"/>
                  </a:lnTo>
                  <a:lnTo>
                    <a:pt x="48" y="540"/>
                  </a:lnTo>
                  <a:lnTo>
                    <a:pt x="90" y="542"/>
                  </a:lnTo>
                  <a:lnTo>
                    <a:pt x="116" y="554"/>
                  </a:lnTo>
                  <a:lnTo>
                    <a:pt x="156" y="560"/>
                  </a:lnTo>
                  <a:lnTo>
                    <a:pt x="166" y="554"/>
                  </a:lnTo>
                  <a:lnTo>
                    <a:pt x="168" y="510"/>
                  </a:lnTo>
                  <a:lnTo>
                    <a:pt x="188" y="460"/>
                  </a:lnTo>
                  <a:lnTo>
                    <a:pt x="214" y="424"/>
                  </a:lnTo>
                  <a:lnTo>
                    <a:pt x="252" y="398"/>
                  </a:lnTo>
                  <a:lnTo>
                    <a:pt x="302" y="404"/>
                  </a:lnTo>
                  <a:lnTo>
                    <a:pt x="308" y="416"/>
                  </a:lnTo>
                  <a:lnTo>
                    <a:pt x="342" y="416"/>
                  </a:lnTo>
                  <a:lnTo>
                    <a:pt x="356" y="452"/>
                  </a:lnTo>
                  <a:lnTo>
                    <a:pt x="390" y="480"/>
                  </a:lnTo>
                  <a:lnTo>
                    <a:pt x="408" y="488"/>
                  </a:lnTo>
                  <a:lnTo>
                    <a:pt x="416" y="508"/>
                  </a:lnTo>
                  <a:lnTo>
                    <a:pt x="420" y="526"/>
                  </a:lnTo>
                  <a:lnTo>
                    <a:pt x="474" y="528"/>
                  </a:lnTo>
                  <a:lnTo>
                    <a:pt x="502" y="538"/>
                  </a:lnTo>
                  <a:lnTo>
                    <a:pt x="510" y="522"/>
                  </a:lnTo>
                  <a:lnTo>
                    <a:pt x="532" y="526"/>
                  </a:lnTo>
                  <a:lnTo>
                    <a:pt x="718" y="712"/>
                  </a:lnTo>
                  <a:lnTo>
                    <a:pt x="724" y="728"/>
                  </a:lnTo>
                  <a:lnTo>
                    <a:pt x="756" y="762"/>
                  </a:lnTo>
                  <a:lnTo>
                    <a:pt x="786" y="792"/>
                  </a:lnTo>
                  <a:lnTo>
                    <a:pt x="790" y="810"/>
                  </a:lnTo>
                  <a:lnTo>
                    <a:pt x="802" y="824"/>
                  </a:lnTo>
                  <a:lnTo>
                    <a:pt x="802" y="854"/>
                  </a:lnTo>
                  <a:lnTo>
                    <a:pt x="790" y="862"/>
                  </a:lnTo>
                  <a:lnTo>
                    <a:pt x="796" y="880"/>
                  </a:lnTo>
                  <a:lnTo>
                    <a:pt x="822" y="886"/>
                  </a:lnTo>
                  <a:lnTo>
                    <a:pt x="836" y="898"/>
                  </a:lnTo>
                  <a:lnTo>
                    <a:pt x="838" y="942"/>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27" name="Freeform 20">
              <a:extLst>
                <a:ext uri="{FF2B5EF4-FFF2-40B4-BE49-F238E27FC236}">
                  <a16:creationId xmlns:a16="http://schemas.microsoft.com/office/drawing/2014/main" id="{841DADE6-C0A8-4269-80C3-9AC2A9F9C140}"/>
                </a:ext>
              </a:extLst>
            </p:cNvPr>
            <p:cNvSpPr>
              <a:spLocks/>
            </p:cNvSpPr>
            <p:nvPr/>
          </p:nvSpPr>
          <p:spPr bwMode="auto">
            <a:xfrm>
              <a:off x="4120552" y="3035976"/>
              <a:ext cx="1046525" cy="747409"/>
            </a:xfrm>
            <a:custGeom>
              <a:avLst/>
              <a:gdLst/>
              <a:ahLst/>
              <a:cxnLst>
                <a:cxn ang="0">
                  <a:pos x="483" y="38"/>
                </a:cxn>
                <a:cxn ang="0">
                  <a:pos x="556" y="74"/>
                </a:cxn>
                <a:cxn ang="0">
                  <a:pos x="595" y="173"/>
                </a:cxn>
                <a:cxn ang="0">
                  <a:pos x="619" y="206"/>
                </a:cxn>
                <a:cxn ang="0">
                  <a:pos x="643" y="209"/>
                </a:cxn>
                <a:cxn ang="0">
                  <a:pos x="639" y="276"/>
                </a:cxn>
                <a:cxn ang="0">
                  <a:pos x="648" y="351"/>
                </a:cxn>
                <a:cxn ang="0">
                  <a:pos x="700" y="315"/>
                </a:cxn>
                <a:cxn ang="0">
                  <a:pos x="714" y="398"/>
                </a:cxn>
                <a:cxn ang="0">
                  <a:pos x="768" y="470"/>
                </a:cxn>
                <a:cxn ang="0">
                  <a:pos x="711" y="494"/>
                </a:cxn>
                <a:cxn ang="0">
                  <a:pos x="622" y="468"/>
                </a:cxn>
                <a:cxn ang="0">
                  <a:pos x="570" y="489"/>
                </a:cxn>
                <a:cxn ang="0">
                  <a:pos x="498" y="506"/>
                </a:cxn>
                <a:cxn ang="0">
                  <a:pos x="447" y="491"/>
                </a:cxn>
                <a:cxn ang="0">
                  <a:pos x="415" y="471"/>
                </a:cxn>
                <a:cxn ang="0">
                  <a:pos x="348" y="494"/>
                </a:cxn>
                <a:cxn ang="0">
                  <a:pos x="277" y="441"/>
                </a:cxn>
                <a:cxn ang="0">
                  <a:pos x="210" y="482"/>
                </a:cxn>
                <a:cxn ang="0">
                  <a:pos x="127" y="498"/>
                </a:cxn>
                <a:cxn ang="0">
                  <a:pos x="76" y="522"/>
                </a:cxn>
                <a:cxn ang="0">
                  <a:pos x="55" y="531"/>
                </a:cxn>
                <a:cxn ang="0">
                  <a:pos x="51" y="474"/>
                </a:cxn>
                <a:cxn ang="0">
                  <a:pos x="42" y="434"/>
                </a:cxn>
                <a:cxn ang="0">
                  <a:pos x="70" y="417"/>
                </a:cxn>
                <a:cxn ang="0">
                  <a:pos x="75" y="363"/>
                </a:cxn>
                <a:cxn ang="0">
                  <a:pos x="85" y="339"/>
                </a:cxn>
                <a:cxn ang="0">
                  <a:pos x="124" y="311"/>
                </a:cxn>
                <a:cxn ang="0">
                  <a:pos x="99" y="296"/>
                </a:cxn>
                <a:cxn ang="0">
                  <a:pos x="48" y="308"/>
                </a:cxn>
                <a:cxn ang="0">
                  <a:pos x="0" y="281"/>
                </a:cxn>
                <a:cxn ang="0">
                  <a:pos x="18" y="263"/>
                </a:cxn>
                <a:cxn ang="0">
                  <a:pos x="25" y="222"/>
                </a:cxn>
                <a:cxn ang="0">
                  <a:pos x="70" y="236"/>
                </a:cxn>
                <a:cxn ang="0">
                  <a:pos x="58" y="206"/>
                </a:cxn>
                <a:cxn ang="0">
                  <a:pos x="24" y="144"/>
                </a:cxn>
                <a:cxn ang="0">
                  <a:pos x="67" y="75"/>
                </a:cxn>
                <a:cxn ang="0">
                  <a:pos x="123" y="29"/>
                </a:cxn>
                <a:cxn ang="0">
                  <a:pos x="195" y="8"/>
                </a:cxn>
                <a:cxn ang="0">
                  <a:pos x="250" y="110"/>
                </a:cxn>
                <a:cxn ang="0">
                  <a:pos x="322" y="120"/>
                </a:cxn>
                <a:cxn ang="0">
                  <a:pos x="325" y="179"/>
                </a:cxn>
                <a:cxn ang="0">
                  <a:pos x="366" y="170"/>
                </a:cxn>
                <a:cxn ang="0">
                  <a:pos x="447" y="0"/>
                </a:cxn>
              </a:cxnLst>
              <a:rect l="0" t="0" r="r" b="b"/>
              <a:pathLst>
                <a:path w="768" h="540">
                  <a:moveTo>
                    <a:pt x="447" y="0"/>
                  </a:moveTo>
                  <a:lnTo>
                    <a:pt x="483" y="38"/>
                  </a:lnTo>
                  <a:lnTo>
                    <a:pt x="525" y="48"/>
                  </a:lnTo>
                  <a:lnTo>
                    <a:pt x="556" y="74"/>
                  </a:lnTo>
                  <a:lnTo>
                    <a:pt x="556" y="132"/>
                  </a:lnTo>
                  <a:lnTo>
                    <a:pt x="595" y="173"/>
                  </a:lnTo>
                  <a:lnTo>
                    <a:pt x="594" y="198"/>
                  </a:lnTo>
                  <a:lnTo>
                    <a:pt x="619" y="206"/>
                  </a:lnTo>
                  <a:lnTo>
                    <a:pt x="634" y="216"/>
                  </a:lnTo>
                  <a:lnTo>
                    <a:pt x="643" y="209"/>
                  </a:lnTo>
                  <a:lnTo>
                    <a:pt x="649" y="248"/>
                  </a:lnTo>
                  <a:lnTo>
                    <a:pt x="639" y="276"/>
                  </a:lnTo>
                  <a:lnTo>
                    <a:pt x="628" y="320"/>
                  </a:lnTo>
                  <a:lnTo>
                    <a:pt x="648" y="351"/>
                  </a:lnTo>
                  <a:lnTo>
                    <a:pt x="685" y="341"/>
                  </a:lnTo>
                  <a:lnTo>
                    <a:pt x="700" y="315"/>
                  </a:lnTo>
                  <a:lnTo>
                    <a:pt x="715" y="321"/>
                  </a:lnTo>
                  <a:lnTo>
                    <a:pt x="714" y="398"/>
                  </a:lnTo>
                  <a:lnTo>
                    <a:pt x="753" y="461"/>
                  </a:lnTo>
                  <a:lnTo>
                    <a:pt x="768" y="470"/>
                  </a:lnTo>
                  <a:lnTo>
                    <a:pt x="768" y="519"/>
                  </a:lnTo>
                  <a:lnTo>
                    <a:pt x="711" y="494"/>
                  </a:lnTo>
                  <a:lnTo>
                    <a:pt x="669" y="477"/>
                  </a:lnTo>
                  <a:lnTo>
                    <a:pt x="622" y="468"/>
                  </a:lnTo>
                  <a:lnTo>
                    <a:pt x="612" y="459"/>
                  </a:lnTo>
                  <a:lnTo>
                    <a:pt x="570" y="489"/>
                  </a:lnTo>
                  <a:lnTo>
                    <a:pt x="541" y="483"/>
                  </a:lnTo>
                  <a:lnTo>
                    <a:pt x="498" y="506"/>
                  </a:lnTo>
                  <a:lnTo>
                    <a:pt x="462" y="497"/>
                  </a:lnTo>
                  <a:lnTo>
                    <a:pt x="447" y="491"/>
                  </a:lnTo>
                  <a:lnTo>
                    <a:pt x="433" y="491"/>
                  </a:lnTo>
                  <a:lnTo>
                    <a:pt x="415" y="471"/>
                  </a:lnTo>
                  <a:lnTo>
                    <a:pt x="381" y="497"/>
                  </a:lnTo>
                  <a:lnTo>
                    <a:pt x="348" y="494"/>
                  </a:lnTo>
                  <a:lnTo>
                    <a:pt x="315" y="453"/>
                  </a:lnTo>
                  <a:lnTo>
                    <a:pt x="277" y="441"/>
                  </a:lnTo>
                  <a:lnTo>
                    <a:pt x="243" y="461"/>
                  </a:lnTo>
                  <a:lnTo>
                    <a:pt x="210" y="482"/>
                  </a:lnTo>
                  <a:lnTo>
                    <a:pt x="190" y="480"/>
                  </a:lnTo>
                  <a:lnTo>
                    <a:pt x="127" y="498"/>
                  </a:lnTo>
                  <a:lnTo>
                    <a:pt x="117" y="521"/>
                  </a:lnTo>
                  <a:lnTo>
                    <a:pt x="76" y="522"/>
                  </a:lnTo>
                  <a:lnTo>
                    <a:pt x="73" y="540"/>
                  </a:lnTo>
                  <a:lnTo>
                    <a:pt x="55" y="531"/>
                  </a:lnTo>
                  <a:lnTo>
                    <a:pt x="45" y="519"/>
                  </a:lnTo>
                  <a:lnTo>
                    <a:pt x="51" y="474"/>
                  </a:lnTo>
                  <a:lnTo>
                    <a:pt x="21" y="450"/>
                  </a:lnTo>
                  <a:lnTo>
                    <a:pt x="42" y="434"/>
                  </a:lnTo>
                  <a:lnTo>
                    <a:pt x="52" y="426"/>
                  </a:lnTo>
                  <a:lnTo>
                    <a:pt x="70" y="417"/>
                  </a:lnTo>
                  <a:lnTo>
                    <a:pt x="79" y="393"/>
                  </a:lnTo>
                  <a:lnTo>
                    <a:pt x="75" y="363"/>
                  </a:lnTo>
                  <a:lnTo>
                    <a:pt x="61" y="338"/>
                  </a:lnTo>
                  <a:lnTo>
                    <a:pt x="85" y="339"/>
                  </a:lnTo>
                  <a:lnTo>
                    <a:pt x="96" y="320"/>
                  </a:lnTo>
                  <a:lnTo>
                    <a:pt x="124" y="311"/>
                  </a:lnTo>
                  <a:lnTo>
                    <a:pt x="126" y="297"/>
                  </a:lnTo>
                  <a:lnTo>
                    <a:pt x="99" y="296"/>
                  </a:lnTo>
                  <a:lnTo>
                    <a:pt x="87" y="306"/>
                  </a:lnTo>
                  <a:lnTo>
                    <a:pt x="48" y="308"/>
                  </a:lnTo>
                  <a:lnTo>
                    <a:pt x="27" y="279"/>
                  </a:lnTo>
                  <a:lnTo>
                    <a:pt x="0" y="281"/>
                  </a:lnTo>
                  <a:lnTo>
                    <a:pt x="3" y="267"/>
                  </a:lnTo>
                  <a:lnTo>
                    <a:pt x="18" y="263"/>
                  </a:lnTo>
                  <a:lnTo>
                    <a:pt x="16" y="230"/>
                  </a:lnTo>
                  <a:lnTo>
                    <a:pt x="25" y="222"/>
                  </a:lnTo>
                  <a:lnTo>
                    <a:pt x="43" y="240"/>
                  </a:lnTo>
                  <a:lnTo>
                    <a:pt x="70" y="236"/>
                  </a:lnTo>
                  <a:lnTo>
                    <a:pt x="69" y="215"/>
                  </a:lnTo>
                  <a:lnTo>
                    <a:pt x="58" y="206"/>
                  </a:lnTo>
                  <a:lnTo>
                    <a:pt x="52" y="176"/>
                  </a:lnTo>
                  <a:lnTo>
                    <a:pt x="24" y="144"/>
                  </a:lnTo>
                  <a:lnTo>
                    <a:pt x="25" y="101"/>
                  </a:lnTo>
                  <a:lnTo>
                    <a:pt x="67" y="75"/>
                  </a:lnTo>
                  <a:lnTo>
                    <a:pt x="100" y="66"/>
                  </a:lnTo>
                  <a:lnTo>
                    <a:pt x="123" y="29"/>
                  </a:lnTo>
                  <a:lnTo>
                    <a:pt x="160" y="24"/>
                  </a:lnTo>
                  <a:lnTo>
                    <a:pt x="195" y="8"/>
                  </a:lnTo>
                  <a:lnTo>
                    <a:pt x="228" y="60"/>
                  </a:lnTo>
                  <a:lnTo>
                    <a:pt x="250" y="110"/>
                  </a:lnTo>
                  <a:lnTo>
                    <a:pt x="288" y="117"/>
                  </a:lnTo>
                  <a:lnTo>
                    <a:pt x="322" y="120"/>
                  </a:lnTo>
                  <a:lnTo>
                    <a:pt x="340" y="149"/>
                  </a:lnTo>
                  <a:lnTo>
                    <a:pt x="325" y="179"/>
                  </a:lnTo>
                  <a:lnTo>
                    <a:pt x="342" y="188"/>
                  </a:lnTo>
                  <a:lnTo>
                    <a:pt x="366" y="170"/>
                  </a:lnTo>
                  <a:lnTo>
                    <a:pt x="376" y="159"/>
                  </a:lnTo>
                  <a:lnTo>
                    <a:pt x="447" y="0"/>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28" name="Freeform 21">
              <a:extLst>
                <a:ext uri="{FF2B5EF4-FFF2-40B4-BE49-F238E27FC236}">
                  <a16:creationId xmlns:a16="http://schemas.microsoft.com/office/drawing/2014/main" id="{0920D22F-068B-49D3-8BC4-4F09E1AFF6BC}"/>
                </a:ext>
              </a:extLst>
            </p:cNvPr>
            <p:cNvSpPr>
              <a:spLocks/>
            </p:cNvSpPr>
            <p:nvPr/>
          </p:nvSpPr>
          <p:spPr bwMode="auto">
            <a:xfrm>
              <a:off x="5786405" y="1081767"/>
              <a:ext cx="1197966" cy="1252028"/>
            </a:xfrm>
            <a:custGeom>
              <a:avLst/>
              <a:gdLst/>
              <a:ahLst/>
              <a:cxnLst>
                <a:cxn ang="0">
                  <a:pos x="845" y="857"/>
                </a:cxn>
                <a:cxn ang="0">
                  <a:pos x="814" y="842"/>
                </a:cxn>
                <a:cxn ang="0">
                  <a:pos x="762" y="855"/>
                </a:cxn>
                <a:cxn ang="0">
                  <a:pos x="729" y="830"/>
                </a:cxn>
                <a:cxn ang="0">
                  <a:pos x="594" y="850"/>
                </a:cxn>
                <a:cxn ang="0">
                  <a:pos x="525" y="830"/>
                </a:cxn>
                <a:cxn ang="0">
                  <a:pos x="389" y="822"/>
                </a:cxn>
                <a:cxn ang="0">
                  <a:pos x="369" y="902"/>
                </a:cxn>
                <a:cxn ang="0">
                  <a:pos x="329" y="880"/>
                </a:cxn>
                <a:cxn ang="0">
                  <a:pos x="294" y="882"/>
                </a:cxn>
                <a:cxn ang="0">
                  <a:pos x="255" y="900"/>
                </a:cxn>
                <a:cxn ang="0">
                  <a:pos x="225" y="850"/>
                </a:cxn>
                <a:cxn ang="0">
                  <a:pos x="150" y="822"/>
                </a:cxn>
                <a:cxn ang="0">
                  <a:pos x="105" y="800"/>
                </a:cxn>
                <a:cxn ang="0">
                  <a:pos x="35" y="757"/>
                </a:cxn>
                <a:cxn ang="0">
                  <a:pos x="29" y="708"/>
                </a:cxn>
                <a:cxn ang="0">
                  <a:pos x="35" y="693"/>
                </a:cxn>
                <a:cxn ang="0">
                  <a:pos x="84" y="627"/>
                </a:cxn>
                <a:cxn ang="0">
                  <a:pos x="47" y="585"/>
                </a:cxn>
                <a:cxn ang="0">
                  <a:pos x="0" y="534"/>
                </a:cxn>
                <a:cxn ang="0">
                  <a:pos x="119" y="407"/>
                </a:cxn>
                <a:cxn ang="0">
                  <a:pos x="205" y="443"/>
                </a:cxn>
                <a:cxn ang="0">
                  <a:pos x="272" y="357"/>
                </a:cxn>
                <a:cxn ang="0">
                  <a:pos x="220" y="283"/>
                </a:cxn>
                <a:cxn ang="0">
                  <a:pos x="182" y="198"/>
                </a:cxn>
                <a:cxn ang="0">
                  <a:pos x="165" y="158"/>
                </a:cxn>
                <a:cxn ang="0">
                  <a:pos x="207" y="158"/>
                </a:cxn>
                <a:cxn ang="0">
                  <a:pos x="229" y="68"/>
                </a:cxn>
                <a:cxn ang="0">
                  <a:pos x="295" y="0"/>
                </a:cxn>
                <a:cxn ang="0">
                  <a:pos x="350" y="20"/>
                </a:cxn>
                <a:cxn ang="0">
                  <a:pos x="400" y="57"/>
                </a:cxn>
                <a:cxn ang="0">
                  <a:pos x="452" y="92"/>
                </a:cxn>
                <a:cxn ang="0">
                  <a:pos x="485" y="132"/>
                </a:cxn>
                <a:cxn ang="0">
                  <a:pos x="545" y="143"/>
                </a:cxn>
                <a:cxn ang="0">
                  <a:pos x="579" y="129"/>
                </a:cxn>
                <a:cxn ang="0">
                  <a:pos x="767" y="335"/>
                </a:cxn>
                <a:cxn ang="0">
                  <a:pos x="832" y="412"/>
                </a:cxn>
                <a:cxn ang="0">
                  <a:pos x="844" y="457"/>
                </a:cxn>
                <a:cxn ang="0">
                  <a:pos x="840" y="483"/>
                </a:cxn>
                <a:cxn ang="0">
                  <a:pos x="877" y="503"/>
                </a:cxn>
                <a:cxn ang="0">
                  <a:pos x="875" y="590"/>
                </a:cxn>
                <a:cxn ang="0">
                  <a:pos x="860" y="758"/>
                </a:cxn>
              </a:cxnLst>
              <a:rect l="0" t="0" r="r" b="b"/>
              <a:pathLst>
                <a:path w="880" h="902">
                  <a:moveTo>
                    <a:pt x="862" y="837"/>
                  </a:moveTo>
                  <a:lnTo>
                    <a:pt x="845" y="857"/>
                  </a:lnTo>
                  <a:lnTo>
                    <a:pt x="820" y="853"/>
                  </a:lnTo>
                  <a:lnTo>
                    <a:pt x="814" y="842"/>
                  </a:lnTo>
                  <a:lnTo>
                    <a:pt x="772" y="845"/>
                  </a:lnTo>
                  <a:lnTo>
                    <a:pt x="762" y="855"/>
                  </a:lnTo>
                  <a:lnTo>
                    <a:pt x="742" y="853"/>
                  </a:lnTo>
                  <a:lnTo>
                    <a:pt x="729" y="830"/>
                  </a:lnTo>
                  <a:lnTo>
                    <a:pt x="605" y="835"/>
                  </a:lnTo>
                  <a:lnTo>
                    <a:pt x="594" y="850"/>
                  </a:lnTo>
                  <a:lnTo>
                    <a:pt x="560" y="842"/>
                  </a:lnTo>
                  <a:lnTo>
                    <a:pt x="525" y="830"/>
                  </a:lnTo>
                  <a:lnTo>
                    <a:pt x="505" y="820"/>
                  </a:lnTo>
                  <a:lnTo>
                    <a:pt x="389" y="822"/>
                  </a:lnTo>
                  <a:lnTo>
                    <a:pt x="369" y="842"/>
                  </a:lnTo>
                  <a:lnTo>
                    <a:pt x="369" y="902"/>
                  </a:lnTo>
                  <a:lnTo>
                    <a:pt x="344" y="897"/>
                  </a:lnTo>
                  <a:lnTo>
                    <a:pt x="329" y="880"/>
                  </a:lnTo>
                  <a:lnTo>
                    <a:pt x="315" y="898"/>
                  </a:lnTo>
                  <a:lnTo>
                    <a:pt x="294" y="882"/>
                  </a:lnTo>
                  <a:lnTo>
                    <a:pt x="279" y="898"/>
                  </a:lnTo>
                  <a:lnTo>
                    <a:pt x="255" y="900"/>
                  </a:lnTo>
                  <a:lnTo>
                    <a:pt x="247" y="875"/>
                  </a:lnTo>
                  <a:lnTo>
                    <a:pt x="225" y="850"/>
                  </a:lnTo>
                  <a:lnTo>
                    <a:pt x="212" y="822"/>
                  </a:lnTo>
                  <a:lnTo>
                    <a:pt x="150" y="822"/>
                  </a:lnTo>
                  <a:lnTo>
                    <a:pt x="132" y="812"/>
                  </a:lnTo>
                  <a:lnTo>
                    <a:pt x="105" y="800"/>
                  </a:lnTo>
                  <a:lnTo>
                    <a:pt x="62" y="802"/>
                  </a:lnTo>
                  <a:lnTo>
                    <a:pt x="35" y="757"/>
                  </a:lnTo>
                  <a:lnTo>
                    <a:pt x="27" y="730"/>
                  </a:lnTo>
                  <a:lnTo>
                    <a:pt x="29" y="708"/>
                  </a:lnTo>
                  <a:lnTo>
                    <a:pt x="19" y="698"/>
                  </a:lnTo>
                  <a:lnTo>
                    <a:pt x="35" y="693"/>
                  </a:lnTo>
                  <a:lnTo>
                    <a:pt x="79" y="653"/>
                  </a:lnTo>
                  <a:lnTo>
                    <a:pt x="84" y="627"/>
                  </a:lnTo>
                  <a:lnTo>
                    <a:pt x="64" y="603"/>
                  </a:lnTo>
                  <a:lnTo>
                    <a:pt x="47" y="585"/>
                  </a:lnTo>
                  <a:lnTo>
                    <a:pt x="19" y="547"/>
                  </a:lnTo>
                  <a:lnTo>
                    <a:pt x="0" y="534"/>
                  </a:lnTo>
                  <a:lnTo>
                    <a:pt x="114" y="432"/>
                  </a:lnTo>
                  <a:lnTo>
                    <a:pt x="119" y="407"/>
                  </a:lnTo>
                  <a:lnTo>
                    <a:pt x="162" y="415"/>
                  </a:lnTo>
                  <a:lnTo>
                    <a:pt x="205" y="443"/>
                  </a:lnTo>
                  <a:lnTo>
                    <a:pt x="250" y="408"/>
                  </a:lnTo>
                  <a:lnTo>
                    <a:pt x="272" y="357"/>
                  </a:lnTo>
                  <a:lnTo>
                    <a:pt x="235" y="307"/>
                  </a:lnTo>
                  <a:lnTo>
                    <a:pt x="220" y="283"/>
                  </a:lnTo>
                  <a:lnTo>
                    <a:pt x="220" y="225"/>
                  </a:lnTo>
                  <a:lnTo>
                    <a:pt x="182" y="198"/>
                  </a:lnTo>
                  <a:lnTo>
                    <a:pt x="159" y="192"/>
                  </a:lnTo>
                  <a:lnTo>
                    <a:pt x="165" y="158"/>
                  </a:lnTo>
                  <a:lnTo>
                    <a:pt x="195" y="163"/>
                  </a:lnTo>
                  <a:lnTo>
                    <a:pt x="207" y="158"/>
                  </a:lnTo>
                  <a:lnTo>
                    <a:pt x="210" y="125"/>
                  </a:lnTo>
                  <a:lnTo>
                    <a:pt x="229" y="68"/>
                  </a:lnTo>
                  <a:lnTo>
                    <a:pt x="252" y="33"/>
                  </a:lnTo>
                  <a:lnTo>
                    <a:pt x="295" y="0"/>
                  </a:lnTo>
                  <a:lnTo>
                    <a:pt x="344" y="8"/>
                  </a:lnTo>
                  <a:lnTo>
                    <a:pt x="350" y="20"/>
                  </a:lnTo>
                  <a:lnTo>
                    <a:pt x="384" y="18"/>
                  </a:lnTo>
                  <a:lnTo>
                    <a:pt x="400" y="57"/>
                  </a:lnTo>
                  <a:lnTo>
                    <a:pt x="424" y="77"/>
                  </a:lnTo>
                  <a:lnTo>
                    <a:pt x="452" y="92"/>
                  </a:lnTo>
                  <a:lnTo>
                    <a:pt x="464" y="127"/>
                  </a:lnTo>
                  <a:lnTo>
                    <a:pt x="485" y="132"/>
                  </a:lnTo>
                  <a:lnTo>
                    <a:pt x="514" y="130"/>
                  </a:lnTo>
                  <a:lnTo>
                    <a:pt x="545" y="143"/>
                  </a:lnTo>
                  <a:lnTo>
                    <a:pt x="554" y="127"/>
                  </a:lnTo>
                  <a:lnTo>
                    <a:pt x="579" y="129"/>
                  </a:lnTo>
                  <a:lnTo>
                    <a:pt x="763" y="318"/>
                  </a:lnTo>
                  <a:lnTo>
                    <a:pt x="767" y="335"/>
                  </a:lnTo>
                  <a:lnTo>
                    <a:pt x="829" y="397"/>
                  </a:lnTo>
                  <a:lnTo>
                    <a:pt x="832" y="412"/>
                  </a:lnTo>
                  <a:lnTo>
                    <a:pt x="845" y="428"/>
                  </a:lnTo>
                  <a:lnTo>
                    <a:pt x="844" y="457"/>
                  </a:lnTo>
                  <a:lnTo>
                    <a:pt x="832" y="467"/>
                  </a:lnTo>
                  <a:lnTo>
                    <a:pt x="840" y="483"/>
                  </a:lnTo>
                  <a:lnTo>
                    <a:pt x="864" y="492"/>
                  </a:lnTo>
                  <a:lnTo>
                    <a:pt x="877" y="503"/>
                  </a:lnTo>
                  <a:lnTo>
                    <a:pt x="880" y="555"/>
                  </a:lnTo>
                  <a:lnTo>
                    <a:pt x="875" y="590"/>
                  </a:lnTo>
                  <a:lnTo>
                    <a:pt x="872" y="753"/>
                  </a:lnTo>
                  <a:lnTo>
                    <a:pt x="860" y="758"/>
                  </a:lnTo>
                  <a:lnTo>
                    <a:pt x="862" y="837"/>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29" name="Freeform 33">
              <a:extLst>
                <a:ext uri="{FF2B5EF4-FFF2-40B4-BE49-F238E27FC236}">
                  <a16:creationId xmlns:a16="http://schemas.microsoft.com/office/drawing/2014/main" id="{5CBF962C-9899-46A5-A9A7-A975F84C67C3}"/>
                </a:ext>
              </a:extLst>
            </p:cNvPr>
            <p:cNvSpPr>
              <a:spLocks/>
            </p:cNvSpPr>
            <p:nvPr/>
          </p:nvSpPr>
          <p:spPr bwMode="auto">
            <a:xfrm>
              <a:off x="3526091" y="3828610"/>
              <a:ext cx="375213" cy="195183"/>
            </a:xfrm>
            <a:custGeom>
              <a:avLst/>
              <a:gdLst/>
              <a:ahLst/>
              <a:cxnLst>
                <a:cxn ang="0">
                  <a:pos x="0" y="69"/>
                </a:cxn>
                <a:cxn ang="0">
                  <a:pos x="44" y="70"/>
                </a:cxn>
                <a:cxn ang="0">
                  <a:pos x="47" y="89"/>
                </a:cxn>
                <a:cxn ang="0">
                  <a:pos x="67" y="104"/>
                </a:cxn>
                <a:cxn ang="0">
                  <a:pos x="115" y="100"/>
                </a:cxn>
                <a:cxn ang="0">
                  <a:pos x="155" y="119"/>
                </a:cxn>
                <a:cxn ang="0">
                  <a:pos x="244" y="122"/>
                </a:cxn>
                <a:cxn ang="0">
                  <a:pos x="277" y="142"/>
                </a:cxn>
                <a:cxn ang="0">
                  <a:pos x="274" y="102"/>
                </a:cxn>
                <a:cxn ang="0">
                  <a:pos x="262" y="85"/>
                </a:cxn>
                <a:cxn ang="0">
                  <a:pos x="234" y="54"/>
                </a:cxn>
                <a:cxn ang="0">
                  <a:pos x="227" y="40"/>
                </a:cxn>
                <a:cxn ang="0">
                  <a:pos x="185" y="0"/>
                </a:cxn>
                <a:cxn ang="0">
                  <a:pos x="172" y="0"/>
                </a:cxn>
                <a:cxn ang="0">
                  <a:pos x="167" y="9"/>
                </a:cxn>
                <a:cxn ang="0">
                  <a:pos x="147" y="15"/>
                </a:cxn>
                <a:cxn ang="0">
                  <a:pos x="139" y="22"/>
                </a:cxn>
                <a:cxn ang="0">
                  <a:pos x="100" y="27"/>
                </a:cxn>
                <a:cxn ang="0">
                  <a:pos x="82" y="47"/>
                </a:cxn>
                <a:cxn ang="0">
                  <a:pos x="37" y="44"/>
                </a:cxn>
                <a:cxn ang="0">
                  <a:pos x="27" y="54"/>
                </a:cxn>
                <a:cxn ang="0">
                  <a:pos x="15" y="52"/>
                </a:cxn>
                <a:cxn ang="0">
                  <a:pos x="7" y="60"/>
                </a:cxn>
                <a:cxn ang="0">
                  <a:pos x="0" y="69"/>
                </a:cxn>
              </a:cxnLst>
              <a:rect l="0" t="0" r="r" b="b"/>
              <a:pathLst>
                <a:path w="277" h="142">
                  <a:moveTo>
                    <a:pt x="0" y="69"/>
                  </a:moveTo>
                  <a:lnTo>
                    <a:pt x="44" y="70"/>
                  </a:lnTo>
                  <a:lnTo>
                    <a:pt x="47" y="89"/>
                  </a:lnTo>
                  <a:lnTo>
                    <a:pt x="67" y="104"/>
                  </a:lnTo>
                  <a:lnTo>
                    <a:pt x="115" y="100"/>
                  </a:lnTo>
                  <a:lnTo>
                    <a:pt x="155" y="119"/>
                  </a:lnTo>
                  <a:lnTo>
                    <a:pt x="244" y="122"/>
                  </a:lnTo>
                  <a:lnTo>
                    <a:pt x="277" y="142"/>
                  </a:lnTo>
                  <a:lnTo>
                    <a:pt x="274" y="102"/>
                  </a:lnTo>
                  <a:lnTo>
                    <a:pt x="262" y="85"/>
                  </a:lnTo>
                  <a:lnTo>
                    <a:pt x="234" y="54"/>
                  </a:lnTo>
                  <a:lnTo>
                    <a:pt x="227" y="40"/>
                  </a:lnTo>
                  <a:lnTo>
                    <a:pt x="185" y="0"/>
                  </a:lnTo>
                  <a:lnTo>
                    <a:pt x="172" y="0"/>
                  </a:lnTo>
                  <a:lnTo>
                    <a:pt x="167" y="9"/>
                  </a:lnTo>
                  <a:lnTo>
                    <a:pt x="147" y="15"/>
                  </a:lnTo>
                  <a:lnTo>
                    <a:pt x="139" y="22"/>
                  </a:lnTo>
                  <a:lnTo>
                    <a:pt x="100" y="27"/>
                  </a:lnTo>
                  <a:lnTo>
                    <a:pt x="82" y="47"/>
                  </a:lnTo>
                  <a:lnTo>
                    <a:pt x="37" y="44"/>
                  </a:lnTo>
                  <a:lnTo>
                    <a:pt x="27" y="54"/>
                  </a:lnTo>
                  <a:lnTo>
                    <a:pt x="15" y="52"/>
                  </a:lnTo>
                  <a:lnTo>
                    <a:pt x="7" y="60"/>
                  </a:lnTo>
                  <a:lnTo>
                    <a:pt x="0" y="69"/>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30" name="Freeform 24">
              <a:extLst>
                <a:ext uri="{FF2B5EF4-FFF2-40B4-BE49-F238E27FC236}">
                  <a16:creationId xmlns:a16="http://schemas.microsoft.com/office/drawing/2014/main" id="{7C875E07-E67A-454E-B973-FE09E669D4E8}"/>
                </a:ext>
              </a:extLst>
            </p:cNvPr>
            <p:cNvSpPr>
              <a:spLocks/>
            </p:cNvSpPr>
            <p:nvPr/>
          </p:nvSpPr>
          <p:spPr bwMode="auto">
            <a:xfrm>
              <a:off x="2728198" y="4211834"/>
              <a:ext cx="524394" cy="254691"/>
            </a:xfrm>
            <a:custGeom>
              <a:avLst/>
              <a:gdLst/>
              <a:ahLst/>
              <a:cxnLst>
                <a:cxn ang="0">
                  <a:pos x="245" y="14"/>
                </a:cxn>
                <a:cxn ang="0">
                  <a:pos x="184" y="9"/>
                </a:cxn>
                <a:cxn ang="0">
                  <a:pos x="159" y="0"/>
                </a:cxn>
                <a:cxn ang="0">
                  <a:pos x="74" y="2"/>
                </a:cxn>
                <a:cxn ang="0">
                  <a:pos x="45" y="15"/>
                </a:cxn>
                <a:cxn ang="0">
                  <a:pos x="20" y="25"/>
                </a:cxn>
                <a:cxn ang="0">
                  <a:pos x="0" y="34"/>
                </a:cxn>
                <a:cxn ang="0">
                  <a:pos x="0" y="50"/>
                </a:cxn>
                <a:cxn ang="0">
                  <a:pos x="5" y="72"/>
                </a:cxn>
                <a:cxn ang="0">
                  <a:pos x="29" y="79"/>
                </a:cxn>
                <a:cxn ang="0">
                  <a:pos x="45" y="89"/>
                </a:cxn>
                <a:cxn ang="0">
                  <a:pos x="64" y="74"/>
                </a:cxn>
                <a:cxn ang="0">
                  <a:pos x="160" y="75"/>
                </a:cxn>
                <a:cxn ang="0">
                  <a:pos x="170" y="89"/>
                </a:cxn>
                <a:cxn ang="0">
                  <a:pos x="185" y="92"/>
                </a:cxn>
                <a:cxn ang="0">
                  <a:pos x="187" y="117"/>
                </a:cxn>
                <a:cxn ang="0">
                  <a:pos x="204" y="134"/>
                </a:cxn>
                <a:cxn ang="0">
                  <a:pos x="200" y="145"/>
                </a:cxn>
                <a:cxn ang="0">
                  <a:pos x="242" y="147"/>
                </a:cxn>
                <a:cxn ang="0">
                  <a:pos x="264" y="162"/>
                </a:cxn>
                <a:cxn ang="0">
                  <a:pos x="282" y="185"/>
                </a:cxn>
                <a:cxn ang="0">
                  <a:pos x="300" y="175"/>
                </a:cxn>
                <a:cxn ang="0">
                  <a:pos x="304" y="157"/>
                </a:cxn>
                <a:cxn ang="0">
                  <a:pos x="355" y="159"/>
                </a:cxn>
                <a:cxn ang="0">
                  <a:pos x="374" y="140"/>
                </a:cxn>
                <a:cxn ang="0">
                  <a:pos x="374" y="127"/>
                </a:cxn>
                <a:cxn ang="0">
                  <a:pos x="385" y="124"/>
                </a:cxn>
                <a:cxn ang="0">
                  <a:pos x="365" y="107"/>
                </a:cxn>
                <a:cxn ang="0">
                  <a:pos x="362" y="87"/>
                </a:cxn>
                <a:cxn ang="0">
                  <a:pos x="310" y="87"/>
                </a:cxn>
                <a:cxn ang="0">
                  <a:pos x="304" y="62"/>
                </a:cxn>
                <a:cxn ang="0">
                  <a:pos x="277" y="44"/>
                </a:cxn>
                <a:cxn ang="0">
                  <a:pos x="260" y="44"/>
                </a:cxn>
                <a:cxn ang="0">
                  <a:pos x="260" y="24"/>
                </a:cxn>
                <a:cxn ang="0">
                  <a:pos x="245" y="14"/>
                </a:cxn>
              </a:cxnLst>
              <a:rect l="0" t="0" r="r" b="b"/>
              <a:pathLst>
                <a:path w="385" h="185">
                  <a:moveTo>
                    <a:pt x="245" y="14"/>
                  </a:moveTo>
                  <a:lnTo>
                    <a:pt x="184" y="9"/>
                  </a:lnTo>
                  <a:lnTo>
                    <a:pt x="159" y="0"/>
                  </a:lnTo>
                  <a:lnTo>
                    <a:pt x="74" y="2"/>
                  </a:lnTo>
                  <a:lnTo>
                    <a:pt x="45" y="15"/>
                  </a:lnTo>
                  <a:lnTo>
                    <a:pt x="20" y="25"/>
                  </a:lnTo>
                  <a:lnTo>
                    <a:pt x="0" y="34"/>
                  </a:lnTo>
                  <a:lnTo>
                    <a:pt x="0" y="50"/>
                  </a:lnTo>
                  <a:lnTo>
                    <a:pt x="5" y="72"/>
                  </a:lnTo>
                  <a:lnTo>
                    <a:pt x="29" y="79"/>
                  </a:lnTo>
                  <a:lnTo>
                    <a:pt x="45" y="89"/>
                  </a:lnTo>
                  <a:lnTo>
                    <a:pt x="64" y="74"/>
                  </a:lnTo>
                  <a:lnTo>
                    <a:pt x="160" y="75"/>
                  </a:lnTo>
                  <a:lnTo>
                    <a:pt x="170" y="89"/>
                  </a:lnTo>
                  <a:lnTo>
                    <a:pt x="185" y="92"/>
                  </a:lnTo>
                  <a:lnTo>
                    <a:pt x="187" y="117"/>
                  </a:lnTo>
                  <a:lnTo>
                    <a:pt x="204" y="134"/>
                  </a:lnTo>
                  <a:lnTo>
                    <a:pt x="200" y="145"/>
                  </a:lnTo>
                  <a:lnTo>
                    <a:pt x="242" y="147"/>
                  </a:lnTo>
                  <a:lnTo>
                    <a:pt x="264" y="162"/>
                  </a:lnTo>
                  <a:lnTo>
                    <a:pt x="282" y="185"/>
                  </a:lnTo>
                  <a:lnTo>
                    <a:pt x="300" y="175"/>
                  </a:lnTo>
                  <a:lnTo>
                    <a:pt x="304" y="157"/>
                  </a:lnTo>
                  <a:lnTo>
                    <a:pt x="355" y="159"/>
                  </a:lnTo>
                  <a:lnTo>
                    <a:pt x="374" y="140"/>
                  </a:lnTo>
                  <a:lnTo>
                    <a:pt x="374" y="127"/>
                  </a:lnTo>
                  <a:lnTo>
                    <a:pt x="385" y="124"/>
                  </a:lnTo>
                  <a:lnTo>
                    <a:pt x="365" y="107"/>
                  </a:lnTo>
                  <a:lnTo>
                    <a:pt x="362" y="87"/>
                  </a:lnTo>
                  <a:lnTo>
                    <a:pt x="310" y="87"/>
                  </a:lnTo>
                  <a:lnTo>
                    <a:pt x="304" y="62"/>
                  </a:lnTo>
                  <a:lnTo>
                    <a:pt x="277" y="44"/>
                  </a:lnTo>
                  <a:lnTo>
                    <a:pt x="260" y="44"/>
                  </a:lnTo>
                  <a:lnTo>
                    <a:pt x="260" y="24"/>
                  </a:lnTo>
                  <a:lnTo>
                    <a:pt x="245" y="14"/>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31" name="Freeform 17">
              <a:extLst>
                <a:ext uri="{FF2B5EF4-FFF2-40B4-BE49-F238E27FC236}">
                  <a16:creationId xmlns:a16="http://schemas.microsoft.com/office/drawing/2014/main" id="{67055AB7-3410-4EA7-A390-0640D5E9C22B}"/>
                </a:ext>
              </a:extLst>
            </p:cNvPr>
            <p:cNvSpPr>
              <a:spLocks/>
            </p:cNvSpPr>
            <p:nvPr/>
          </p:nvSpPr>
          <p:spPr bwMode="auto">
            <a:xfrm>
              <a:off x="5167078" y="4121384"/>
              <a:ext cx="793371" cy="2170816"/>
            </a:xfrm>
            <a:custGeom>
              <a:avLst/>
              <a:gdLst/>
              <a:ahLst/>
              <a:cxnLst>
                <a:cxn ang="0">
                  <a:pos x="345" y="48"/>
                </a:cxn>
                <a:cxn ang="0">
                  <a:pos x="261" y="0"/>
                </a:cxn>
                <a:cxn ang="0">
                  <a:pos x="279" y="69"/>
                </a:cxn>
                <a:cxn ang="0">
                  <a:pos x="342" y="105"/>
                </a:cxn>
                <a:cxn ang="0">
                  <a:pos x="393" y="219"/>
                </a:cxn>
                <a:cxn ang="0">
                  <a:pos x="402" y="336"/>
                </a:cxn>
                <a:cxn ang="0">
                  <a:pos x="309" y="339"/>
                </a:cxn>
                <a:cxn ang="0">
                  <a:pos x="234" y="339"/>
                </a:cxn>
                <a:cxn ang="0">
                  <a:pos x="261" y="471"/>
                </a:cxn>
                <a:cxn ang="0">
                  <a:pos x="303" y="570"/>
                </a:cxn>
                <a:cxn ang="0">
                  <a:pos x="243" y="660"/>
                </a:cxn>
                <a:cxn ang="0">
                  <a:pos x="96" y="702"/>
                </a:cxn>
                <a:cxn ang="0">
                  <a:pos x="21" y="807"/>
                </a:cxn>
                <a:cxn ang="0">
                  <a:pos x="0" y="861"/>
                </a:cxn>
                <a:cxn ang="0">
                  <a:pos x="57" y="882"/>
                </a:cxn>
                <a:cxn ang="0">
                  <a:pos x="171" y="891"/>
                </a:cxn>
                <a:cxn ang="0">
                  <a:pos x="204" y="927"/>
                </a:cxn>
                <a:cxn ang="0">
                  <a:pos x="240" y="975"/>
                </a:cxn>
                <a:cxn ang="0">
                  <a:pos x="225" y="1041"/>
                </a:cxn>
                <a:cxn ang="0">
                  <a:pos x="210" y="1101"/>
                </a:cxn>
                <a:cxn ang="0">
                  <a:pos x="165" y="1137"/>
                </a:cxn>
                <a:cxn ang="0">
                  <a:pos x="138" y="1230"/>
                </a:cxn>
                <a:cxn ang="0">
                  <a:pos x="159" y="1266"/>
                </a:cxn>
                <a:cxn ang="0">
                  <a:pos x="51" y="1398"/>
                </a:cxn>
                <a:cxn ang="0">
                  <a:pos x="105" y="1473"/>
                </a:cxn>
                <a:cxn ang="0">
                  <a:pos x="132" y="1545"/>
                </a:cxn>
                <a:cxn ang="0">
                  <a:pos x="192" y="1530"/>
                </a:cxn>
                <a:cxn ang="0">
                  <a:pos x="258" y="1542"/>
                </a:cxn>
                <a:cxn ang="0">
                  <a:pos x="297" y="1557"/>
                </a:cxn>
                <a:cxn ang="0">
                  <a:pos x="372" y="1545"/>
                </a:cxn>
                <a:cxn ang="0">
                  <a:pos x="408" y="1533"/>
                </a:cxn>
                <a:cxn ang="0">
                  <a:pos x="360" y="1467"/>
                </a:cxn>
                <a:cxn ang="0">
                  <a:pos x="399" y="1401"/>
                </a:cxn>
                <a:cxn ang="0">
                  <a:pos x="465" y="1386"/>
                </a:cxn>
                <a:cxn ang="0">
                  <a:pos x="444" y="1335"/>
                </a:cxn>
                <a:cxn ang="0">
                  <a:pos x="435" y="1299"/>
                </a:cxn>
                <a:cxn ang="0">
                  <a:pos x="393" y="1233"/>
                </a:cxn>
                <a:cxn ang="0">
                  <a:pos x="354" y="1215"/>
                </a:cxn>
                <a:cxn ang="0">
                  <a:pos x="309" y="1230"/>
                </a:cxn>
                <a:cxn ang="0">
                  <a:pos x="273" y="1182"/>
                </a:cxn>
                <a:cxn ang="0">
                  <a:pos x="243" y="1095"/>
                </a:cxn>
                <a:cxn ang="0">
                  <a:pos x="282" y="1074"/>
                </a:cxn>
                <a:cxn ang="0">
                  <a:pos x="318" y="1107"/>
                </a:cxn>
                <a:cxn ang="0">
                  <a:pos x="357" y="1092"/>
                </a:cxn>
                <a:cxn ang="0">
                  <a:pos x="402" y="1050"/>
                </a:cxn>
                <a:cxn ang="0">
                  <a:pos x="435" y="987"/>
                </a:cxn>
                <a:cxn ang="0">
                  <a:pos x="462" y="972"/>
                </a:cxn>
                <a:cxn ang="0">
                  <a:pos x="534" y="933"/>
                </a:cxn>
                <a:cxn ang="0">
                  <a:pos x="501" y="900"/>
                </a:cxn>
                <a:cxn ang="0">
                  <a:pos x="456" y="903"/>
                </a:cxn>
                <a:cxn ang="0">
                  <a:pos x="444" y="831"/>
                </a:cxn>
                <a:cxn ang="0">
                  <a:pos x="537" y="675"/>
                </a:cxn>
                <a:cxn ang="0">
                  <a:pos x="579" y="570"/>
                </a:cxn>
                <a:cxn ang="0">
                  <a:pos x="582" y="498"/>
                </a:cxn>
                <a:cxn ang="0">
                  <a:pos x="558" y="411"/>
                </a:cxn>
                <a:cxn ang="0">
                  <a:pos x="516" y="318"/>
                </a:cxn>
                <a:cxn ang="0">
                  <a:pos x="447" y="249"/>
                </a:cxn>
                <a:cxn ang="0">
                  <a:pos x="474" y="177"/>
                </a:cxn>
                <a:cxn ang="0">
                  <a:pos x="390" y="87"/>
                </a:cxn>
              </a:cxnLst>
              <a:rect l="0" t="0" r="r" b="b"/>
              <a:pathLst>
                <a:path w="582" h="1563">
                  <a:moveTo>
                    <a:pt x="390" y="87"/>
                  </a:moveTo>
                  <a:lnTo>
                    <a:pt x="345" y="48"/>
                  </a:lnTo>
                  <a:lnTo>
                    <a:pt x="294" y="42"/>
                  </a:lnTo>
                  <a:lnTo>
                    <a:pt x="261" y="0"/>
                  </a:lnTo>
                  <a:lnTo>
                    <a:pt x="240" y="15"/>
                  </a:lnTo>
                  <a:lnTo>
                    <a:pt x="279" y="69"/>
                  </a:lnTo>
                  <a:lnTo>
                    <a:pt x="303" y="84"/>
                  </a:lnTo>
                  <a:lnTo>
                    <a:pt x="342" y="105"/>
                  </a:lnTo>
                  <a:lnTo>
                    <a:pt x="339" y="156"/>
                  </a:lnTo>
                  <a:lnTo>
                    <a:pt x="393" y="219"/>
                  </a:lnTo>
                  <a:lnTo>
                    <a:pt x="420" y="315"/>
                  </a:lnTo>
                  <a:lnTo>
                    <a:pt x="402" y="336"/>
                  </a:lnTo>
                  <a:lnTo>
                    <a:pt x="375" y="318"/>
                  </a:lnTo>
                  <a:lnTo>
                    <a:pt x="309" y="339"/>
                  </a:lnTo>
                  <a:lnTo>
                    <a:pt x="258" y="342"/>
                  </a:lnTo>
                  <a:lnTo>
                    <a:pt x="234" y="339"/>
                  </a:lnTo>
                  <a:lnTo>
                    <a:pt x="240" y="411"/>
                  </a:lnTo>
                  <a:lnTo>
                    <a:pt x="261" y="471"/>
                  </a:lnTo>
                  <a:lnTo>
                    <a:pt x="267" y="513"/>
                  </a:lnTo>
                  <a:lnTo>
                    <a:pt x="303" y="570"/>
                  </a:lnTo>
                  <a:lnTo>
                    <a:pt x="309" y="600"/>
                  </a:lnTo>
                  <a:lnTo>
                    <a:pt x="243" y="660"/>
                  </a:lnTo>
                  <a:lnTo>
                    <a:pt x="180" y="681"/>
                  </a:lnTo>
                  <a:lnTo>
                    <a:pt x="96" y="702"/>
                  </a:lnTo>
                  <a:lnTo>
                    <a:pt x="54" y="744"/>
                  </a:lnTo>
                  <a:lnTo>
                    <a:pt x="21" y="807"/>
                  </a:lnTo>
                  <a:lnTo>
                    <a:pt x="21" y="846"/>
                  </a:lnTo>
                  <a:lnTo>
                    <a:pt x="0" y="861"/>
                  </a:lnTo>
                  <a:lnTo>
                    <a:pt x="39" y="879"/>
                  </a:lnTo>
                  <a:lnTo>
                    <a:pt x="57" y="882"/>
                  </a:lnTo>
                  <a:lnTo>
                    <a:pt x="75" y="897"/>
                  </a:lnTo>
                  <a:lnTo>
                    <a:pt x="171" y="891"/>
                  </a:lnTo>
                  <a:lnTo>
                    <a:pt x="180" y="936"/>
                  </a:lnTo>
                  <a:lnTo>
                    <a:pt x="204" y="927"/>
                  </a:lnTo>
                  <a:lnTo>
                    <a:pt x="225" y="933"/>
                  </a:lnTo>
                  <a:lnTo>
                    <a:pt x="240" y="975"/>
                  </a:lnTo>
                  <a:lnTo>
                    <a:pt x="225" y="1008"/>
                  </a:lnTo>
                  <a:lnTo>
                    <a:pt x="225" y="1041"/>
                  </a:lnTo>
                  <a:lnTo>
                    <a:pt x="207" y="1044"/>
                  </a:lnTo>
                  <a:lnTo>
                    <a:pt x="210" y="1101"/>
                  </a:lnTo>
                  <a:lnTo>
                    <a:pt x="168" y="1092"/>
                  </a:lnTo>
                  <a:lnTo>
                    <a:pt x="165" y="1137"/>
                  </a:lnTo>
                  <a:lnTo>
                    <a:pt x="186" y="1161"/>
                  </a:lnTo>
                  <a:lnTo>
                    <a:pt x="138" y="1230"/>
                  </a:lnTo>
                  <a:lnTo>
                    <a:pt x="135" y="1254"/>
                  </a:lnTo>
                  <a:lnTo>
                    <a:pt x="159" y="1266"/>
                  </a:lnTo>
                  <a:lnTo>
                    <a:pt x="78" y="1359"/>
                  </a:lnTo>
                  <a:lnTo>
                    <a:pt x="51" y="1398"/>
                  </a:lnTo>
                  <a:lnTo>
                    <a:pt x="72" y="1470"/>
                  </a:lnTo>
                  <a:lnTo>
                    <a:pt x="105" y="1473"/>
                  </a:lnTo>
                  <a:lnTo>
                    <a:pt x="108" y="1530"/>
                  </a:lnTo>
                  <a:lnTo>
                    <a:pt x="132" y="1545"/>
                  </a:lnTo>
                  <a:lnTo>
                    <a:pt x="156" y="1518"/>
                  </a:lnTo>
                  <a:lnTo>
                    <a:pt x="192" y="1530"/>
                  </a:lnTo>
                  <a:lnTo>
                    <a:pt x="216" y="1548"/>
                  </a:lnTo>
                  <a:lnTo>
                    <a:pt x="258" y="1542"/>
                  </a:lnTo>
                  <a:lnTo>
                    <a:pt x="279" y="1527"/>
                  </a:lnTo>
                  <a:lnTo>
                    <a:pt x="297" y="1557"/>
                  </a:lnTo>
                  <a:lnTo>
                    <a:pt x="321" y="1539"/>
                  </a:lnTo>
                  <a:lnTo>
                    <a:pt x="372" y="1545"/>
                  </a:lnTo>
                  <a:lnTo>
                    <a:pt x="393" y="1563"/>
                  </a:lnTo>
                  <a:lnTo>
                    <a:pt x="408" y="1533"/>
                  </a:lnTo>
                  <a:lnTo>
                    <a:pt x="393" y="1500"/>
                  </a:lnTo>
                  <a:lnTo>
                    <a:pt x="360" y="1467"/>
                  </a:lnTo>
                  <a:lnTo>
                    <a:pt x="399" y="1461"/>
                  </a:lnTo>
                  <a:lnTo>
                    <a:pt x="399" y="1401"/>
                  </a:lnTo>
                  <a:lnTo>
                    <a:pt x="420" y="1392"/>
                  </a:lnTo>
                  <a:lnTo>
                    <a:pt x="465" y="1386"/>
                  </a:lnTo>
                  <a:lnTo>
                    <a:pt x="468" y="1350"/>
                  </a:lnTo>
                  <a:lnTo>
                    <a:pt x="444" y="1335"/>
                  </a:lnTo>
                  <a:lnTo>
                    <a:pt x="468" y="1296"/>
                  </a:lnTo>
                  <a:lnTo>
                    <a:pt x="435" y="1299"/>
                  </a:lnTo>
                  <a:lnTo>
                    <a:pt x="393" y="1281"/>
                  </a:lnTo>
                  <a:lnTo>
                    <a:pt x="393" y="1233"/>
                  </a:lnTo>
                  <a:lnTo>
                    <a:pt x="390" y="1212"/>
                  </a:lnTo>
                  <a:lnTo>
                    <a:pt x="354" y="1215"/>
                  </a:lnTo>
                  <a:lnTo>
                    <a:pt x="309" y="1209"/>
                  </a:lnTo>
                  <a:lnTo>
                    <a:pt x="309" y="1230"/>
                  </a:lnTo>
                  <a:lnTo>
                    <a:pt x="279" y="1221"/>
                  </a:lnTo>
                  <a:lnTo>
                    <a:pt x="273" y="1182"/>
                  </a:lnTo>
                  <a:lnTo>
                    <a:pt x="288" y="1170"/>
                  </a:lnTo>
                  <a:lnTo>
                    <a:pt x="243" y="1095"/>
                  </a:lnTo>
                  <a:lnTo>
                    <a:pt x="282" y="1092"/>
                  </a:lnTo>
                  <a:lnTo>
                    <a:pt x="282" y="1074"/>
                  </a:lnTo>
                  <a:lnTo>
                    <a:pt x="309" y="1074"/>
                  </a:lnTo>
                  <a:lnTo>
                    <a:pt x="318" y="1107"/>
                  </a:lnTo>
                  <a:lnTo>
                    <a:pt x="339" y="1110"/>
                  </a:lnTo>
                  <a:lnTo>
                    <a:pt x="357" y="1092"/>
                  </a:lnTo>
                  <a:lnTo>
                    <a:pt x="357" y="1065"/>
                  </a:lnTo>
                  <a:lnTo>
                    <a:pt x="402" y="1050"/>
                  </a:lnTo>
                  <a:lnTo>
                    <a:pt x="441" y="1005"/>
                  </a:lnTo>
                  <a:lnTo>
                    <a:pt x="435" y="987"/>
                  </a:lnTo>
                  <a:lnTo>
                    <a:pt x="456" y="993"/>
                  </a:lnTo>
                  <a:lnTo>
                    <a:pt x="462" y="972"/>
                  </a:lnTo>
                  <a:lnTo>
                    <a:pt x="486" y="975"/>
                  </a:lnTo>
                  <a:lnTo>
                    <a:pt x="534" y="933"/>
                  </a:lnTo>
                  <a:lnTo>
                    <a:pt x="513" y="921"/>
                  </a:lnTo>
                  <a:lnTo>
                    <a:pt x="501" y="900"/>
                  </a:lnTo>
                  <a:lnTo>
                    <a:pt x="480" y="930"/>
                  </a:lnTo>
                  <a:lnTo>
                    <a:pt x="456" y="903"/>
                  </a:lnTo>
                  <a:lnTo>
                    <a:pt x="438" y="900"/>
                  </a:lnTo>
                  <a:lnTo>
                    <a:pt x="444" y="831"/>
                  </a:lnTo>
                  <a:lnTo>
                    <a:pt x="495" y="753"/>
                  </a:lnTo>
                  <a:lnTo>
                    <a:pt x="537" y="675"/>
                  </a:lnTo>
                  <a:lnTo>
                    <a:pt x="582" y="633"/>
                  </a:lnTo>
                  <a:lnTo>
                    <a:pt x="579" y="570"/>
                  </a:lnTo>
                  <a:lnTo>
                    <a:pt x="567" y="531"/>
                  </a:lnTo>
                  <a:lnTo>
                    <a:pt x="582" y="498"/>
                  </a:lnTo>
                  <a:lnTo>
                    <a:pt x="570" y="429"/>
                  </a:lnTo>
                  <a:lnTo>
                    <a:pt x="558" y="411"/>
                  </a:lnTo>
                  <a:lnTo>
                    <a:pt x="564" y="366"/>
                  </a:lnTo>
                  <a:lnTo>
                    <a:pt x="516" y="318"/>
                  </a:lnTo>
                  <a:lnTo>
                    <a:pt x="489" y="279"/>
                  </a:lnTo>
                  <a:lnTo>
                    <a:pt x="447" y="249"/>
                  </a:lnTo>
                  <a:lnTo>
                    <a:pt x="471" y="213"/>
                  </a:lnTo>
                  <a:lnTo>
                    <a:pt x="474" y="177"/>
                  </a:lnTo>
                  <a:lnTo>
                    <a:pt x="387" y="144"/>
                  </a:lnTo>
                  <a:lnTo>
                    <a:pt x="390" y="87"/>
                  </a:lnTo>
                  <a:close/>
                </a:path>
              </a:pathLst>
            </a:custGeom>
            <a:solidFill>
              <a:schemeClr val="bg2"/>
            </a:solidFill>
            <a:ln w="12700" cap="flat" cmpd="sng">
              <a:solidFill>
                <a:schemeClr val="tx1"/>
              </a:solidFill>
              <a:prstDash val="solid"/>
              <a:round/>
              <a:headEnd/>
              <a:tailEnd/>
            </a:ln>
            <a:effectLst/>
          </p:spPr>
          <p:txBody>
            <a:bodyPr wrap="square" lIns="0" tIns="0" rIns="0" bIns="0" anchor="ctr">
              <a:noAutofit/>
            </a:bodyPr>
            <a:lstStyle/>
            <a:p>
              <a:endParaRPr lang="nl-NL" sz="1100" b="1"/>
            </a:p>
          </p:txBody>
        </p:sp>
        <p:sp>
          <p:nvSpPr>
            <p:cNvPr id="32" name="Freeform 19">
              <a:extLst>
                <a:ext uri="{FF2B5EF4-FFF2-40B4-BE49-F238E27FC236}">
                  <a16:creationId xmlns:a16="http://schemas.microsoft.com/office/drawing/2014/main" id="{451BD934-6047-4D62-861E-50EA5DDA7391}"/>
                </a:ext>
              </a:extLst>
            </p:cNvPr>
            <p:cNvSpPr>
              <a:spLocks/>
            </p:cNvSpPr>
            <p:nvPr/>
          </p:nvSpPr>
          <p:spPr bwMode="auto">
            <a:xfrm>
              <a:off x="3250330" y="2983612"/>
              <a:ext cx="1046525" cy="880702"/>
            </a:xfrm>
            <a:custGeom>
              <a:avLst/>
              <a:gdLst/>
              <a:ahLst/>
              <a:cxnLst>
                <a:cxn ang="0">
                  <a:pos x="27" y="528"/>
                </a:cxn>
                <a:cxn ang="0">
                  <a:pos x="60" y="552"/>
                </a:cxn>
                <a:cxn ang="0">
                  <a:pos x="195" y="632"/>
                </a:cxn>
                <a:cxn ang="0">
                  <a:pos x="249" y="620"/>
                </a:cxn>
                <a:cxn ang="0">
                  <a:pos x="318" y="588"/>
                </a:cxn>
                <a:cxn ang="0">
                  <a:pos x="372" y="575"/>
                </a:cxn>
                <a:cxn ang="0">
                  <a:pos x="433" y="564"/>
                </a:cxn>
                <a:cxn ang="0">
                  <a:pos x="466" y="581"/>
                </a:cxn>
                <a:cxn ang="0">
                  <a:pos x="642" y="566"/>
                </a:cxn>
                <a:cxn ang="0">
                  <a:pos x="688" y="557"/>
                </a:cxn>
                <a:cxn ang="0">
                  <a:pos x="697" y="515"/>
                </a:cxn>
                <a:cxn ang="0">
                  <a:pos x="681" y="477"/>
                </a:cxn>
                <a:cxn ang="0">
                  <a:pos x="711" y="459"/>
                </a:cxn>
                <a:cxn ang="0">
                  <a:pos x="718" y="395"/>
                </a:cxn>
                <a:cxn ang="0">
                  <a:pos x="727" y="378"/>
                </a:cxn>
                <a:cxn ang="0">
                  <a:pos x="765" y="351"/>
                </a:cxn>
                <a:cxn ang="0">
                  <a:pos x="741" y="333"/>
                </a:cxn>
                <a:cxn ang="0">
                  <a:pos x="694" y="344"/>
                </a:cxn>
                <a:cxn ang="0">
                  <a:pos x="643" y="318"/>
                </a:cxn>
                <a:cxn ang="0">
                  <a:pos x="660" y="302"/>
                </a:cxn>
                <a:cxn ang="0">
                  <a:pos x="670" y="260"/>
                </a:cxn>
                <a:cxn ang="0">
                  <a:pos x="714" y="273"/>
                </a:cxn>
                <a:cxn ang="0">
                  <a:pos x="700" y="242"/>
                </a:cxn>
                <a:cxn ang="0">
                  <a:pos x="669" y="185"/>
                </a:cxn>
                <a:cxn ang="0">
                  <a:pos x="648" y="152"/>
                </a:cxn>
                <a:cxn ang="0">
                  <a:pos x="573" y="137"/>
                </a:cxn>
                <a:cxn ang="0">
                  <a:pos x="493" y="161"/>
                </a:cxn>
                <a:cxn ang="0">
                  <a:pos x="424" y="146"/>
                </a:cxn>
                <a:cxn ang="0">
                  <a:pos x="468" y="2"/>
                </a:cxn>
                <a:cxn ang="0">
                  <a:pos x="369" y="0"/>
                </a:cxn>
                <a:cxn ang="0">
                  <a:pos x="325" y="84"/>
                </a:cxn>
                <a:cxn ang="0">
                  <a:pos x="273" y="176"/>
                </a:cxn>
                <a:cxn ang="0">
                  <a:pos x="204" y="275"/>
                </a:cxn>
                <a:cxn ang="0">
                  <a:pos x="151" y="341"/>
                </a:cxn>
                <a:cxn ang="0">
                  <a:pos x="102" y="390"/>
                </a:cxn>
                <a:cxn ang="0">
                  <a:pos x="58" y="444"/>
                </a:cxn>
                <a:cxn ang="0">
                  <a:pos x="0" y="492"/>
                </a:cxn>
              </a:cxnLst>
              <a:rect l="0" t="0" r="r" b="b"/>
              <a:pathLst>
                <a:path w="771" h="635">
                  <a:moveTo>
                    <a:pt x="0" y="492"/>
                  </a:moveTo>
                  <a:lnTo>
                    <a:pt x="27" y="528"/>
                  </a:lnTo>
                  <a:lnTo>
                    <a:pt x="61" y="530"/>
                  </a:lnTo>
                  <a:lnTo>
                    <a:pt x="60" y="552"/>
                  </a:lnTo>
                  <a:lnTo>
                    <a:pt x="130" y="606"/>
                  </a:lnTo>
                  <a:lnTo>
                    <a:pt x="195" y="632"/>
                  </a:lnTo>
                  <a:lnTo>
                    <a:pt x="231" y="635"/>
                  </a:lnTo>
                  <a:lnTo>
                    <a:pt x="249" y="620"/>
                  </a:lnTo>
                  <a:lnTo>
                    <a:pt x="274" y="612"/>
                  </a:lnTo>
                  <a:lnTo>
                    <a:pt x="318" y="588"/>
                  </a:lnTo>
                  <a:lnTo>
                    <a:pt x="360" y="588"/>
                  </a:lnTo>
                  <a:lnTo>
                    <a:pt x="372" y="575"/>
                  </a:lnTo>
                  <a:lnTo>
                    <a:pt x="409" y="573"/>
                  </a:lnTo>
                  <a:lnTo>
                    <a:pt x="433" y="564"/>
                  </a:lnTo>
                  <a:lnTo>
                    <a:pt x="457" y="570"/>
                  </a:lnTo>
                  <a:lnTo>
                    <a:pt x="466" y="581"/>
                  </a:lnTo>
                  <a:lnTo>
                    <a:pt x="636" y="579"/>
                  </a:lnTo>
                  <a:lnTo>
                    <a:pt x="642" y="566"/>
                  </a:lnTo>
                  <a:lnTo>
                    <a:pt x="700" y="569"/>
                  </a:lnTo>
                  <a:lnTo>
                    <a:pt x="688" y="557"/>
                  </a:lnTo>
                  <a:lnTo>
                    <a:pt x="693" y="545"/>
                  </a:lnTo>
                  <a:lnTo>
                    <a:pt x="697" y="515"/>
                  </a:lnTo>
                  <a:lnTo>
                    <a:pt x="664" y="489"/>
                  </a:lnTo>
                  <a:lnTo>
                    <a:pt x="681" y="477"/>
                  </a:lnTo>
                  <a:lnTo>
                    <a:pt x="694" y="465"/>
                  </a:lnTo>
                  <a:lnTo>
                    <a:pt x="711" y="459"/>
                  </a:lnTo>
                  <a:lnTo>
                    <a:pt x="720" y="434"/>
                  </a:lnTo>
                  <a:lnTo>
                    <a:pt x="718" y="395"/>
                  </a:lnTo>
                  <a:lnTo>
                    <a:pt x="706" y="375"/>
                  </a:lnTo>
                  <a:lnTo>
                    <a:pt x="727" y="378"/>
                  </a:lnTo>
                  <a:lnTo>
                    <a:pt x="736" y="359"/>
                  </a:lnTo>
                  <a:lnTo>
                    <a:pt x="765" y="351"/>
                  </a:lnTo>
                  <a:lnTo>
                    <a:pt x="771" y="336"/>
                  </a:lnTo>
                  <a:lnTo>
                    <a:pt x="741" y="333"/>
                  </a:lnTo>
                  <a:lnTo>
                    <a:pt x="727" y="345"/>
                  </a:lnTo>
                  <a:lnTo>
                    <a:pt x="694" y="344"/>
                  </a:lnTo>
                  <a:lnTo>
                    <a:pt x="669" y="315"/>
                  </a:lnTo>
                  <a:lnTo>
                    <a:pt x="643" y="318"/>
                  </a:lnTo>
                  <a:lnTo>
                    <a:pt x="645" y="306"/>
                  </a:lnTo>
                  <a:lnTo>
                    <a:pt x="660" y="302"/>
                  </a:lnTo>
                  <a:lnTo>
                    <a:pt x="661" y="270"/>
                  </a:lnTo>
                  <a:lnTo>
                    <a:pt x="670" y="260"/>
                  </a:lnTo>
                  <a:lnTo>
                    <a:pt x="685" y="275"/>
                  </a:lnTo>
                  <a:lnTo>
                    <a:pt x="714" y="273"/>
                  </a:lnTo>
                  <a:lnTo>
                    <a:pt x="712" y="252"/>
                  </a:lnTo>
                  <a:lnTo>
                    <a:pt x="700" y="242"/>
                  </a:lnTo>
                  <a:lnTo>
                    <a:pt x="697" y="213"/>
                  </a:lnTo>
                  <a:lnTo>
                    <a:pt x="669" y="185"/>
                  </a:lnTo>
                  <a:lnTo>
                    <a:pt x="663" y="140"/>
                  </a:lnTo>
                  <a:lnTo>
                    <a:pt x="648" y="152"/>
                  </a:lnTo>
                  <a:lnTo>
                    <a:pt x="598" y="170"/>
                  </a:lnTo>
                  <a:lnTo>
                    <a:pt x="573" y="137"/>
                  </a:lnTo>
                  <a:lnTo>
                    <a:pt x="525" y="138"/>
                  </a:lnTo>
                  <a:lnTo>
                    <a:pt x="493" y="161"/>
                  </a:lnTo>
                  <a:lnTo>
                    <a:pt x="460" y="150"/>
                  </a:lnTo>
                  <a:lnTo>
                    <a:pt x="424" y="146"/>
                  </a:lnTo>
                  <a:lnTo>
                    <a:pt x="465" y="36"/>
                  </a:lnTo>
                  <a:lnTo>
                    <a:pt x="468" y="2"/>
                  </a:lnTo>
                  <a:lnTo>
                    <a:pt x="433" y="5"/>
                  </a:lnTo>
                  <a:lnTo>
                    <a:pt x="369" y="0"/>
                  </a:lnTo>
                  <a:lnTo>
                    <a:pt x="345" y="45"/>
                  </a:lnTo>
                  <a:lnTo>
                    <a:pt x="325" y="84"/>
                  </a:lnTo>
                  <a:lnTo>
                    <a:pt x="297" y="128"/>
                  </a:lnTo>
                  <a:lnTo>
                    <a:pt x="273" y="176"/>
                  </a:lnTo>
                  <a:lnTo>
                    <a:pt x="243" y="213"/>
                  </a:lnTo>
                  <a:lnTo>
                    <a:pt x="204" y="275"/>
                  </a:lnTo>
                  <a:lnTo>
                    <a:pt x="159" y="317"/>
                  </a:lnTo>
                  <a:lnTo>
                    <a:pt x="151" y="341"/>
                  </a:lnTo>
                  <a:lnTo>
                    <a:pt x="124" y="360"/>
                  </a:lnTo>
                  <a:lnTo>
                    <a:pt x="102" y="390"/>
                  </a:lnTo>
                  <a:lnTo>
                    <a:pt x="67" y="423"/>
                  </a:lnTo>
                  <a:lnTo>
                    <a:pt x="58" y="444"/>
                  </a:lnTo>
                  <a:lnTo>
                    <a:pt x="21" y="477"/>
                  </a:lnTo>
                  <a:lnTo>
                    <a:pt x="0" y="492"/>
                  </a:lnTo>
                  <a:close/>
                </a:path>
              </a:pathLst>
            </a:custGeom>
            <a:solidFill>
              <a:srgbClr val="00B050"/>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33" name="Freeform 23">
              <a:extLst>
                <a:ext uri="{FF2B5EF4-FFF2-40B4-BE49-F238E27FC236}">
                  <a16:creationId xmlns:a16="http://schemas.microsoft.com/office/drawing/2014/main" id="{E4368609-373B-41D7-9C36-461BF54C01BA}"/>
                </a:ext>
              </a:extLst>
            </p:cNvPr>
            <p:cNvSpPr>
              <a:spLocks/>
            </p:cNvSpPr>
            <p:nvPr/>
          </p:nvSpPr>
          <p:spPr bwMode="auto">
            <a:xfrm>
              <a:off x="2384631" y="4476045"/>
              <a:ext cx="1069129" cy="495098"/>
            </a:xfrm>
            <a:custGeom>
              <a:avLst/>
              <a:gdLst/>
              <a:ahLst/>
              <a:cxnLst>
                <a:cxn ang="0">
                  <a:pos x="730" y="258"/>
                </a:cxn>
                <a:cxn ang="0">
                  <a:pos x="615" y="207"/>
                </a:cxn>
                <a:cxn ang="0">
                  <a:pos x="568" y="163"/>
                </a:cxn>
                <a:cxn ang="0">
                  <a:pos x="507" y="130"/>
                </a:cxn>
                <a:cxn ang="0">
                  <a:pos x="462" y="117"/>
                </a:cxn>
                <a:cxn ang="0">
                  <a:pos x="323" y="112"/>
                </a:cxn>
                <a:cxn ang="0">
                  <a:pos x="237" y="112"/>
                </a:cxn>
                <a:cxn ang="0">
                  <a:pos x="210" y="80"/>
                </a:cxn>
                <a:cxn ang="0">
                  <a:pos x="203" y="43"/>
                </a:cxn>
                <a:cxn ang="0">
                  <a:pos x="263" y="68"/>
                </a:cxn>
                <a:cxn ang="0">
                  <a:pos x="327" y="80"/>
                </a:cxn>
                <a:cxn ang="0">
                  <a:pos x="393" y="70"/>
                </a:cxn>
                <a:cxn ang="0">
                  <a:pos x="423" y="60"/>
                </a:cxn>
                <a:cxn ang="0">
                  <a:pos x="373" y="0"/>
                </a:cxn>
                <a:cxn ang="0">
                  <a:pos x="328" y="12"/>
                </a:cxn>
                <a:cxn ang="0">
                  <a:pos x="290" y="37"/>
                </a:cxn>
                <a:cxn ang="0">
                  <a:pos x="170" y="25"/>
                </a:cxn>
                <a:cxn ang="0">
                  <a:pos x="127" y="20"/>
                </a:cxn>
                <a:cxn ang="0">
                  <a:pos x="92" y="42"/>
                </a:cxn>
                <a:cxn ang="0">
                  <a:pos x="0" y="102"/>
                </a:cxn>
                <a:cxn ang="0">
                  <a:pos x="47" y="162"/>
                </a:cxn>
                <a:cxn ang="0">
                  <a:pos x="83" y="203"/>
                </a:cxn>
                <a:cxn ang="0">
                  <a:pos x="110" y="233"/>
                </a:cxn>
                <a:cxn ang="0">
                  <a:pos x="148" y="243"/>
                </a:cxn>
                <a:cxn ang="0">
                  <a:pos x="222" y="212"/>
                </a:cxn>
                <a:cxn ang="0">
                  <a:pos x="248" y="275"/>
                </a:cxn>
                <a:cxn ang="0">
                  <a:pos x="298" y="283"/>
                </a:cxn>
                <a:cxn ang="0">
                  <a:pos x="305" y="307"/>
                </a:cxn>
                <a:cxn ang="0">
                  <a:pos x="350" y="323"/>
                </a:cxn>
                <a:cxn ang="0">
                  <a:pos x="395" y="328"/>
                </a:cxn>
                <a:cxn ang="0">
                  <a:pos x="432" y="317"/>
                </a:cxn>
                <a:cxn ang="0">
                  <a:pos x="445" y="283"/>
                </a:cxn>
                <a:cxn ang="0">
                  <a:pos x="472" y="228"/>
                </a:cxn>
                <a:cxn ang="0">
                  <a:pos x="513" y="232"/>
                </a:cxn>
                <a:cxn ang="0">
                  <a:pos x="592" y="300"/>
                </a:cxn>
                <a:cxn ang="0">
                  <a:pos x="652" y="320"/>
                </a:cxn>
                <a:cxn ang="0">
                  <a:pos x="697" y="307"/>
                </a:cxn>
                <a:cxn ang="0">
                  <a:pos x="740" y="297"/>
                </a:cxn>
                <a:cxn ang="0">
                  <a:pos x="760" y="332"/>
                </a:cxn>
                <a:cxn ang="0">
                  <a:pos x="772" y="355"/>
                </a:cxn>
                <a:cxn ang="0">
                  <a:pos x="777" y="297"/>
                </a:cxn>
                <a:cxn ang="0">
                  <a:pos x="768" y="263"/>
                </a:cxn>
              </a:cxnLst>
              <a:rect l="0" t="0" r="r" b="b"/>
              <a:pathLst>
                <a:path w="785" h="355">
                  <a:moveTo>
                    <a:pt x="740" y="258"/>
                  </a:moveTo>
                  <a:cubicBezTo>
                    <a:pt x="737" y="258"/>
                    <a:pt x="733" y="258"/>
                    <a:pt x="730" y="258"/>
                  </a:cubicBezTo>
                  <a:lnTo>
                    <a:pt x="635" y="252"/>
                  </a:lnTo>
                  <a:lnTo>
                    <a:pt x="615" y="207"/>
                  </a:lnTo>
                  <a:lnTo>
                    <a:pt x="580" y="180"/>
                  </a:lnTo>
                  <a:lnTo>
                    <a:pt x="568" y="163"/>
                  </a:lnTo>
                  <a:lnTo>
                    <a:pt x="527" y="138"/>
                  </a:lnTo>
                  <a:lnTo>
                    <a:pt x="507" y="130"/>
                  </a:lnTo>
                  <a:lnTo>
                    <a:pt x="492" y="118"/>
                  </a:lnTo>
                  <a:lnTo>
                    <a:pt x="462" y="117"/>
                  </a:lnTo>
                  <a:lnTo>
                    <a:pt x="440" y="97"/>
                  </a:lnTo>
                  <a:lnTo>
                    <a:pt x="323" y="112"/>
                  </a:lnTo>
                  <a:lnTo>
                    <a:pt x="272" y="133"/>
                  </a:lnTo>
                  <a:lnTo>
                    <a:pt x="237" y="112"/>
                  </a:lnTo>
                  <a:lnTo>
                    <a:pt x="225" y="102"/>
                  </a:lnTo>
                  <a:lnTo>
                    <a:pt x="210" y="80"/>
                  </a:lnTo>
                  <a:lnTo>
                    <a:pt x="193" y="72"/>
                  </a:lnTo>
                  <a:lnTo>
                    <a:pt x="203" y="43"/>
                  </a:lnTo>
                  <a:lnTo>
                    <a:pt x="233" y="43"/>
                  </a:lnTo>
                  <a:lnTo>
                    <a:pt x="263" y="68"/>
                  </a:lnTo>
                  <a:lnTo>
                    <a:pt x="273" y="85"/>
                  </a:lnTo>
                  <a:lnTo>
                    <a:pt x="327" y="80"/>
                  </a:lnTo>
                  <a:lnTo>
                    <a:pt x="343" y="72"/>
                  </a:lnTo>
                  <a:lnTo>
                    <a:pt x="393" y="70"/>
                  </a:lnTo>
                  <a:lnTo>
                    <a:pt x="398" y="60"/>
                  </a:lnTo>
                  <a:lnTo>
                    <a:pt x="423" y="60"/>
                  </a:lnTo>
                  <a:lnTo>
                    <a:pt x="415" y="2"/>
                  </a:lnTo>
                  <a:lnTo>
                    <a:pt x="373" y="0"/>
                  </a:lnTo>
                  <a:lnTo>
                    <a:pt x="353" y="13"/>
                  </a:lnTo>
                  <a:lnTo>
                    <a:pt x="328" y="12"/>
                  </a:lnTo>
                  <a:lnTo>
                    <a:pt x="302" y="33"/>
                  </a:lnTo>
                  <a:lnTo>
                    <a:pt x="290" y="37"/>
                  </a:lnTo>
                  <a:lnTo>
                    <a:pt x="277" y="22"/>
                  </a:lnTo>
                  <a:lnTo>
                    <a:pt x="170" y="25"/>
                  </a:lnTo>
                  <a:lnTo>
                    <a:pt x="137" y="30"/>
                  </a:lnTo>
                  <a:lnTo>
                    <a:pt x="127" y="20"/>
                  </a:lnTo>
                  <a:lnTo>
                    <a:pt x="98" y="23"/>
                  </a:lnTo>
                  <a:lnTo>
                    <a:pt x="92" y="42"/>
                  </a:lnTo>
                  <a:lnTo>
                    <a:pt x="60" y="47"/>
                  </a:lnTo>
                  <a:lnTo>
                    <a:pt x="0" y="102"/>
                  </a:lnTo>
                  <a:lnTo>
                    <a:pt x="17" y="147"/>
                  </a:lnTo>
                  <a:lnTo>
                    <a:pt x="47" y="162"/>
                  </a:lnTo>
                  <a:lnTo>
                    <a:pt x="57" y="180"/>
                  </a:lnTo>
                  <a:lnTo>
                    <a:pt x="83" y="203"/>
                  </a:lnTo>
                  <a:lnTo>
                    <a:pt x="87" y="225"/>
                  </a:lnTo>
                  <a:lnTo>
                    <a:pt x="110" y="233"/>
                  </a:lnTo>
                  <a:lnTo>
                    <a:pt x="135" y="232"/>
                  </a:lnTo>
                  <a:lnTo>
                    <a:pt x="148" y="243"/>
                  </a:lnTo>
                  <a:lnTo>
                    <a:pt x="193" y="235"/>
                  </a:lnTo>
                  <a:lnTo>
                    <a:pt x="222" y="212"/>
                  </a:lnTo>
                  <a:lnTo>
                    <a:pt x="238" y="225"/>
                  </a:lnTo>
                  <a:lnTo>
                    <a:pt x="248" y="275"/>
                  </a:lnTo>
                  <a:lnTo>
                    <a:pt x="287" y="302"/>
                  </a:lnTo>
                  <a:lnTo>
                    <a:pt x="298" y="283"/>
                  </a:lnTo>
                  <a:lnTo>
                    <a:pt x="307" y="288"/>
                  </a:lnTo>
                  <a:lnTo>
                    <a:pt x="305" y="307"/>
                  </a:lnTo>
                  <a:lnTo>
                    <a:pt x="320" y="318"/>
                  </a:lnTo>
                  <a:lnTo>
                    <a:pt x="350" y="323"/>
                  </a:lnTo>
                  <a:lnTo>
                    <a:pt x="357" y="332"/>
                  </a:lnTo>
                  <a:lnTo>
                    <a:pt x="395" y="328"/>
                  </a:lnTo>
                  <a:lnTo>
                    <a:pt x="392" y="318"/>
                  </a:lnTo>
                  <a:lnTo>
                    <a:pt x="432" y="317"/>
                  </a:lnTo>
                  <a:lnTo>
                    <a:pt x="438" y="295"/>
                  </a:lnTo>
                  <a:lnTo>
                    <a:pt x="445" y="283"/>
                  </a:lnTo>
                  <a:lnTo>
                    <a:pt x="450" y="233"/>
                  </a:lnTo>
                  <a:lnTo>
                    <a:pt x="472" y="228"/>
                  </a:lnTo>
                  <a:lnTo>
                    <a:pt x="485" y="218"/>
                  </a:lnTo>
                  <a:lnTo>
                    <a:pt x="513" y="232"/>
                  </a:lnTo>
                  <a:lnTo>
                    <a:pt x="570" y="268"/>
                  </a:lnTo>
                  <a:lnTo>
                    <a:pt x="592" y="300"/>
                  </a:lnTo>
                  <a:lnTo>
                    <a:pt x="627" y="297"/>
                  </a:lnTo>
                  <a:lnTo>
                    <a:pt x="652" y="320"/>
                  </a:lnTo>
                  <a:lnTo>
                    <a:pt x="682" y="318"/>
                  </a:lnTo>
                  <a:lnTo>
                    <a:pt x="697" y="307"/>
                  </a:lnTo>
                  <a:lnTo>
                    <a:pt x="723" y="307"/>
                  </a:lnTo>
                  <a:lnTo>
                    <a:pt x="740" y="297"/>
                  </a:lnTo>
                  <a:lnTo>
                    <a:pt x="752" y="300"/>
                  </a:lnTo>
                  <a:lnTo>
                    <a:pt x="760" y="332"/>
                  </a:lnTo>
                  <a:lnTo>
                    <a:pt x="768" y="342"/>
                  </a:lnTo>
                  <a:lnTo>
                    <a:pt x="772" y="355"/>
                  </a:lnTo>
                  <a:lnTo>
                    <a:pt x="778" y="332"/>
                  </a:lnTo>
                  <a:lnTo>
                    <a:pt x="777" y="297"/>
                  </a:lnTo>
                  <a:lnTo>
                    <a:pt x="785" y="285"/>
                  </a:lnTo>
                  <a:lnTo>
                    <a:pt x="768" y="263"/>
                  </a:lnTo>
                  <a:lnTo>
                    <a:pt x="740" y="258"/>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cxnSp>
          <p:nvCxnSpPr>
            <p:cNvPr id="34" name="Line 26">
              <a:extLst>
                <a:ext uri="{FF2B5EF4-FFF2-40B4-BE49-F238E27FC236}">
                  <a16:creationId xmlns:a16="http://schemas.microsoft.com/office/drawing/2014/main" id="{49639F8B-A095-4547-81A4-357FF997304D}"/>
                </a:ext>
              </a:extLst>
            </p:cNvPr>
            <p:cNvCxnSpPr/>
            <p:nvPr/>
          </p:nvCxnSpPr>
          <p:spPr bwMode="auto">
            <a:xfrm flipV="1">
              <a:off x="2687512" y="4345130"/>
              <a:ext cx="61028" cy="135676"/>
            </a:xfrm>
            <a:prstGeom prst="line">
              <a:avLst/>
            </a:prstGeom>
            <a:solidFill>
              <a:srgbClr val="F49E00"/>
            </a:solidFill>
            <a:ln w="12700">
              <a:solidFill>
                <a:schemeClr val="tx1"/>
              </a:solidFill>
              <a:round/>
              <a:headEnd type="none" w="sm" len="sm"/>
              <a:tailEnd type="none" w="sm" len="sm"/>
            </a:ln>
            <a:effectLst/>
          </p:spPr>
        </p:cxnSp>
        <p:cxnSp>
          <p:nvCxnSpPr>
            <p:cNvPr id="35" name="Line 27">
              <a:extLst>
                <a:ext uri="{FF2B5EF4-FFF2-40B4-BE49-F238E27FC236}">
                  <a16:creationId xmlns:a16="http://schemas.microsoft.com/office/drawing/2014/main" id="{2C99AAC9-22D9-4853-96F5-0D14D6EE50D7}"/>
                </a:ext>
              </a:extLst>
            </p:cNvPr>
            <p:cNvCxnSpPr/>
            <p:nvPr/>
          </p:nvCxnSpPr>
          <p:spPr bwMode="auto">
            <a:xfrm flipV="1">
              <a:off x="2870596" y="4099962"/>
              <a:ext cx="79110" cy="92830"/>
            </a:xfrm>
            <a:prstGeom prst="line">
              <a:avLst/>
            </a:prstGeom>
            <a:solidFill>
              <a:srgbClr val="F49E00"/>
            </a:solidFill>
            <a:ln w="12700">
              <a:solidFill>
                <a:schemeClr val="tx1"/>
              </a:solidFill>
              <a:round/>
              <a:headEnd type="none" w="sm" len="sm"/>
              <a:tailEnd type="none" w="sm" len="sm"/>
            </a:ln>
            <a:effectLst/>
          </p:spPr>
        </p:cxnSp>
        <p:cxnSp>
          <p:nvCxnSpPr>
            <p:cNvPr id="36" name="Line 28">
              <a:extLst>
                <a:ext uri="{FF2B5EF4-FFF2-40B4-BE49-F238E27FC236}">
                  <a16:creationId xmlns:a16="http://schemas.microsoft.com/office/drawing/2014/main" id="{47941810-2ADB-4833-B28A-52C33A4C037C}"/>
                </a:ext>
              </a:extLst>
            </p:cNvPr>
            <p:cNvCxnSpPr/>
            <p:nvPr/>
          </p:nvCxnSpPr>
          <p:spPr bwMode="auto">
            <a:xfrm flipV="1">
              <a:off x="2967791" y="4433202"/>
              <a:ext cx="54247" cy="45226"/>
            </a:xfrm>
            <a:prstGeom prst="line">
              <a:avLst/>
            </a:prstGeom>
            <a:solidFill>
              <a:srgbClr val="F49E00"/>
            </a:solidFill>
            <a:ln w="12700">
              <a:solidFill>
                <a:schemeClr val="tx1"/>
              </a:solidFill>
              <a:round/>
              <a:headEnd type="none" w="sm" len="sm"/>
              <a:tailEnd type="none" w="sm" len="sm"/>
            </a:ln>
            <a:effectLst/>
          </p:spPr>
        </p:cxnSp>
        <p:sp>
          <p:nvSpPr>
            <p:cNvPr id="37" name="Freeform 29">
              <a:extLst>
                <a:ext uri="{FF2B5EF4-FFF2-40B4-BE49-F238E27FC236}">
                  <a16:creationId xmlns:a16="http://schemas.microsoft.com/office/drawing/2014/main" id="{159ADEE6-2FA6-4565-8ABE-109C525CE013}"/>
                </a:ext>
              </a:extLst>
            </p:cNvPr>
            <p:cNvSpPr>
              <a:spLocks/>
            </p:cNvSpPr>
            <p:nvPr/>
          </p:nvSpPr>
          <p:spPr bwMode="auto">
            <a:xfrm>
              <a:off x="3103409" y="4180891"/>
              <a:ext cx="45206" cy="71410"/>
            </a:xfrm>
            <a:custGeom>
              <a:avLst/>
              <a:gdLst/>
              <a:ahLst/>
              <a:cxnLst>
                <a:cxn ang="0">
                  <a:pos x="0" y="0"/>
                </a:cxn>
                <a:cxn ang="0">
                  <a:pos x="3" y="34"/>
                </a:cxn>
                <a:cxn ang="0">
                  <a:pos x="23" y="37"/>
                </a:cxn>
                <a:cxn ang="0">
                  <a:pos x="31" y="49"/>
                </a:cxn>
                <a:cxn ang="0">
                  <a:pos x="36" y="35"/>
                </a:cxn>
                <a:cxn ang="0">
                  <a:pos x="23" y="17"/>
                </a:cxn>
                <a:cxn ang="0">
                  <a:pos x="18" y="2"/>
                </a:cxn>
                <a:cxn ang="0">
                  <a:pos x="0" y="0"/>
                </a:cxn>
              </a:cxnLst>
              <a:rect l="0" t="0" r="r" b="b"/>
              <a:pathLst>
                <a:path w="36" h="49">
                  <a:moveTo>
                    <a:pt x="0" y="0"/>
                  </a:moveTo>
                  <a:lnTo>
                    <a:pt x="3" y="34"/>
                  </a:lnTo>
                  <a:lnTo>
                    <a:pt x="23" y="37"/>
                  </a:lnTo>
                  <a:lnTo>
                    <a:pt x="31" y="49"/>
                  </a:lnTo>
                  <a:lnTo>
                    <a:pt x="36" y="35"/>
                  </a:lnTo>
                  <a:lnTo>
                    <a:pt x="23" y="17"/>
                  </a:lnTo>
                  <a:lnTo>
                    <a:pt x="18" y="2"/>
                  </a:lnTo>
                  <a:lnTo>
                    <a:pt x="0" y="0"/>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38" name="Freeform 30">
              <a:extLst>
                <a:ext uri="{FF2B5EF4-FFF2-40B4-BE49-F238E27FC236}">
                  <a16:creationId xmlns:a16="http://schemas.microsoft.com/office/drawing/2014/main" id="{6F159332-FD1C-4E47-AA78-0BD2642F8D97}"/>
                </a:ext>
              </a:extLst>
            </p:cNvPr>
            <p:cNvSpPr>
              <a:spLocks/>
            </p:cNvSpPr>
            <p:nvPr/>
          </p:nvSpPr>
          <p:spPr bwMode="auto">
            <a:xfrm>
              <a:off x="3277453" y="4390356"/>
              <a:ext cx="65549" cy="59507"/>
            </a:xfrm>
            <a:custGeom>
              <a:avLst/>
              <a:gdLst/>
              <a:ahLst/>
              <a:cxnLst>
                <a:cxn ang="0">
                  <a:pos x="0" y="10"/>
                </a:cxn>
                <a:cxn ang="0">
                  <a:pos x="13" y="42"/>
                </a:cxn>
                <a:cxn ang="0">
                  <a:pos x="50" y="40"/>
                </a:cxn>
                <a:cxn ang="0">
                  <a:pos x="50" y="25"/>
                </a:cxn>
                <a:cxn ang="0">
                  <a:pos x="27" y="17"/>
                </a:cxn>
                <a:cxn ang="0">
                  <a:pos x="23" y="0"/>
                </a:cxn>
                <a:cxn ang="0">
                  <a:pos x="0" y="10"/>
                </a:cxn>
              </a:cxnLst>
              <a:rect l="0" t="0" r="r" b="b"/>
              <a:pathLst>
                <a:path w="50" h="42">
                  <a:moveTo>
                    <a:pt x="0" y="10"/>
                  </a:moveTo>
                  <a:lnTo>
                    <a:pt x="13" y="42"/>
                  </a:lnTo>
                  <a:lnTo>
                    <a:pt x="50" y="40"/>
                  </a:lnTo>
                  <a:lnTo>
                    <a:pt x="50" y="25"/>
                  </a:lnTo>
                  <a:lnTo>
                    <a:pt x="27" y="17"/>
                  </a:lnTo>
                  <a:lnTo>
                    <a:pt x="23" y="0"/>
                  </a:lnTo>
                  <a:lnTo>
                    <a:pt x="0" y="10"/>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39" name="Freeform 35">
              <a:extLst>
                <a:ext uri="{FF2B5EF4-FFF2-40B4-BE49-F238E27FC236}">
                  <a16:creationId xmlns:a16="http://schemas.microsoft.com/office/drawing/2014/main" id="{FE685D13-0889-4005-A83D-C2F9DF019E77}"/>
                </a:ext>
              </a:extLst>
            </p:cNvPr>
            <p:cNvSpPr>
              <a:spLocks/>
            </p:cNvSpPr>
            <p:nvPr/>
          </p:nvSpPr>
          <p:spPr bwMode="auto">
            <a:xfrm>
              <a:off x="3130532" y="4490327"/>
              <a:ext cx="264458" cy="211845"/>
            </a:xfrm>
            <a:custGeom>
              <a:avLst/>
              <a:gdLst/>
              <a:ahLst/>
              <a:cxnLst>
                <a:cxn ang="0">
                  <a:pos x="103" y="12"/>
                </a:cxn>
                <a:cxn ang="0">
                  <a:pos x="93" y="0"/>
                </a:cxn>
                <a:cxn ang="0">
                  <a:pos x="50" y="2"/>
                </a:cxn>
                <a:cxn ang="0">
                  <a:pos x="31" y="12"/>
                </a:cxn>
                <a:cxn ang="0">
                  <a:pos x="15" y="7"/>
                </a:cxn>
                <a:cxn ang="0">
                  <a:pos x="0" y="30"/>
                </a:cxn>
                <a:cxn ang="0">
                  <a:pos x="23" y="52"/>
                </a:cxn>
                <a:cxn ang="0">
                  <a:pos x="43" y="50"/>
                </a:cxn>
                <a:cxn ang="0">
                  <a:pos x="40" y="73"/>
                </a:cxn>
                <a:cxn ang="0">
                  <a:pos x="65" y="97"/>
                </a:cxn>
                <a:cxn ang="0">
                  <a:pos x="65" y="117"/>
                </a:cxn>
                <a:cxn ang="0">
                  <a:pos x="131" y="120"/>
                </a:cxn>
                <a:cxn ang="0">
                  <a:pos x="148" y="135"/>
                </a:cxn>
                <a:cxn ang="0">
                  <a:pos x="165" y="132"/>
                </a:cxn>
                <a:cxn ang="0">
                  <a:pos x="171" y="152"/>
                </a:cxn>
                <a:cxn ang="0">
                  <a:pos x="195" y="143"/>
                </a:cxn>
                <a:cxn ang="0">
                  <a:pos x="190" y="73"/>
                </a:cxn>
                <a:cxn ang="0">
                  <a:pos x="160" y="33"/>
                </a:cxn>
                <a:cxn ang="0">
                  <a:pos x="150" y="15"/>
                </a:cxn>
                <a:cxn ang="0">
                  <a:pos x="103" y="12"/>
                </a:cxn>
              </a:cxnLst>
              <a:rect l="0" t="0" r="r" b="b"/>
              <a:pathLst>
                <a:path w="195" h="152">
                  <a:moveTo>
                    <a:pt x="103" y="12"/>
                  </a:moveTo>
                  <a:lnTo>
                    <a:pt x="93" y="0"/>
                  </a:lnTo>
                  <a:lnTo>
                    <a:pt x="50" y="2"/>
                  </a:lnTo>
                  <a:lnTo>
                    <a:pt x="31" y="12"/>
                  </a:lnTo>
                  <a:lnTo>
                    <a:pt x="15" y="7"/>
                  </a:lnTo>
                  <a:lnTo>
                    <a:pt x="0" y="30"/>
                  </a:lnTo>
                  <a:lnTo>
                    <a:pt x="23" y="52"/>
                  </a:lnTo>
                  <a:lnTo>
                    <a:pt x="43" y="50"/>
                  </a:lnTo>
                  <a:lnTo>
                    <a:pt x="40" y="73"/>
                  </a:lnTo>
                  <a:lnTo>
                    <a:pt x="65" y="97"/>
                  </a:lnTo>
                  <a:lnTo>
                    <a:pt x="65" y="117"/>
                  </a:lnTo>
                  <a:lnTo>
                    <a:pt x="131" y="120"/>
                  </a:lnTo>
                  <a:lnTo>
                    <a:pt x="148" y="135"/>
                  </a:lnTo>
                  <a:lnTo>
                    <a:pt x="165" y="132"/>
                  </a:lnTo>
                  <a:lnTo>
                    <a:pt x="171" y="152"/>
                  </a:lnTo>
                  <a:lnTo>
                    <a:pt x="195" y="143"/>
                  </a:lnTo>
                  <a:lnTo>
                    <a:pt x="190" y="73"/>
                  </a:lnTo>
                  <a:lnTo>
                    <a:pt x="160" y="33"/>
                  </a:lnTo>
                  <a:lnTo>
                    <a:pt x="150" y="15"/>
                  </a:lnTo>
                  <a:lnTo>
                    <a:pt x="103" y="12"/>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40" name="Freeform 40">
              <a:extLst>
                <a:ext uri="{FF2B5EF4-FFF2-40B4-BE49-F238E27FC236}">
                  <a16:creationId xmlns:a16="http://schemas.microsoft.com/office/drawing/2014/main" id="{F6213690-75AC-47BC-A8E5-1E85C07DDE9F}"/>
                </a:ext>
              </a:extLst>
            </p:cNvPr>
            <p:cNvSpPr>
              <a:spLocks/>
            </p:cNvSpPr>
            <p:nvPr/>
          </p:nvSpPr>
          <p:spPr bwMode="auto">
            <a:xfrm>
              <a:off x="3367867" y="3997609"/>
              <a:ext cx="2368809" cy="1318676"/>
            </a:xfrm>
            <a:custGeom>
              <a:avLst/>
              <a:gdLst/>
              <a:ahLst/>
              <a:cxnLst>
                <a:cxn ang="0">
                  <a:pos x="0" y="313"/>
                </a:cxn>
                <a:cxn ang="0">
                  <a:pos x="38" y="516"/>
                </a:cxn>
                <a:cxn ang="0">
                  <a:pos x="65" y="604"/>
                </a:cxn>
                <a:cxn ang="0">
                  <a:pos x="114" y="702"/>
                </a:cxn>
                <a:cxn ang="0">
                  <a:pos x="203" y="693"/>
                </a:cxn>
                <a:cxn ang="0">
                  <a:pos x="178" y="591"/>
                </a:cxn>
                <a:cxn ang="0">
                  <a:pos x="318" y="551"/>
                </a:cxn>
                <a:cxn ang="0">
                  <a:pos x="309" y="607"/>
                </a:cxn>
                <a:cxn ang="0">
                  <a:pos x="429" y="620"/>
                </a:cxn>
                <a:cxn ang="0">
                  <a:pos x="529" y="496"/>
                </a:cxn>
                <a:cxn ang="0">
                  <a:pos x="600" y="567"/>
                </a:cxn>
                <a:cxn ang="0">
                  <a:pos x="645" y="642"/>
                </a:cxn>
                <a:cxn ang="0">
                  <a:pos x="760" y="578"/>
                </a:cxn>
                <a:cxn ang="0">
                  <a:pos x="834" y="560"/>
                </a:cxn>
                <a:cxn ang="0">
                  <a:pos x="827" y="671"/>
                </a:cxn>
                <a:cxn ang="0">
                  <a:pos x="911" y="791"/>
                </a:cxn>
                <a:cxn ang="0">
                  <a:pos x="996" y="804"/>
                </a:cxn>
                <a:cxn ang="0">
                  <a:pos x="971" y="882"/>
                </a:cxn>
                <a:cxn ang="0">
                  <a:pos x="1082" y="853"/>
                </a:cxn>
                <a:cxn ang="0">
                  <a:pos x="1211" y="836"/>
                </a:cxn>
                <a:cxn ang="0">
                  <a:pos x="1254" y="842"/>
                </a:cxn>
                <a:cxn ang="0">
                  <a:pos x="1282" y="916"/>
                </a:cxn>
                <a:cxn ang="0">
                  <a:pos x="1342" y="936"/>
                </a:cxn>
                <a:cxn ang="0">
                  <a:pos x="1422" y="791"/>
                </a:cxn>
                <a:cxn ang="0">
                  <a:pos x="1629" y="676"/>
                </a:cxn>
                <a:cxn ang="0">
                  <a:pos x="1585" y="562"/>
                </a:cxn>
                <a:cxn ang="0">
                  <a:pos x="1638" y="429"/>
                </a:cxn>
                <a:cxn ang="0">
                  <a:pos x="1738" y="409"/>
                </a:cxn>
                <a:cxn ang="0">
                  <a:pos x="1714" y="307"/>
                </a:cxn>
                <a:cxn ang="0">
                  <a:pos x="1598" y="151"/>
                </a:cxn>
                <a:cxn ang="0">
                  <a:pos x="1505" y="107"/>
                </a:cxn>
                <a:cxn ang="0">
                  <a:pos x="1300" y="0"/>
                </a:cxn>
                <a:cxn ang="0">
                  <a:pos x="1236" y="9"/>
                </a:cxn>
                <a:cxn ang="0">
                  <a:pos x="1160" y="27"/>
                </a:cxn>
                <a:cxn ang="0">
                  <a:pos x="1040" y="127"/>
                </a:cxn>
                <a:cxn ang="0">
                  <a:pos x="887" y="102"/>
                </a:cxn>
                <a:cxn ang="0">
                  <a:pos x="796" y="60"/>
                </a:cxn>
                <a:cxn ang="0">
                  <a:pos x="743" y="9"/>
                </a:cxn>
                <a:cxn ang="0">
                  <a:pos x="638" y="49"/>
                </a:cxn>
                <a:cxn ang="0">
                  <a:pos x="551" y="69"/>
                </a:cxn>
                <a:cxn ang="0">
                  <a:pos x="536" y="164"/>
                </a:cxn>
                <a:cxn ang="0">
                  <a:pos x="609" y="173"/>
                </a:cxn>
                <a:cxn ang="0">
                  <a:pos x="536" y="193"/>
                </a:cxn>
                <a:cxn ang="0">
                  <a:pos x="456" y="193"/>
                </a:cxn>
                <a:cxn ang="0">
                  <a:pos x="347" y="224"/>
                </a:cxn>
                <a:cxn ang="0">
                  <a:pos x="236" y="224"/>
                </a:cxn>
              </a:cxnLst>
              <a:rect l="0" t="0" r="r" b="b"/>
              <a:pathLst>
                <a:path w="1738" h="949">
                  <a:moveTo>
                    <a:pt x="189" y="220"/>
                  </a:moveTo>
                  <a:lnTo>
                    <a:pt x="43" y="293"/>
                  </a:lnTo>
                  <a:lnTo>
                    <a:pt x="0" y="313"/>
                  </a:lnTo>
                  <a:lnTo>
                    <a:pt x="3" y="396"/>
                  </a:lnTo>
                  <a:lnTo>
                    <a:pt x="34" y="424"/>
                  </a:lnTo>
                  <a:lnTo>
                    <a:pt x="38" y="516"/>
                  </a:lnTo>
                  <a:lnTo>
                    <a:pt x="74" y="516"/>
                  </a:lnTo>
                  <a:lnTo>
                    <a:pt x="78" y="587"/>
                  </a:lnTo>
                  <a:lnTo>
                    <a:pt x="65" y="604"/>
                  </a:lnTo>
                  <a:lnTo>
                    <a:pt x="74" y="640"/>
                  </a:lnTo>
                  <a:lnTo>
                    <a:pt x="60" y="676"/>
                  </a:lnTo>
                  <a:lnTo>
                    <a:pt x="114" y="702"/>
                  </a:lnTo>
                  <a:lnTo>
                    <a:pt x="143" y="711"/>
                  </a:lnTo>
                  <a:lnTo>
                    <a:pt x="191" y="718"/>
                  </a:lnTo>
                  <a:lnTo>
                    <a:pt x="203" y="693"/>
                  </a:lnTo>
                  <a:lnTo>
                    <a:pt x="167" y="624"/>
                  </a:lnTo>
                  <a:lnTo>
                    <a:pt x="180" y="613"/>
                  </a:lnTo>
                  <a:lnTo>
                    <a:pt x="178" y="591"/>
                  </a:lnTo>
                  <a:lnTo>
                    <a:pt x="167" y="582"/>
                  </a:lnTo>
                  <a:lnTo>
                    <a:pt x="287" y="536"/>
                  </a:lnTo>
                  <a:lnTo>
                    <a:pt x="318" y="551"/>
                  </a:lnTo>
                  <a:lnTo>
                    <a:pt x="323" y="573"/>
                  </a:lnTo>
                  <a:lnTo>
                    <a:pt x="307" y="576"/>
                  </a:lnTo>
                  <a:lnTo>
                    <a:pt x="309" y="607"/>
                  </a:lnTo>
                  <a:lnTo>
                    <a:pt x="358" y="609"/>
                  </a:lnTo>
                  <a:lnTo>
                    <a:pt x="383" y="627"/>
                  </a:lnTo>
                  <a:lnTo>
                    <a:pt x="429" y="620"/>
                  </a:lnTo>
                  <a:lnTo>
                    <a:pt x="436" y="600"/>
                  </a:lnTo>
                  <a:lnTo>
                    <a:pt x="454" y="582"/>
                  </a:lnTo>
                  <a:lnTo>
                    <a:pt x="529" y="496"/>
                  </a:lnTo>
                  <a:lnTo>
                    <a:pt x="571" y="511"/>
                  </a:lnTo>
                  <a:lnTo>
                    <a:pt x="611" y="540"/>
                  </a:lnTo>
                  <a:lnTo>
                    <a:pt x="600" y="567"/>
                  </a:lnTo>
                  <a:lnTo>
                    <a:pt x="587" y="604"/>
                  </a:lnTo>
                  <a:lnTo>
                    <a:pt x="603" y="638"/>
                  </a:lnTo>
                  <a:lnTo>
                    <a:pt x="645" y="642"/>
                  </a:lnTo>
                  <a:lnTo>
                    <a:pt x="685" y="656"/>
                  </a:lnTo>
                  <a:lnTo>
                    <a:pt x="711" y="636"/>
                  </a:lnTo>
                  <a:lnTo>
                    <a:pt x="760" y="578"/>
                  </a:lnTo>
                  <a:lnTo>
                    <a:pt x="763" y="542"/>
                  </a:lnTo>
                  <a:lnTo>
                    <a:pt x="791" y="531"/>
                  </a:lnTo>
                  <a:lnTo>
                    <a:pt x="834" y="560"/>
                  </a:lnTo>
                  <a:lnTo>
                    <a:pt x="854" y="602"/>
                  </a:lnTo>
                  <a:lnTo>
                    <a:pt x="836" y="642"/>
                  </a:lnTo>
                  <a:lnTo>
                    <a:pt x="827" y="671"/>
                  </a:lnTo>
                  <a:lnTo>
                    <a:pt x="865" y="738"/>
                  </a:lnTo>
                  <a:lnTo>
                    <a:pt x="896" y="787"/>
                  </a:lnTo>
                  <a:lnTo>
                    <a:pt x="911" y="791"/>
                  </a:lnTo>
                  <a:lnTo>
                    <a:pt x="934" y="776"/>
                  </a:lnTo>
                  <a:lnTo>
                    <a:pt x="978" y="782"/>
                  </a:lnTo>
                  <a:lnTo>
                    <a:pt x="996" y="804"/>
                  </a:lnTo>
                  <a:lnTo>
                    <a:pt x="985" y="818"/>
                  </a:lnTo>
                  <a:lnTo>
                    <a:pt x="976" y="856"/>
                  </a:lnTo>
                  <a:lnTo>
                    <a:pt x="971" y="882"/>
                  </a:lnTo>
                  <a:lnTo>
                    <a:pt x="989" y="867"/>
                  </a:lnTo>
                  <a:lnTo>
                    <a:pt x="1067" y="867"/>
                  </a:lnTo>
                  <a:lnTo>
                    <a:pt x="1082" y="853"/>
                  </a:lnTo>
                  <a:lnTo>
                    <a:pt x="1151" y="860"/>
                  </a:lnTo>
                  <a:lnTo>
                    <a:pt x="1194" y="831"/>
                  </a:lnTo>
                  <a:lnTo>
                    <a:pt x="1211" y="836"/>
                  </a:lnTo>
                  <a:lnTo>
                    <a:pt x="1211" y="811"/>
                  </a:lnTo>
                  <a:lnTo>
                    <a:pt x="1245" y="816"/>
                  </a:lnTo>
                  <a:lnTo>
                    <a:pt x="1254" y="842"/>
                  </a:lnTo>
                  <a:lnTo>
                    <a:pt x="1280" y="869"/>
                  </a:lnTo>
                  <a:lnTo>
                    <a:pt x="1294" y="876"/>
                  </a:lnTo>
                  <a:lnTo>
                    <a:pt x="1282" y="916"/>
                  </a:lnTo>
                  <a:lnTo>
                    <a:pt x="1305" y="942"/>
                  </a:lnTo>
                  <a:lnTo>
                    <a:pt x="1325" y="949"/>
                  </a:lnTo>
                  <a:lnTo>
                    <a:pt x="1342" y="936"/>
                  </a:lnTo>
                  <a:lnTo>
                    <a:pt x="1340" y="893"/>
                  </a:lnTo>
                  <a:lnTo>
                    <a:pt x="1369" y="840"/>
                  </a:lnTo>
                  <a:lnTo>
                    <a:pt x="1422" y="791"/>
                  </a:lnTo>
                  <a:lnTo>
                    <a:pt x="1565" y="751"/>
                  </a:lnTo>
                  <a:lnTo>
                    <a:pt x="1625" y="693"/>
                  </a:lnTo>
                  <a:lnTo>
                    <a:pt x="1629" y="676"/>
                  </a:lnTo>
                  <a:lnTo>
                    <a:pt x="1627" y="658"/>
                  </a:lnTo>
                  <a:lnTo>
                    <a:pt x="1587" y="598"/>
                  </a:lnTo>
                  <a:lnTo>
                    <a:pt x="1585" y="562"/>
                  </a:lnTo>
                  <a:lnTo>
                    <a:pt x="1561" y="499"/>
                  </a:lnTo>
                  <a:lnTo>
                    <a:pt x="1558" y="433"/>
                  </a:lnTo>
                  <a:lnTo>
                    <a:pt x="1638" y="429"/>
                  </a:lnTo>
                  <a:lnTo>
                    <a:pt x="1691" y="407"/>
                  </a:lnTo>
                  <a:lnTo>
                    <a:pt x="1722" y="422"/>
                  </a:lnTo>
                  <a:lnTo>
                    <a:pt x="1738" y="409"/>
                  </a:lnTo>
                  <a:lnTo>
                    <a:pt x="1731" y="367"/>
                  </a:lnTo>
                  <a:lnTo>
                    <a:pt x="1720" y="320"/>
                  </a:lnTo>
                  <a:lnTo>
                    <a:pt x="1714" y="307"/>
                  </a:lnTo>
                  <a:lnTo>
                    <a:pt x="1662" y="249"/>
                  </a:lnTo>
                  <a:lnTo>
                    <a:pt x="1662" y="193"/>
                  </a:lnTo>
                  <a:lnTo>
                    <a:pt x="1598" y="151"/>
                  </a:lnTo>
                  <a:lnTo>
                    <a:pt x="1560" y="100"/>
                  </a:lnTo>
                  <a:lnTo>
                    <a:pt x="1525" y="107"/>
                  </a:lnTo>
                  <a:lnTo>
                    <a:pt x="1505" y="107"/>
                  </a:lnTo>
                  <a:lnTo>
                    <a:pt x="1483" y="115"/>
                  </a:lnTo>
                  <a:lnTo>
                    <a:pt x="1360" y="33"/>
                  </a:lnTo>
                  <a:lnTo>
                    <a:pt x="1300" y="0"/>
                  </a:lnTo>
                  <a:lnTo>
                    <a:pt x="1267" y="7"/>
                  </a:lnTo>
                  <a:lnTo>
                    <a:pt x="1254" y="18"/>
                  </a:lnTo>
                  <a:lnTo>
                    <a:pt x="1236" y="9"/>
                  </a:lnTo>
                  <a:lnTo>
                    <a:pt x="1209" y="0"/>
                  </a:lnTo>
                  <a:lnTo>
                    <a:pt x="1189" y="16"/>
                  </a:lnTo>
                  <a:lnTo>
                    <a:pt x="1160" y="27"/>
                  </a:lnTo>
                  <a:lnTo>
                    <a:pt x="1118" y="29"/>
                  </a:lnTo>
                  <a:lnTo>
                    <a:pt x="1071" y="129"/>
                  </a:lnTo>
                  <a:lnTo>
                    <a:pt x="1040" y="127"/>
                  </a:lnTo>
                  <a:lnTo>
                    <a:pt x="1020" y="142"/>
                  </a:lnTo>
                  <a:lnTo>
                    <a:pt x="889" y="133"/>
                  </a:lnTo>
                  <a:lnTo>
                    <a:pt x="887" y="102"/>
                  </a:lnTo>
                  <a:lnTo>
                    <a:pt x="862" y="80"/>
                  </a:lnTo>
                  <a:lnTo>
                    <a:pt x="816" y="89"/>
                  </a:lnTo>
                  <a:lnTo>
                    <a:pt x="796" y="60"/>
                  </a:lnTo>
                  <a:lnTo>
                    <a:pt x="767" y="44"/>
                  </a:lnTo>
                  <a:lnTo>
                    <a:pt x="765" y="13"/>
                  </a:lnTo>
                  <a:lnTo>
                    <a:pt x="743" y="9"/>
                  </a:lnTo>
                  <a:lnTo>
                    <a:pt x="738" y="27"/>
                  </a:lnTo>
                  <a:lnTo>
                    <a:pt x="656" y="31"/>
                  </a:lnTo>
                  <a:lnTo>
                    <a:pt x="638" y="49"/>
                  </a:lnTo>
                  <a:lnTo>
                    <a:pt x="600" y="51"/>
                  </a:lnTo>
                  <a:lnTo>
                    <a:pt x="589" y="64"/>
                  </a:lnTo>
                  <a:lnTo>
                    <a:pt x="551" y="69"/>
                  </a:lnTo>
                  <a:lnTo>
                    <a:pt x="527" y="98"/>
                  </a:lnTo>
                  <a:lnTo>
                    <a:pt x="520" y="144"/>
                  </a:lnTo>
                  <a:lnTo>
                    <a:pt x="536" y="164"/>
                  </a:lnTo>
                  <a:lnTo>
                    <a:pt x="558" y="184"/>
                  </a:lnTo>
                  <a:lnTo>
                    <a:pt x="585" y="173"/>
                  </a:lnTo>
                  <a:lnTo>
                    <a:pt x="609" y="173"/>
                  </a:lnTo>
                  <a:lnTo>
                    <a:pt x="600" y="202"/>
                  </a:lnTo>
                  <a:lnTo>
                    <a:pt x="560" y="204"/>
                  </a:lnTo>
                  <a:lnTo>
                    <a:pt x="536" y="193"/>
                  </a:lnTo>
                  <a:lnTo>
                    <a:pt x="500" y="200"/>
                  </a:lnTo>
                  <a:lnTo>
                    <a:pt x="478" y="187"/>
                  </a:lnTo>
                  <a:lnTo>
                    <a:pt x="456" y="193"/>
                  </a:lnTo>
                  <a:lnTo>
                    <a:pt x="418" y="196"/>
                  </a:lnTo>
                  <a:lnTo>
                    <a:pt x="387" y="224"/>
                  </a:lnTo>
                  <a:lnTo>
                    <a:pt x="347" y="224"/>
                  </a:lnTo>
                  <a:lnTo>
                    <a:pt x="327" y="240"/>
                  </a:lnTo>
                  <a:lnTo>
                    <a:pt x="260" y="240"/>
                  </a:lnTo>
                  <a:lnTo>
                    <a:pt x="236" y="224"/>
                  </a:lnTo>
                  <a:lnTo>
                    <a:pt x="214" y="227"/>
                  </a:lnTo>
                  <a:lnTo>
                    <a:pt x="189" y="220"/>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41" name="Freeform 22">
              <a:extLst>
                <a:ext uri="{FF2B5EF4-FFF2-40B4-BE49-F238E27FC236}">
                  <a16:creationId xmlns:a16="http://schemas.microsoft.com/office/drawing/2014/main" id="{42CA1AFE-A077-4850-8988-A5CD4D742C5A}"/>
                </a:ext>
              </a:extLst>
            </p:cNvPr>
            <p:cNvSpPr>
              <a:spLocks/>
            </p:cNvSpPr>
            <p:nvPr/>
          </p:nvSpPr>
          <p:spPr bwMode="auto">
            <a:xfrm>
              <a:off x="2278395" y="4894975"/>
              <a:ext cx="1105294" cy="430832"/>
            </a:xfrm>
            <a:custGeom>
              <a:avLst/>
              <a:gdLst/>
              <a:ahLst/>
              <a:cxnLst>
                <a:cxn ang="0">
                  <a:pos x="356" y="92"/>
                </a:cxn>
                <a:cxn ang="0">
                  <a:pos x="336" y="68"/>
                </a:cxn>
                <a:cxn ang="0">
                  <a:pos x="268" y="38"/>
                </a:cxn>
                <a:cxn ang="0">
                  <a:pos x="221" y="30"/>
                </a:cxn>
                <a:cxn ang="0">
                  <a:pos x="186" y="7"/>
                </a:cxn>
                <a:cxn ang="0">
                  <a:pos x="113" y="0"/>
                </a:cxn>
                <a:cxn ang="0">
                  <a:pos x="83" y="8"/>
                </a:cxn>
                <a:cxn ang="0">
                  <a:pos x="36" y="32"/>
                </a:cxn>
                <a:cxn ang="0">
                  <a:pos x="8" y="68"/>
                </a:cxn>
                <a:cxn ang="0">
                  <a:pos x="26" y="108"/>
                </a:cxn>
                <a:cxn ang="0">
                  <a:pos x="5" y="153"/>
                </a:cxn>
                <a:cxn ang="0">
                  <a:pos x="36" y="207"/>
                </a:cxn>
                <a:cxn ang="0">
                  <a:pos x="63" y="237"/>
                </a:cxn>
                <a:cxn ang="0">
                  <a:pos x="111" y="232"/>
                </a:cxn>
                <a:cxn ang="0">
                  <a:pos x="140" y="178"/>
                </a:cxn>
                <a:cxn ang="0">
                  <a:pos x="203" y="170"/>
                </a:cxn>
                <a:cxn ang="0">
                  <a:pos x="246" y="157"/>
                </a:cxn>
                <a:cxn ang="0">
                  <a:pos x="315" y="190"/>
                </a:cxn>
                <a:cxn ang="0">
                  <a:pos x="381" y="222"/>
                </a:cxn>
                <a:cxn ang="0">
                  <a:pos x="410" y="252"/>
                </a:cxn>
                <a:cxn ang="0">
                  <a:pos x="401" y="278"/>
                </a:cxn>
                <a:cxn ang="0">
                  <a:pos x="435" y="298"/>
                </a:cxn>
                <a:cxn ang="0">
                  <a:pos x="511" y="312"/>
                </a:cxn>
                <a:cxn ang="0">
                  <a:pos x="561" y="282"/>
                </a:cxn>
                <a:cxn ang="0">
                  <a:pos x="616" y="247"/>
                </a:cxn>
                <a:cxn ang="0">
                  <a:pos x="715" y="205"/>
                </a:cxn>
                <a:cxn ang="0">
                  <a:pos x="753" y="165"/>
                </a:cxn>
                <a:cxn ang="0">
                  <a:pos x="811" y="110"/>
                </a:cxn>
                <a:cxn ang="0">
                  <a:pos x="791" y="72"/>
                </a:cxn>
                <a:cxn ang="0">
                  <a:pos x="750" y="107"/>
                </a:cxn>
                <a:cxn ang="0">
                  <a:pos x="721" y="82"/>
                </a:cxn>
                <a:cxn ang="0">
                  <a:pos x="696" y="95"/>
                </a:cxn>
                <a:cxn ang="0">
                  <a:pos x="668" y="83"/>
                </a:cxn>
                <a:cxn ang="0">
                  <a:pos x="638" y="70"/>
                </a:cxn>
                <a:cxn ang="0">
                  <a:pos x="620" y="38"/>
                </a:cxn>
                <a:cxn ang="0">
                  <a:pos x="581" y="22"/>
                </a:cxn>
                <a:cxn ang="0">
                  <a:pos x="571" y="53"/>
                </a:cxn>
                <a:cxn ang="0">
                  <a:pos x="553" y="80"/>
                </a:cxn>
                <a:cxn ang="0">
                  <a:pos x="528" y="98"/>
                </a:cxn>
                <a:cxn ang="0">
                  <a:pos x="460" y="113"/>
                </a:cxn>
                <a:cxn ang="0">
                  <a:pos x="426" y="102"/>
                </a:cxn>
                <a:cxn ang="0">
                  <a:pos x="398" y="115"/>
                </a:cxn>
              </a:cxnLst>
              <a:rect l="0" t="0" r="r" b="b"/>
              <a:pathLst>
                <a:path w="813" h="312">
                  <a:moveTo>
                    <a:pt x="368" y="115"/>
                  </a:moveTo>
                  <a:lnTo>
                    <a:pt x="356" y="92"/>
                  </a:lnTo>
                  <a:lnTo>
                    <a:pt x="343" y="78"/>
                  </a:lnTo>
                  <a:lnTo>
                    <a:pt x="336" y="68"/>
                  </a:lnTo>
                  <a:lnTo>
                    <a:pt x="298" y="53"/>
                  </a:lnTo>
                  <a:lnTo>
                    <a:pt x="268" y="38"/>
                  </a:lnTo>
                  <a:lnTo>
                    <a:pt x="238" y="28"/>
                  </a:lnTo>
                  <a:lnTo>
                    <a:pt x="221" y="30"/>
                  </a:lnTo>
                  <a:lnTo>
                    <a:pt x="201" y="10"/>
                  </a:lnTo>
                  <a:lnTo>
                    <a:pt x="186" y="7"/>
                  </a:lnTo>
                  <a:lnTo>
                    <a:pt x="176" y="0"/>
                  </a:lnTo>
                  <a:lnTo>
                    <a:pt x="113" y="0"/>
                  </a:lnTo>
                  <a:lnTo>
                    <a:pt x="110" y="10"/>
                  </a:lnTo>
                  <a:lnTo>
                    <a:pt x="83" y="8"/>
                  </a:lnTo>
                  <a:lnTo>
                    <a:pt x="66" y="32"/>
                  </a:lnTo>
                  <a:lnTo>
                    <a:pt x="36" y="32"/>
                  </a:lnTo>
                  <a:lnTo>
                    <a:pt x="25" y="45"/>
                  </a:lnTo>
                  <a:lnTo>
                    <a:pt x="8" y="68"/>
                  </a:lnTo>
                  <a:lnTo>
                    <a:pt x="15" y="102"/>
                  </a:lnTo>
                  <a:lnTo>
                    <a:pt x="26" y="108"/>
                  </a:lnTo>
                  <a:lnTo>
                    <a:pt x="0" y="120"/>
                  </a:lnTo>
                  <a:lnTo>
                    <a:pt x="5" y="153"/>
                  </a:lnTo>
                  <a:lnTo>
                    <a:pt x="15" y="167"/>
                  </a:lnTo>
                  <a:lnTo>
                    <a:pt x="36" y="207"/>
                  </a:lnTo>
                  <a:lnTo>
                    <a:pt x="41" y="220"/>
                  </a:lnTo>
                  <a:lnTo>
                    <a:pt x="63" y="237"/>
                  </a:lnTo>
                  <a:lnTo>
                    <a:pt x="91" y="242"/>
                  </a:lnTo>
                  <a:lnTo>
                    <a:pt x="111" y="232"/>
                  </a:lnTo>
                  <a:lnTo>
                    <a:pt x="141" y="232"/>
                  </a:lnTo>
                  <a:lnTo>
                    <a:pt x="140" y="178"/>
                  </a:lnTo>
                  <a:lnTo>
                    <a:pt x="163" y="165"/>
                  </a:lnTo>
                  <a:lnTo>
                    <a:pt x="203" y="170"/>
                  </a:lnTo>
                  <a:lnTo>
                    <a:pt x="223" y="155"/>
                  </a:lnTo>
                  <a:lnTo>
                    <a:pt x="246" y="157"/>
                  </a:lnTo>
                  <a:lnTo>
                    <a:pt x="253" y="170"/>
                  </a:lnTo>
                  <a:lnTo>
                    <a:pt x="315" y="190"/>
                  </a:lnTo>
                  <a:lnTo>
                    <a:pt x="373" y="207"/>
                  </a:lnTo>
                  <a:lnTo>
                    <a:pt x="381" y="222"/>
                  </a:lnTo>
                  <a:lnTo>
                    <a:pt x="408" y="227"/>
                  </a:lnTo>
                  <a:lnTo>
                    <a:pt x="410" y="252"/>
                  </a:lnTo>
                  <a:lnTo>
                    <a:pt x="396" y="263"/>
                  </a:lnTo>
                  <a:lnTo>
                    <a:pt x="401" y="278"/>
                  </a:lnTo>
                  <a:lnTo>
                    <a:pt x="410" y="287"/>
                  </a:lnTo>
                  <a:lnTo>
                    <a:pt x="435" y="298"/>
                  </a:lnTo>
                  <a:lnTo>
                    <a:pt x="490" y="298"/>
                  </a:lnTo>
                  <a:lnTo>
                    <a:pt x="511" y="312"/>
                  </a:lnTo>
                  <a:lnTo>
                    <a:pt x="533" y="292"/>
                  </a:lnTo>
                  <a:lnTo>
                    <a:pt x="561" y="282"/>
                  </a:lnTo>
                  <a:lnTo>
                    <a:pt x="590" y="272"/>
                  </a:lnTo>
                  <a:lnTo>
                    <a:pt x="616" y="247"/>
                  </a:lnTo>
                  <a:lnTo>
                    <a:pt x="675" y="243"/>
                  </a:lnTo>
                  <a:lnTo>
                    <a:pt x="715" y="205"/>
                  </a:lnTo>
                  <a:lnTo>
                    <a:pt x="748" y="188"/>
                  </a:lnTo>
                  <a:lnTo>
                    <a:pt x="753" y="165"/>
                  </a:lnTo>
                  <a:lnTo>
                    <a:pt x="770" y="160"/>
                  </a:lnTo>
                  <a:lnTo>
                    <a:pt x="811" y="110"/>
                  </a:lnTo>
                  <a:lnTo>
                    <a:pt x="813" y="82"/>
                  </a:lnTo>
                  <a:lnTo>
                    <a:pt x="791" y="72"/>
                  </a:lnTo>
                  <a:lnTo>
                    <a:pt x="791" y="105"/>
                  </a:lnTo>
                  <a:lnTo>
                    <a:pt x="750" y="107"/>
                  </a:lnTo>
                  <a:lnTo>
                    <a:pt x="743" y="80"/>
                  </a:lnTo>
                  <a:lnTo>
                    <a:pt x="721" y="82"/>
                  </a:lnTo>
                  <a:lnTo>
                    <a:pt x="715" y="102"/>
                  </a:lnTo>
                  <a:lnTo>
                    <a:pt x="696" y="95"/>
                  </a:lnTo>
                  <a:lnTo>
                    <a:pt x="678" y="82"/>
                  </a:lnTo>
                  <a:lnTo>
                    <a:pt x="668" y="83"/>
                  </a:lnTo>
                  <a:lnTo>
                    <a:pt x="650" y="75"/>
                  </a:lnTo>
                  <a:lnTo>
                    <a:pt x="638" y="70"/>
                  </a:lnTo>
                  <a:lnTo>
                    <a:pt x="640" y="55"/>
                  </a:lnTo>
                  <a:lnTo>
                    <a:pt x="620" y="38"/>
                  </a:lnTo>
                  <a:lnTo>
                    <a:pt x="611" y="18"/>
                  </a:lnTo>
                  <a:lnTo>
                    <a:pt x="581" y="22"/>
                  </a:lnTo>
                  <a:lnTo>
                    <a:pt x="580" y="43"/>
                  </a:lnTo>
                  <a:lnTo>
                    <a:pt x="571" y="53"/>
                  </a:lnTo>
                  <a:lnTo>
                    <a:pt x="573" y="72"/>
                  </a:lnTo>
                  <a:lnTo>
                    <a:pt x="553" y="80"/>
                  </a:lnTo>
                  <a:lnTo>
                    <a:pt x="535" y="82"/>
                  </a:lnTo>
                  <a:lnTo>
                    <a:pt x="528" y="98"/>
                  </a:lnTo>
                  <a:lnTo>
                    <a:pt x="473" y="100"/>
                  </a:lnTo>
                  <a:lnTo>
                    <a:pt x="460" y="113"/>
                  </a:lnTo>
                  <a:lnTo>
                    <a:pt x="438" y="117"/>
                  </a:lnTo>
                  <a:lnTo>
                    <a:pt x="426" y="102"/>
                  </a:lnTo>
                  <a:lnTo>
                    <a:pt x="413" y="92"/>
                  </a:lnTo>
                  <a:lnTo>
                    <a:pt x="398" y="115"/>
                  </a:lnTo>
                  <a:lnTo>
                    <a:pt x="368" y="115"/>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42" name="Freeform 25">
              <a:extLst>
                <a:ext uri="{FF2B5EF4-FFF2-40B4-BE49-F238E27FC236}">
                  <a16:creationId xmlns:a16="http://schemas.microsoft.com/office/drawing/2014/main" id="{015E6000-F43C-4131-9DD8-7192C72F6151}"/>
                </a:ext>
              </a:extLst>
            </p:cNvPr>
            <p:cNvSpPr>
              <a:spLocks/>
            </p:cNvSpPr>
            <p:nvPr/>
          </p:nvSpPr>
          <p:spPr bwMode="auto">
            <a:xfrm>
              <a:off x="2945188" y="4002370"/>
              <a:ext cx="598982" cy="354663"/>
            </a:xfrm>
            <a:custGeom>
              <a:avLst/>
              <a:gdLst/>
              <a:ahLst/>
              <a:cxnLst>
                <a:cxn ang="0">
                  <a:pos x="0" y="58"/>
                </a:cxn>
                <a:cxn ang="0">
                  <a:pos x="66" y="63"/>
                </a:cxn>
                <a:cxn ang="0">
                  <a:pos x="76" y="43"/>
                </a:cxn>
                <a:cxn ang="0">
                  <a:pos x="136" y="46"/>
                </a:cxn>
                <a:cxn ang="0">
                  <a:pos x="126" y="63"/>
                </a:cxn>
                <a:cxn ang="0">
                  <a:pos x="153" y="93"/>
                </a:cxn>
                <a:cxn ang="0">
                  <a:pos x="155" y="120"/>
                </a:cxn>
                <a:cxn ang="0">
                  <a:pos x="168" y="135"/>
                </a:cxn>
                <a:cxn ang="0">
                  <a:pos x="170" y="145"/>
                </a:cxn>
                <a:cxn ang="0">
                  <a:pos x="180" y="151"/>
                </a:cxn>
                <a:cxn ang="0">
                  <a:pos x="185" y="170"/>
                </a:cxn>
                <a:cxn ang="0">
                  <a:pos x="218" y="171"/>
                </a:cxn>
                <a:cxn ang="0">
                  <a:pos x="238" y="183"/>
                </a:cxn>
                <a:cxn ang="0">
                  <a:pos x="270" y="180"/>
                </a:cxn>
                <a:cxn ang="0">
                  <a:pos x="311" y="205"/>
                </a:cxn>
                <a:cxn ang="0">
                  <a:pos x="358" y="243"/>
                </a:cxn>
                <a:cxn ang="0">
                  <a:pos x="390" y="250"/>
                </a:cxn>
                <a:cxn ang="0">
                  <a:pos x="406" y="256"/>
                </a:cxn>
                <a:cxn ang="0">
                  <a:pos x="423" y="238"/>
                </a:cxn>
                <a:cxn ang="0">
                  <a:pos x="440" y="231"/>
                </a:cxn>
                <a:cxn ang="0">
                  <a:pos x="441" y="198"/>
                </a:cxn>
                <a:cxn ang="0">
                  <a:pos x="396" y="168"/>
                </a:cxn>
                <a:cxn ang="0">
                  <a:pos x="386" y="153"/>
                </a:cxn>
                <a:cxn ang="0">
                  <a:pos x="368" y="145"/>
                </a:cxn>
                <a:cxn ang="0">
                  <a:pos x="315" y="101"/>
                </a:cxn>
                <a:cxn ang="0">
                  <a:pos x="283" y="90"/>
                </a:cxn>
                <a:cxn ang="0">
                  <a:pos x="258" y="65"/>
                </a:cxn>
                <a:cxn ang="0">
                  <a:pos x="223" y="71"/>
                </a:cxn>
                <a:cxn ang="0">
                  <a:pos x="201" y="35"/>
                </a:cxn>
                <a:cxn ang="0">
                  <a:pos x="148" y="25"/>
                </a:cxn>
                <a:cxn ang="0">
                  <a:pos x="145" y="0"/>
                </a:cxn>
                <a:cxn ang="0">
                  <a:pos x="53" y="3"/>
                </a:cxn>
                <a:cxn ang="0">
                  <a:pos x="28" y="26"/>
                </a:cxn>
                <a:cxn ang="0">
                  <a:pos x="0" y="40"/>
                </a:cxn>
                <a:cxn ang="0">
                  <a:pos x="0" y="58"/>
                </a:cxn>
              </a:cxnLst>
              <a:rect l="0" t="0" r="r" b="b"/>
              <a:pathLst>
                <a:path w="441" h="256">
                  <a:moveTo>
                    <a:pt x="0" y="58"/>
                  </a:moveTo>
                  <a:lnTo>
                    <a:pt x="66" y="63"/>
                  </a:lnTo>
                  <a:lnTo>
                    <a:pt x="76" y="43"/>
                  </a:lnTo>
                  <a:lnTo>
                    <a:pt x="136" y="46"/>
                  </a:lnTo>
                  <a:lnTo>
                    <a:pt x="126" y="63"/>
                  </a:lnTo>
                  <a:lnTo>
                    <a:pt x="153" y="93"/>
                  </a:lnTo>
                  <a:lnTo>
                    <a:pt x="155" y="120"/>
                  </a:lnTo>
                  <a:lnTo>
                    <a:pt x="168" y="135"/>
                  </a:lnTo>
                  <a:lnTo>
                    <a:pt x="170" y="145"/>
                  </a:lnTo>
                  <a:lnTo>
                    <a:pt x="180" y="151"/>
                  </a:lnTo>
                  <a:lnTo>
                    <a:pt x="185" y="170"/>
                  </a:lnTo>
                  <a:lnTo>
                    <a:pt x="218" y="171"/>
                  </a:lnTo>
                  <a:lnTo>
                    <a:pt x="238" y="183"/>
                  </a:lnTo>
                  <a:lnTo>
                    <a:pt x="270" y="180"/>
                  </a:lnTo>
                  <a:lnTo>
                    <a:pt x="311" y="205"/>
                  </a:lnTo>
                  <a:lnTo>
                    <a:pt x="358" y="243"/>
                  </a:lnTo>
                  <a:lnTo>
                    <a:pt x="390" y="250"/>
                  </a:lnTo>
                  <a:lnTo>
                    <a:pt x="406" y="256"/>
                  </a:lnTo>
                  <a:lnTo>
                    <a:pt x="423" y="238"/>
                  </a:lnTo>
                  <a:lnTo>
                    <a:pt x="440" y="231"/>
                  </a:lnTo>
                  <a:lnTo>
                    <a:pt x="441" y="198"/>
                  </a:lnTo>
                  <a:lnTo>
                    <a:pt x="396" y="168"/>
                  </a:lnTo>
                  <a:lnTo>
                    <a:pt x="386" y="153"/>
                  </a:lnTo>
                  <a:lnTo>
                    <a:pt x="368" y="145"/>
                  </a:lnTo>
                  <a:lnTo>
                    <a:pt x="315" y="101"/>
                  </a:lnTo>
                  <a:lnTo>
                    <a:pt x="283" y="90"/>
                  </a:lnTo>
                  <a:lnTo>
                    <a:pt x="258" y="65"/>
                  </a:lnTo>
                  <a:lnTo>
                    <a:pt x="223" y="71"/>
                  </a:lnTo>
                  <a:lnTo>
                    <a:pt x="201" y="35"/>
                  </a:lnTo>
                  <a:lnTo>
                    <a:pt x="148" y="25"/>
                  </a:lnTo>
                  <a:lnTo>
                    <a:pt x="145" y="0"/>
                  </a:lnTo>
                  <a:lnTo>
                    <a:pt x="53" y="3"/>
                  </a:lnTo>
                  <a:lnTo>
                    <a:pt x="28" y="26"/>
                  </a:lnTo>
                  <a:lnTo>
                    <a:pt x="0" y="40"/>
                  </a:lnTo>
                  <a:lnTo>
                    <a:pt x="0" y="58"/>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43" name="Freeform 31">
              <a:extLst>
                <a:ext uri="{FF2B5EF4-FFF2-40B4-BE49-F238E27FC236}">
                  <a16:creationId xmlns:a16="http://schemas.microsoft.com/office/drawing/2014/main" id="{DA807E7C-4200-42B1-948C-3CA58F02999A}"/>
                </a:ext>
              </a:extLst>
            </p:cNvPr>
            <p:cNvSpPr>
              <a:spLocks/>
            </p:cNvSpPr>
            <p:nvPr/>
          </p:nvSpPr>
          <p:spPr bwMode="auto">
            <a:xfrm>
              <a:off x="3514788" y="4185652"/>
              <a:ext cx="58769" cy="47606"/>
            </a:xfrm>
            <a:custGeom>
              <a:avLst/>
              <a:gdLst/>
              <a:ahLst/>
              <a:cxnLst>
                <a:cxn ang="0">
                  <a:pos x="0" y="0"/>
                </a:cxn>
                <a:cxn ang="0">
                  <a:pos x="12" y="27"/>
                </a:cxn>
                <a:cxn ang="0">
                  <a:pos x="18" y="35"/>
                </a:cxn>
                <a:cxn ang="0">
                  <a:pos x="42" y="25"/>
                </a:cxn>
                <a:cxn ang="0">
                  <a:pos x="43" y="12"/>
                </a:cxn>
                <a:cxn ang="0">
                  <a:pos x="22" y="8"/>
                </a:cxn>
                <a:cxn ang="0">
                  <a:pos x="0" y="0"/>
                </a:cxn>
              </a:cxnLst>
              <a:rect l="0" t="0" r="r" b="b"/>
              <a:pathLst>
                <a:path w="43" h="35">
                  <a:moveTo>
                    <a:pt x="0" y="0"/>
                  </a:moveTo>
                  <a:lnTo>
                    <a:pt x="12" y="27"/>
                  </a:lnTo>
                  <a:lnTo>
                    <a:pt x="18" y="35"/>
                  </a:lnTo>
                  <a:lnTo>
                    <a:pt x="42" y="25"/>
                  </a:lnTo>
                  <a:lnTo>
                    <a:pt x="43" y="12"/>
                  </a:lnTo>
                  <a:lnTo>
                    <a:pt x="22" y="8"/>
                  </a:lnTo>
                  <a:lnTo>
                    <a:pt x="0" y="0"/>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44" name="Freeform 32">
              <a:extLst>
                <a:ext uri="{FF2B5EF4-FFF2-40B4-BE49-F238E27FC236}">
                  <a16:creationId xmlns:a16="http://schemas.microsoft.com/office/drawing/2014/main" id="{1017D434-CAC9-4DBA-8A44-CE4B729C0BE9}"/>
                </a:ext>
              </a:extLst>
            </p:cNvPr>
            <p:cNvSpPr>
              <a:spLocks/>
            </p:cNvSpPr>
            <p:nvPr/>
          </p:nvSpPr>
          <p:spPr bwMode="auto">
            <a:xfrm>
              <a:off x="3132794" y="3697693"/>
              <a:ext cx="427200" cy="371323"/>
            </a:xfrm>
            <a:custGeom>
              <a:avLst/>
              <a:gdLst/>
              <a:ahLst/>
              <a:cxnLst>
                <a:cxn ang="0">
                  <a:pos x="3" y="3"/>
                </a:cxn>
                <a:cxn ang="0">
                  <a:pos x="0" y="48"/>
                </a:cxn>
                <a:cxn ang="0">
                  <a:pos x="10" y="55"/>
                </a:cxn>
                <a:cxn ang="0">
                  <a:pos x="15" y="87"/>
                </a:cxn>
                <a:cxn ang="0">
                  <a:pos x="37" y="112"/>
                </a:cxn>
                <a:cxn ang="0">
                  <a:pos x="38" y="162"/>
                </a:cxn>
                <a:cxn ang="0">
                  <a:pos x="53" y="183"/>
                </a:cxn>
                <a:cxn ang="0">
                  <a:pos x="60" y="195"/>
                </a:cxn>
                <a:cxn ang="0">
                  <a:pos x="70" y="195"/>
                </a:cxn>
                <a:cxn ang="0">
                  <a:pos x="95" y="222"/>
                </a:cxn>
                <a:cxn ang="0">
                  <a:pos x="120" y="223"/>
                </a:cxn>
                <a:cxn ang="0">
                  <a:pos x="140" y="233"/>
                </a:cxn>
                <a:cxn ang="0">
                  <a:pos x="163" y="232"/>
                </a:cxn>
                <a:cxn ang="0">
                  <a:pos x="177" y="248"/>
                </a:cxn>
                <a:cxn ang="0">
                  <a:pos x="197" y="248"/>
                </a:cxn>
                <a:cxn ang="0">
                  <a:pos x="220" y="265"/>
                </a:cxn>
                <a:cxn ang="0">
                  <a:pos x="233" y="255"/>
                </a:cxn>
                <a:cxn ang="0">
                  <a:pos x="240" y="245"/>
                </a:cxn>
                <a:cxn ang="0">
                  <a:pos x="262" y="238"/>
                </a:cxn>
                <a:cxn ang="0">
                  <a:pos x="285" y="218"/>
                </a:cxn>
                <a:cxn ang="0">
                  <a:pos x="302" y="215"/>
                </a:cxn>
                <a:cxn ang="0">
                  <a:pos x="307" y="200"/>
                </a:cxn>
                <a:cxn ang="0">
                  <a:pos x="312" y="185"/>
                </a:cxn>
                <a:cxn ang="0">
                  <a:pos x="273" y="182"/>
                </a:cxn>
                <a:cxn ang="0">
                  <a:pos x="247" y="170"/>
                </a:cxn>
                <a:cxn ang="0">
                  <a:pos x="237" y="160"/>
                </a:cxn>
                <a:cxn ang="0">
                  <a:pos x="213" y="155"/>
                </a:cxn>
                <a:cxn ang="0">
                  <a:pos x="213" y="145"/>
                </a:cxn>
                <a:cxn ang="0">
                  <a:pos x="170" y="113"/>
                </a:cxn>
                <a:cxn ang="0">
                  <a:pos x="145" y="103"/>
                </a:cxn>
                <a:cxn ang="0">
                  <a:pos x="135" y="88"/>
                </a:cxn>
                <a:cxn ang="0">
                  <a:pos x="98" y="88"/>
                </a:cxn>
                <a:cxn ang="0">
                  <a:pos x="82" y="72"/>
                </a:cxn>
                <a:cxn ang="0">
                  <a:pos x="82" y="47"/>
                </a:cxn>
                <a:cxn ang="0">
                  <a:pos x="65" y="42"/>
                </a:cxn>
                <a:cxn ang="0">
                  <a:pos x="60" y="33"/>
                </a:cxn>
                <a:cxn ang="0">
                  <a:pos x="50" y="48"/>
                </a:cxn>
                <a:cxn ang="0">
                  <a:pos x="37" y="38"/>
                </a:cxn>
                <a:cxn ang="0">
                  <a:pos x="27" y="0"/>
                </a:cxn>
                <a:cxn ang="0">
                  <a:pos x="3" y="3"/>
                </a:cxn>
              </a:cxnLst>
              <a:rect l="0" t="0" r="r" b="b"/>
              <a:pathLst>
                <a:path w="312" h="265">
                  <a:moveTo>
                    <a:pt x="3" y="3"/>
                  </a:moveTo>
                  <a:lnTo>
                    <a:pt x="0" y="48"/>
                  </a:lnTo>
                  <a:lnTo>
                    <a:pt x="10" y="55"/>
                  </a:lnTo>
                  <a:lnTo>
                    <a:pt x="15" y="87"/>
                  </a:lnTo>
                  <a:lnTo>
                    <a:pt x="37" y="112"/>
                  </a:lnTo>
                  <a:lnTo>
                    <a:pt x="38" y="162"/>
                  </a:lnTo>
                  <a:lnTo>
                    <a:pt x="53" y="183"/>
                  </a:lnTo>
                  <a:lnTo>
                    <a:pt x="60" y="195"/>
                  </a:lnTo>
                  <a:lnTo>
                    <a:pt x="70" y="195"/>
                  </a:lnTo>
                  <a:lnTo>
                    <a:pt x="95" y="222"/>
                  </a:lnTo>
                  <a:lnTo>
                    <a:pt x="120" y="223"/>
                  </a:lnTo>
                  <a:lnTo>
                    <a:pt x="140" y="233"/>
                  </a:lnTo>
                  <a:lnTo>
                    <a:pt x="163" y="232"/>
                  </a:lnTo>
                  <a:lnTo>
                    <a:pt x="177" y="248"/>
                  </a:lnTo>
                  <a:lnTo>
                    <a:pt x="197" y="248"/>
                  </a:lnTo>
                  <a:lnTo>
                    <a:pt x="220" y="265"/>
                  </a:lnTo>
                  <a:lnTo>
                    <a:pt x="233" y="255"/>
                  </a:lnTo>
                  <a:lnTo>
                    <a:pt x="240" y="245"/>
                  </a:lnTo>
                  <a:lnTo>
                    <a:pt x="262" y="238"/>
                  </a:lnTo>
                  <a:lnTo>
                    <a:pt x="285" y="218"/>
                  </a:lnTo>
                  <a:lnTo>
                    <a:pt x="302" y="215"/>
                  </a:lnTo>
                  <a:lnTo>
                    <a:pt x="307" y="200"/>
                  </a:lnTo>
                  <a:lnTo>
                    <a:pt x="312" y="185"/>
                  </a:lnTo>
                  <a:lnTo>
                    <a:pt x="273" y="182"/>
                  </a:lnTo>
                  <a:lnTo>
                    <a:pt x="247" y="170"/>
                  </a:lnTo>
                  <a:lnTo>
                    <a:pt x="237" y="160"/>
                  </a:lnTo>
                  <a:lnTo>
                    <a:pt x="213" y="155"/>
                  </a:lnTo>
                  <a:lnTo>
                    <a:pt x="213" y="145"/>
                  </a:lnTo>
                  <a:lnTo>
                    <a:pt x="170" y="113"/>
                  </a:lnTo>
                  <a:lnTo>
                    <a:pt x="145" y="103"/>
                  </a:lnTo>
                  <a:lnTo>
                    <a:pt x="135" y="88"/>
                  </a:lnTo>
                  <a:lnTo>
                    <a:pt x="98" y="88"/>
                  </a:lnTo>
                  <a:lnTo>
                    <a:pt x="82" y="72"/>
                  </a:lnTo>
                  <a:lnTo>
                    <a:pt x="82" y="47"/>
                  </a:lnTo>
                  <a:lnTo>
                    <a:pt x="65" y="42"/>
                  </a:lnTo>
                  <a:lnTo>
                    <a:pt x="60" y="33"/>
                  </a:lnTo>
                  <a:lnTo>
                    <a:pt x="50" y="48"/>
                  </a:lnTo>
                  <a:lnTo>
                    <a:pt x="37" y="38"/>
                  </a:lnTo>
                  <a:lnTo>
                    <a:pt x="27" y="0"/>
                  </a:lnTo>
                  <a:lnTo>
                    <a:pt x="3" y="3"/>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45" name="Freeform 34">
              <a:extLst>
                <a:ext uri="{FF2B5EF4-FFF2-40B4-BE49-F238E27FC236}">
                  <a16:creationId xmlns:a16="http://schemas.microsoft.com/office/drawing/2014/main" id="{5C3F278B-64F1-4D10-9465-1CE104487EFF}"/>
                </a:ext>
              </a:extLst>
            </p:cNvPr>
            <p:cNvSpPr>
              <a:spLocks/>
            </p:cNvSpPr>
            <p:nvPr/>
          </p:nvSpPr>
          <p:spPr bwMode="auto">
            <a:xfrm>
              <a:off x="3469580" y="4007130"/>
              <a:ext cx="431719" cy="252310"/>
            </a:xfrm>
            <a:custGeom>
              <a:avLst/>
              <a:gdLst/>
              <a:ahLst/>
              <a:cxnLst>
                <a:cxn ang="0">
                  <a:pos x="0" y="56"/>
                </a:cxn>
                <a:cxn ang="0">
                  <a:pos x="76" y="5"/>
                </a:cxn>
                <a:cxn ang="0">
                  <a:pos x="168" y="0"/>
                </a:cxn>
                <a:cxn ang="0">
                  <a:pos x="181" y="16"/>
                </a:cxn>
                <a:cxn ang="0">
                  <a:pos x="263" y="13"/>
                </a:cxn>
                <a:cxn ang="0">
                  <a:pos x="305" y="43"/>
                </a:cxn>
                <a:cxn ang="0">
                  <a:pos x="318" y="93"/>
                </a:cxn>
                <a:cxn ang="0">
                  <a:pos x="311" y="140"/>
                </a:cxn>
                <a:cxn ang="0">
                  <a:pos x="283" y="155"/>
                </a:cxn>
                <a:cxn ang="0">
                  <a:pos x="276" y="168"/>
                </a:cxn>
                <a:cxn ang="0">
                  <a:pos x="253" y="173"/>
                </a:cxn>
                <a:cxn ang="0">
                  <a:pos x="233" y="183"/>
                </a:cxn>
                <a:cxn ang="0">
                  <a:pos x="203" y="165"/>
                </a:cxn>
                <a:cxn ang="0">
                  <a:pos x="138" y="165"/>
                </a:cxn>
                <a:cxn ang="0">
                  <a:pos x="101" y="135"/>
                </a:cxn>
                <a:cxn ang="0">
                  <a:pos x="90" y="115"/>
                </a:cxn>
                <a:cxn ang="0">
                  <a:pos x="68" y="111"/>
                </a:cxn>
                <a:cxn ang="0">
                  <a:pos x="26" y="83"/>
                </a:cxn>
                <a:cxn ang="0">
                  <a:pos x="8" y="83"/>
                </a:cxn>
                <a:cxn ang="0">
                  <a:pos x="0" y="56"/>
                </a:cxn>
              </a:cxnLst>
              <a:rect l="0" t="0" r="r" b="b"/>
              <a:pathLst>
                <a:path w="318" h="183">
                  <a:moveTo>
                    <a:pt x="0" y="56"/>
                  </a:moveTo>
                  <a:lnTo>
                    <a:pt x="76" y="5"/>
                  </a:lnTo>
                  <a:lnTo>
                    <a:pt x="168" y="0"/>
                  </a:lnTo>
                  <a:lnTo>
                    <a:pt x="181" y="16"/>
                  </a:lnTo>
                  <a:lnTo>
                    <a:pt x="263" y="13"/>
                  </a:lnTo>
                  <a:lnTo>
                    <a:pt x="305" y="43"/>
                  </a:lnTo>
                  <a:lnTo>
                    <a:pt x="318" y="93"/>
                  </a:lnTo>
                  <a:lnTo>
                    <a:pt x="311" y="140"/>
                  </a:lnTo>
                  <a:lnTo>
                    <a:pt x="283" y="155"/>
                  </a:lnTo>
                  <a:lnTo>
                    <a:pt x="276" y="168"/>
                  </a:lnTo>
                  <a:lnTo>
                    <a:pt x="253" y="173"/>
                  </a:lnTo>
                  <a:lnTo>
                    <a:pt x="233" y="183"/>
                  </a:lnTo>
                  <a:lnTo>
                    <a:pt x="203" y="165"/>
                  </a:lnTo>
                  <a:lnTo>
                    <a:pt x="138" y="165"/>
                  </a:lnTo>
                  <a:lnTo>
                    <a:pt x="101" y="135"/>
                  </a:lnTo>
                  <a:lnTo>
                    <a:pt x="90" y="115"/>
                  </a:lnTo>
                  <a:lnTo>
                    <a:pt x="68" y="111"/>
                  </a:lnTo>
                  <a:lnTo>
                    <a:pt x="26" y="83"/>
                  </a:lnTo>
                  <a:lnTo>
                    <a:pt x="8" y="83"/>
                  </a:lnTo>
                  <a:lnTo>
                    <a:pt x="0" y="56"/>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46" name="Freeform 36">
              <a:extLst>
                <a:ext uri="{FF2B5EF4-FFF2-40B4-BE49-F238E27FC236}">
                  <a16:creationId xmlns:a16="http://schemas.microsoft.com/office/drawing/2014/main" id="{3CE24CCE-7F42-4257-B087-E403001493A8}"/>
                </a:ext>
              </a:extLst>
            </p:cNvPr>
            <p:cNvSpPr>
              <a:spLocks/>
            </p:cNvSpPr>
            <p:nvPr/>
          </p:nvSpPr>
          <p:spPr bwMode="auto">
            <a:xfrm>
              <a:off x="3905821" y="3964286"/>
              <a:ext cx="325485" cy="266591"/>
            </a:xfrm>
            <a:custGeom>
              <a:avLst/>
              <a:gdLst/>
              <a:ahLst/>
              <a:cxnLst>
                <a:cxn ang="0">
                  <a:pos x="15" y="53"/>
                </a:cxn>
                <a:cxn ang="0">
                  <a:pos x="23" y="118"/>
                </a:cxn>
                <a:cxn ang="0">
                  <a:pos x="36" y="137"/>
                </a:cxn>
                <a:cxn ang="0">
                  <a:pos x="20" y="168"/>
                </a:cxn>
                <a:cxn ang="0">
                  <a:pos x="0" y="182"/>
                </a:cxn>
                <a:cxn ang="0">
                  <a:pos x="10" y="192"/>
                </a:cxn>
                <a:cxn ang="0">
                  <a:pos x="35" y="165"/>
                </a:cxn>
                <a:cxn ang="0">
                  <a:pos x="38" y="155"/>
                </a:cxn>
                <a:cxn ang="0">
                  <a:pos x="53" y="147"/>
                </a:cxn>
                <a:cxn ang="0">
                  <a:pos x="60" y="183"/>
                </a:cxn>
                <a:cxn ang="0">
                  <a:pos x="83" y="157"/>
                </a:cxn>
                <a:cxn ang="0">
                  <a:pos x="98" y="153"/>
                </a:cxn>
                <a:cxn ang="0">
                  <a:pos x="116" y="122"/>
                </a:cxn>
                <a:cxn ang="0">
                  <a:pos x="131" y="113"/>
                </a:cxn>
                <a:cxn ang="0">
                  <a:pos x="141" y="83"/>
                </a:cxn>
                <a:cxn ang="0">
                  <a:pos x="161" y="83"/>
                </a:cxn>
                <a:cxn ang="0">
                  <a:pos x="186" y="72"/>
                </a:cxn>
                <a:cxn ang="0">
                  <a:pos x="203" y="68"/>
                </a:cxn>
                <a:cxn ang="0">
                  <a:pos x="226" y="57"/>
                </a:cxn>
                <a:cxn ang="0">
                  <a:pos x="240" y="55"/>
                </a:cxn>
                <a:cxn ang="0">
                  <a:pos x="238" y="37"/>
                </a:cxn>
                <a:cxn ang="0">
                  <a:pos x="206" y="27"/>
                </a:cxn>
                <a:cxn ang="0">
                  <a:pos x="176" y="13"/>
                </a:cxn>
                <a:cxn ang="0">
                  <a:pos x="165" y="23"/>
                </a:cxn>
                <a:cxn ang="0">
                  <a:pos x="138" y="0"/>
                </a:cxn>
                <a:cxn ang="0">
                  <a:pos x="115" y="5"/>
                </a:cxn>
                <a:cxn ang="0">
                  <a:pos x="61" y="10"/>
                </a:cxn>
                <a:cxn ang="0">
                  <a:pos x="26" y="28"/>
                </a:cxn>
                <a:cxn ang="0">
                  <a:pos x="15" y="53"/>
                </a:cxn>
              </a:cxnLst>
              <a:rect l="0" t="0" r="r" b="b"/>
              <a:pathLst>
                <a:path w="240" h="192">
                  <a:moveTo>
                    <a:pt x="15" y="53"/>
                  </a:moveTo>
                  <a:lnTo>
                    <a:pt x="23" y="118"/>
                  </a:lnTo>
                  <a:lnTo>
                    <a:pt x="36" y="137"/>
                  </a:lnTo>
                  <a:lnTo>
                    <a:pt x="20" y="168"/>
                  </a:lnTo>
                  <a:lnTo>
                    <a:pt x="0" y="182"/>
                  </a:lnTo>
                  <a:lnTo>
                    <a:pt x="10" y="192"/>
                  </a:lnTo>
                  <a:lnTo>
                    <a:pt x="35" y="165"/>
                  </a:lnTo>
                  <a:lnTo>
                    <a:pt x="38" y="155"/>
                  </a:lnTo>
                  <a:lnTo>
                    <a:pt x="53" y="147"/>
                  </a:lnTo>
                  <a:lnTo>
                    <a:pt x="60" y="183"/>
                  </a:lnTo>
                  <a:lnTo>
                    <a:pt x="83" y="157"/>
                  </a:lnTo>
                  <a:lnTo>
                    <a:pt x="98" y="153"/>
                  </a:lnTo>
                  <a:lnTo>
                    <a:pt x="116" y="122"/>
                  </a:lnTo>
                  <a:lnTo>
                    <a:pt x="131" y="113"/>
                  </a:lnTo>
                  <a:lnTo>
                    <a:pt x="141" y="83"/>
                  </a:lnTo>
                  <a:lnTo>
                    <a:pt x="161" y="83"/>
                  </a:lnTo>
                  <a:lnTo>
                    <a:pt x="186" y="72"/>
                  </a:lnTo>
                  <a:lnTo>
                    <a:pt x="203" y="68"/>
                  </a:lnTo>
                  <a:lnTo>
                    <a:pt x="226" y="57"/>
                  </a:lnTo>
                  <a:lnTo>
                    <a:pt x="240" y="55"/>
                  </a:lnTo>
                  <a:lnTo>
                    <a:pt x="238" y="37"/>
                  </a:lnTo>
                  <a:lnTo>
                    <a:pt x="206" y="27"/>
                  </a:lnTo>
                  <a:lnTo>
                    <a:pt x="176" y="13"/>
                  </a:lnTo>
                  <a:lnTo>
                    <a:pt x="165" y="23"/>
                  </a:lnTo>
                  <a:lnTo>
                    <a:pt x="138" y="0"/>
                  </a:lnTo>
                  <a:lnTo>
                    <a:pt x="115" y="5"/>
                  </a:lnTo>
                  <a:lnTo>
                    <a:pt x="61" y="10"/>
                  </a:lnTo>
                  <a:lnTo>
                    <a:pt x="26" y="28"/>
                  </a:lnTo>
                  <a:lnTo>
                    <a:pt x="15" y="53"/>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cxnSp>
          <p:nvCxnSpPr>
            <p:cNvPr id="47" name="Line 37">
              <a:extLst>
                <a:ext uri="{FF2B5EF4-FFF2-40B4-BE49-F238E27FC236}">
                  <a16:creationId xmlns:a16="http://schemas.microsoft.com/office/drawing/2014/main" id="{2E41E63B-DB52-4E46-9A6D-A9B486AEFA74}"/>
                </a:ext>
              </a:extLst>
            </p:cNvPr>
            <p:cNvCxnSpPr/>
            <p:nvPr/>
          </p:nvCxnSpPr>
          <p:spPr bwMode="auto">
            <a:xfrm>
              <a:off x="4737619" y="2205257"/>
              <a:ext cx="221510" cy="283252"/>
            </a:xfrm>
            <a:prstGeom prst="line">
              <a:avLst/>
            </a:prstGeom>
            <a:noFill/>
            <a:ln w="12700">
              <a:solidFill>
                <a:schemeClr val="tx1"/>
              </a:solidFill>
              <a:round/>
              <a:headEnd type="none" w="sm" len="sm"/>
              <a:tailEnd type="none" w="sm" len="sm"/>
            </a:ln>
            <a:effectLst/>
          </p:spPr>
        </p:cxnSp>
        <p:sp>
          <p:nvSpPr>
            <p:cNvPr id="48" name="Freeform 38">
              <a:extLst>
                <a:ext uri="{FF2B5EF4-FFF2-40B4-BE49-F238E27FC236}">
                  <a16:creationId xmlns:a16="http://schemas.microsoft.com/office/drawing/2014/main" id="{DAF28AAB-5B48-4A77-A7B0-B6E59E0B07D4}"/>
                </a:ext>
              </a:extLst>
            </p:cNvPr>
            <p:cNvSpPr>
              <a:spLocks/>
            </p:cNvSpPr>
            <p:nvPr/>
          </p:nvSpPr>
          <p:spPr bwMode="auto">
            <a:xfrm>
              <a:off x="5365984" y="1826795"/>
              <a:ext cx="1638729" cy="1556705"/>
            </a:xfrm>
            <a:custGeom>
              <a:avLst/>
              <a:gdLst/>
              <a:ahLst/>
              <a:cxnLst>
                <a:cxn ang="0">
                  <a:pos x="1151" y="650"/>
                </a:cxn>
                <a:cxn ang="0">
                  <a:pos x="1190" y="772"/>
                </a:cxn>
                <a:cxn ang="0">
                  <a:pos x="1177" y="875"/>
                </a:cxn>
                <a:cxn ang="0">
                  <a:pos x="1175" y="948"/>
                </a:cxn>
                <a:cxn ang="0">
                  <a:pos x="1087" y="1029"/>
                </a:cxn>
                <a:cxn ang="0">
                  <a:pos x="1005" y="1108"/>
                </a:cxn>
                <a:cxn ang="0">
                  <a:pos x="881" y="1117"/>
                </a:cxn>
                <a:cxn ang="0">
                  <a:pos x="823" y="1033"/>
                </a:cxn>
                <a:cxn ang="0">
                  <a:pos x="774" y="1025"/>
                </a:cxn>
                <a:cxn ang="0">
                  <a:pos x="615" y="935"/>
                </a:cxn>
                <a:cxn ang="0">
                  <a:pos x="371" y="958"/>
                </a:cxn>
                <a:cxn ang="0">
                  <a:pos x="322" y="890"/>
                </a:cxn>
                <a:cxn ang="0">
                  <a:pos x="288" y="843"/>
                </a:cxn>
                <a:cxn ang="0">
                  <a:pos x="337" y="665"/>
                </a:cxn>
                <a:cxn ang="0">
                  <a:pos x="288" y="588"/>
                </a:cxn>
                <a:cxn ang="0">
                  <a:pos x="221" y="553"/>
                </a:cxn>
                <a:cxn ang="0">
                  <a:pos x="138" y="573"/>
                </a:cxn>
                <a:cxn ang="0">
                  <a:pos x="65" y="401"/>
                </a:cxn>
                <a:cxn ang="0">
                  <a:pos x="191" y="369"/>
                </a:cxn>
                <a:cxn ang="0">
                  <a:pos x="208" y="328"/>
                </a:cxn>
                <a:cxn ang="0">
                  <a:pos x="172" y="283"/>
                </a:cxn>
                <a:cxn ang="0">
                  <a:pos x="157" y="215"/>
                </a:cxn>
                <a:cxn ang="0">
                  <a:pos x="50" y="120"/>
                </a:cxn>
                <a:cxn ang="0">
                  <a:pos x="9" y="52"/>
                </a:cxn>
                <a:cxn ang="0">
                  <a:pos x="108" y="63"/>
                </a:cxn>
                <a:cxn ang="0">
                  <a:pos x="215" y="52"/>
                </a:cxn>
                <a:cxn ang="0">
                  <a:pos x="307" y="0"/>
                </a:cxn>
                <a:cxn ang="0">
                  <a:pos x="390" y="86"/>
                </a:cxn>
                <a:cxn ang="0">
                  <a:pos x="339" y="157"/>
                </a:cxn>
                <a:cxn ang="0">
                  <a:pos x="341" y="210"/>
                </a:cxn>
                <a:cxn ang="0">
                  <a:pos x="459" y="288"/>
                </a:cxn>
                <a:cxn ang="0">
                  <a:pos x="555" y="337"/>
                </a:cxn>
                <a:cxn ang="0">
                  <a:pos x="605" y="348"/>
                </a:cxn>
                <a:cxn ang="0">
                  <a:pos x="658" y="363"/>
                </a:cxn>
                <a:cxn ang="0">
                  <a:pos x="699" y="285"/>
                </a:cxn>
                <a:cxn ang="0">
                  <a:pos x="864" y="330"/>
                </a:cxn>
                <a:cxn ang="0">
                  <a:pos x="892" y="412"/>
                </a:cxn>
                <a:cxn ang="0">
                  <a:pos x="868" y="457"/>
                </a:cxn>
                <a:cxn ang="0">
                  <a:pos x="862" y="515"/>
                </a:cxn>
                <a:cxn ang="0">
                  <a:pos x="866" y="577"/>
                </a:cxn>
                <a:cxn ang="0">
                  <a:pos x="913" y="607"/>
                </a:cxn>
                <a:cxn ang="0">
                  <a:pos x="1033" y="626"/>
                </a:cxn>
                <a:cxn ang="0">
                  <a:pos x="1123" y="585"/>
                </a:cxn>
              </a:cxnLst>
              <a:rect l="0" t="0" r="r" b="b"/>
              <a:pathLst>
                <a:path w="1205" h="1123">
                  <a:moveTo>
                    <a:pt x="1123" y="585"/>
                  </a:moveTo>
                  <a:lnTo>
                    <a:pt x="1151" y="618"/>
                  </a:lnTo>
                  <a:lnTo>
                    <a:pt x="1151" y="650"/>
                  </a:lnTo>
                  <a:lnTo>
                    <a:pt x="1203" y="712"/>
                  </a:lnTo>
                  <a:lnTo>
                    <a:pt x="1205" y="761"/>
                  </a:lnTo>
                  <a:lnTo>
                    <a:pt x="1190" y="772"/>
                  </a:lnTo>
                  <a:lnTo>
                    <a:pt x="1181" y="817"/>
                  </a:lnTo>
                  <a:lnTo>
                    <a:pt x="1173" y="840"/>
                  </a:lnTo>
                  <a:lnTo>
                    <a:pt x="1177" y="875"/>
                  </a:lnTo>
                  <a:lnTo>
                    <a:pt x="1194" y="918"/>
                  </a:lnTo>
                  <a:lnTo>
                    <a:pt x="1188" y="937"/>
                  </a:lnTo>
                  <a:lnTo>
                    <a:pt x="1175" y="948"/>
                  </a:lnTo>
                  <a:lnTo>
                    <a:pt x="1138" y="943"/>
                  </a:lnTo>
                  <a:lnTo>
                    <a:pt x="1102" y="1008"/>
                  </a:lnTo>
                  <a:lnTo>
                    <a:pt x="1087" y="1029"/>
                  </a:lnTo>
                  <a:lnTo>
                    <a:pt x="1048" y="1038"/>
                  </a:lnTo>
                  <a:lnTo>
                    <a:pt x="1042" y="1076"/>
                  </a:lnTo>
                  <a:lnTo>
                    <a:pt x="1005" y="1108"/>
                  </a:lnTo>
                  <a:lnTo>
                    <a:pt x="963" y="1111"/>
                  </a:lnTo>
                  <a:lnTo>
                    <a:pt x="948" y="1123"/>
                  </a:lnTo>
                  <a:lnTo>
                    <a:pt x="881" y="1117"/>
                  </a:lnTo>
                  <a:lnTo>
                    <a:pt x="847" y="1093"/>
                  </a:lnTo>
                  <a:lnTo>
                    <a:pt x="840" y="1033"/>
                  </a:lnTo>
                  <a:lnTo>
                    <a:pt x="823" y="1033"/>
                  </a:lnTo>
                  <a:lnTo>
                    <a:pt x="808" y="1048"/>
                  </a:lnTo>
                  <a:lnTo>
                    <a:pt x="789" y="1042"/>
                  </a:lnTo>
                  <a:lnTo>
                    <a:pt x="774" y="1025"/>
                  </a:lnTo>
                  <a:lnTo>
                    <a:pt x="667" y="1021"/>
                  </a:lnTo>
                  <a:lnTo>
                    <a:pt x="615" y="956"/>
                  </a:lnTo>
                  <a:lnTo>
                    <a:pt x="615" y="935"/>
                  </a:lnTo>
                  <a:lnTo>
                    <a:pt x="536" y="937"/>
                  </a:lnTo>
                  <a:lnTo>
                    <a:pt x="515" y="956"/>
                  </a:lnTo>
                  <a:lnTo>
                    <a:pt x="371" y="958"/>
                  </a:lnTo>
                  <a:lnTo>
                    <a:pt x="350" y="920"/>
                  </a:lnTo>
                  <a:lnTo>
                    <a:pt x="348" y="896"/>
                  </a:lnTo>
                  <a:lnTo>
                    <a:pt x="322" y="890"/>
                  </a:lnTo>
                  <a:lnTo>
                    <a:pt x="326" y="866"/>
                  </a:lnTo>
                  <a:lnTo>
                    <a:pt x="305" y="849"/>
                  </a:lnTo>
                  <a:lnTo>
                    <a:pt x="288" y="843"/>
                  </a:lnTo>
                  <a:lnTo>
                    <a:pt x="285" y="800"/>
                  </a:lnTo>
                  <a:lnTo>
                    <a:pt x="335" y="733"/>
                  </a:lnTo>
                  <a:lnTo>
                    <a:pt x="337" y="665"/>
                  </a:lnTo>
                  <a:lnTo>
                    <a:pt x="318" y="624"/>
                  </a:lnTo>
                  <a:lnTo>
                    <a:pt x="309" y="596"/>
                  </a:lnTo>
                  <a:lnTo>
                    <a:pt x="288" y="588"/>
                  </a:lnTo>
                  <a:lnTo>
                    <a:pt x="279" y="562"/>
                  </a:lnTo>
                  <a:lnTo>
                    <a:pt x="258" y="547"/>
                  </a:lnTo>
                  <a:lnTo>
                    <a:pt x="221" y="553"/>
                  </a:lnTo>
                  <a:lnTo>
                    <a:pt x="193" y="568"/>
                  </a:lnTo>
                  <a:lnTo>
                    <a:pt x="161" y="579"/>
                  </a:lnTo>
                  <a:lnTo>
                    <a:pt x="138" y="573"/>
                  </a:lnTo>
                  <a:lnTo>
                    <a:pt x="92" y="493"/>
                  </a:lnTo>
                  <a:lnTo>
                    <a:pt x="58" y="448"/>
                  </a:lnTo>
                  <a:lnTo>
                    <a:pt x="65" y="401"/>
                  </a:lnTo>
                  <a:lnTo>
                    <a:pt x="110" y="380"/>
                  </a:lnTo>
                  <a:lnTo>
                    <a:pt x="125" y="390"/>
                  </a:lnTo>
                  <a:lnTo>
                    <a:pt x="191" y="369"/>
                  </a:lnTo>
                  <a:lnTo>
                    <a:pt x="232" y="343"/>
                  </a:lnTo>
                  <a:lnTo>
                    <a:pt x="223" y="328"/>
                  </a:lnTo>
                  <a:lnTo>
                    <a:pt x="208" y="328"/>
                  </a:lnTo>
                  <a:lnTo>
                    <a:pt x="204" y="307"/>
                  </a:lnTo>
                  <a:lnTo>
                    <a:pt x="178" y="298"/>
                  </a:lnTo>
                  <a:lnTo>
                    <a:pt x="172" y="283"/>
                  </a:lnTo>
                  <a:lnTo>
                    <a:pt x="148" y="275"/>
                  </a:lnTo>
                  <a:lnTo>
                    <a:pt x="161" y="258"/>
                  </a:lnTo>
                  <a:lnTo>
                    <a:pt x="157" y="215"/>
                  </a:lnTo>
                  <a:lnTo>
                    <a:pt x="150" y="193"/>
                  </a:lnTo>
                  <a:lnTo>
                    <a:pt x="123" y="168"/>
                  </a:lnTo>
                  <a:lnTo>
                    <a:pt x="50" y="120"/>
                  </a:lnTo>
                  <a:lnTo>
                    <a:pt x="17" y="103"/>
                  </a:lnTo>
                  <a:lnTo>
                    <a:pt x="0" y="63"/>
                  </a:lnTo>
                  <a:lnTo>
                    <a:pt x="9" y="52"/>
                  </a:lnTo>
                  <a:lnTo>
                    <a:pt x="56" y="67"/>
                  </a:lnTo>
                  <a:lnTo>
                    <a:pt x="77" y="73"/>
                  </a:lnTo>
                  <a:lnTo>
                    <a:pt x="108" y="63"/>
                  </a:lnTo>
                  <a:lnTo>
                    <a:pt x="140" y="28"/>
                  </a:lnTo>
                  <a:lnTo>
                    <a:pt x="174" y="24"/>
                  </a:lnTo>
                  <a:lnTo>
                    <a:pt x="215" y="52"/>
                  </a:lnTo>
                  <a:lnTo>
                    <a:pt x="251" y="41"/>
                  </a:lnTo>
                  <a:lnTo>
                    <a:pt x="264" y="15"/>
                  </a:lnTo>
                  <a:lnTo>
                    <a:pt x="307" y="0"/>
                  </a:lnTo>
                  <a:lnTo>
                    <a:pt x="335" y="20"/>
                  </a:lnTo>
                  <a:lnTo>
                    <a:pt x="360" y="52"/>
                  </a:lnTo>
                  <a:lnTo>
                    <a:pt x="390" y="86"/>
                  </a:lnTo>
                  <a:lnTo>
                    <a:pt x="386" y="114"/>
                  </a:lnTo>
                  <a:lnTo>
                    <a:pt x="352" y="144"/>
                  </a:lnTo>
                  <a:lnTo>
                    <a:pt x="339" y="157"/>
                  </a:lnTo>
                  <a:lnTo>
                    <a:pt x="324" y="161"/>
                  </a:lnTo>
                  <a:lnTo>
                    <a:pt x="341" y="178"/>
                  </a:lnTo>
                  <a:lnTo>
                    <a:pt x="341" y="210"/>
                  </a:lnTo>
                  <a:lnTo>
                    <a:pt x="373" y="268"/>
                  </a:lnTo>
                  <a:lnTo>
                    <a:pt x="414" y="264"/>
                  </a:lnTo>
                  <a:lnTo>
                    <a:pt x="459" y="288"/>
                  </a:lnTo>
                  <a:lnTo>
                    <a:pt x="521" y="288"/>
                  </a:lnTo>
                  <a:lnTo>
                    <a:pt x="540" y="324"/>
                  </a:lnTo>
                  <a:lnTo>
                    <a:pt x="555" y="337"/>
                  </a:lnTo>
                  <a:lnTo>
                    <a:pt x="566" y="365"/>
                  </a:lnTo>
                  <a:lnTo>
                    <a:pt x="590" y="365"/>
                  </a:lnTo>
                  <a:lnTo>
                    <a:pt x="605" y="348"/>
                  </a:lnTo>
                  <a:lnTo>
                    <a:pt x="620" y="360"/>
                  </a:lnTo>
                  <a:lnTo>
                    <a:pt x="639" y="348"/>
                  </a:lnTo>
                  <a:lnTo>
                    <a:pt x="658" y="363"/>
                  </a:lnTo>
                  <a:lnTo>
                    <a:pt x="675" y="365"/>
                  </a:lnTo>
                  <a:lnTo>
                    <a:pt x="675" y="307"/>
                  </a:lnTo>
                  <a:lnTo>
                    <a:pt x="699" y="285"/>
                  </a:lnTo>
                  <a:lnTo>
                    <a:pt x="817" y="283"/>
                  </a:lnTo>
                  <a:lnTo>
                    <a:pt x="866" y="307"/>
                  </a:lnTo>
                  <a:lnTo>
                    <a:pt x="864" y="330"/>
                  </a:lnTo>
                  <a:lnTo>
                    <a:pt x="873" y="373"/>
                  </a:lnTo>
                  <a:lnTo>
                    <a:pt x="870" y="403"/>
                  </a:lnTo>
                  <a:lnTo>
                    <a:pt x="892" y="412"/>
                  </a:lnTo>
                  <a:lnTo>
                    <a:pt x="905" y="435"/>
                  </a:lnTo>
                  <a:lnTo>
                    <a:pt x="877" y="444"/>
                  </a:lnTo>
                  <a:lnTo>
                    <a:pt x="868" y="457"/>
                  </a:lnTo>
                  <a:lnTo>
                    <a:pt x="838" y="457"/>
                  </a:lnTo>
                  <a:lnTo>
                    <a:pt x="838" y="491"/>
                  </a:lnTo>
                  <a:lnTo>
                    <a:pt x="862" y="515"/>
                  </a:lnTo>
                  <a:lnTo>
                    <a:pt x="862" y="538"/>
                  </a:lnTo>
                  <a:lnTo>
                    <a:pt x="851" y="551"/>
                  </a:lnTo>
                  <a:lnTo>
                    <a:pt x="866" y="577"/>
                  </a:lnTo>
                  <a:lnTo>
                    <a:pt x="894" y="573"/>
                  </a:lnTo>
                  <a:lnTo>
                    <a:pt x="900" y="590"/>
                  </a:lnTo>
                  <a:lnTo>
                    <a:pt x="913" y="607"/>
                  </a:lnTo>
                  <a:lnTo>
                    <a:pt x="963" y="609"/>
                  </a:lnTo>
                  <a:lnTo>
                    <a:pt x="1005" y="613"/>
                  </a:lnTo>
                  <a:lnTo>
                    <a:pt x="1033" y="626"/>
                  </a:lnTo>
                  <a:lnTo>
                    <a:pt x="1093" y="630"/>
                  </a:lnTo>
                  <a:lnTo>
                    <a:pt x="1113" y="607"/>
                  </a:lnTo>
                  <a:lnTo>
                    <a:pt x="1123" y="585"/>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49" name="Freeform 39">
              <a:extLst>
                <a:ext uri="{FF2B5EF4-FFF2-40B4-BE49-F238E27FC236}">
                  <a16:creationId xmlns:a16="http://schemas.microsoft.com/office/drawing/2014/main" id="{4C4C8B33-7E24-463E-92B8-D6865EFA9B62}"/>
                </a:ext>
              </a:extLst>
            </p:cNvPr>
            <p:cNvSpPr>
              <a:spLocks/>
            </p:cNvSpPr>
            <p:nvPr/>
          </p:nvSpPr>
          <p:spPr bwMode="auto">
            <a:xfrm>
              <a:off x="4412132" y="2490891"/>
              <a:ext cx="2319083" cy="1704281"/>
            </a:xfrm>
            <a:custGeom>
              <a:avLst/>
              <a:gdLst/>
              <a:ahLst/>
              <a:cxnLst>
                <a:cxn ang="0">
                  <a:pos x="704" y="191"/>
                </a:cxn>
                <a:cxn ang="0">
                  <a:pos x="620" y="229"/>
                </a:cxn>
                <a:cxn ang="0">
                  <a:pos x="500" y="400"/>
                </a:cxn>
                <a:cxn ang="0">
                  <a:pos x="342" y="474"/>
                </a:cxn>
                <a:cxn ang="0">
                  <a:pos x="382" y="567"/>
                </a:cxn>
                <a:cxn ang="0">
                  <a:pos x="437" y="634"/>
                </a:cxn>
                <a:cxn ang="0">
                  <a:pos x="471" y="734"/>
                </a:cxn>
                <a:cxn ang="0">
                  <a:pos x="502" y="791"/>
                </a:cxn>
                <a:cxn ang="0">
                  <a:pos x="553" y="909"/>
                </a:cxn>
                <a:cxn ang="0">
                  <a:pos x="409" y="863"/>
                </a:cxn>
                <a:cxn ang="0">
                  <a:pos x="329" y="876"/>
                </a:cxn>
                <a:cxn ang="0">
                  <a:pos x="217" y="880"/>
                </a:cxn>
                <a:cxn ang="0">
                  <a:pos x="155" y="909"/>
                </a:cxn>
                <a:cxn ang="0">
                  <a:pos x="100" y="1031"/>
                </a:cxn>
                <a:cxn ang="0">
                  <a:pos x="13" y="1071"/>
                </a:cxn>
                <a:cxn ang="0">
                  <a:pos x="37" y="1154"/>
                </a:cxn>
                <a:cxn ang="0">
                  <a:pos x="94" y="1166"/>
                </a:cxn>
                <a:cxn ang="0">
                  <a:pos x="253" y="1229"/>
                </a:cxn>
                <a:cxn ang="0">
                  <a:pos x="357" y="1116"/>
                </a:cxn>
                <a:cxn ang="0">
                  <a:pos x="446" y="1087"/>
                </a:cxn>
                <a:cxn ang="0">
                  <a:pos x="506" y="1091"/>
                </a:cxn>
                <a:cxn ang="0">
                  <a:pos x="597" y="1123"/>
                </a:cxn>
                <a:cxn ang="0">
                  <a:pos x="729" y="1205"/>
                </a:cxn>
                <a:cxn ang="0">
                  <a:pos x="813" y="1178"/>
                </a:cxn>
                <a:cxn ang="0">
                  <a:pos x="895" y="1138"/>
                </a:cxn>
                <a:cxn ang="0">
                  <a:pos x="951" y="1056"/>
                </a:cxn>
                <a:cxn ang="0">
                  <a:pos x="995" y="1036"/>
                </a:cxn>
                <a:cxn ang="0">
                  <a:pos x="1053" y="1018"/>
                </a:cxn>
                <a:cxn ang="0">
                  <a:pos x="1057" y="967"/>
                </a:cxn>
                <a:cxn ang="0">
                  <a:pos x="1209" y="1020"/>
                </a:cxn>
                <a:cxn ang="0">
                  <a:pos x="1286" y="1076"/>
                </a:cxn>
                <a:cxn ang="0">
                  <a:pos x="1277" y="1036"/>
                </a:cxn>
                <a:cxn ang="0">
                  <a:pos x="1364" y="1029"/>
                </a:cxn>
                <a:cxn ang="0">
                  <a:pos x="1420" y="1014"/>
                </a:cxn>
                <a:cxn ang="0">
                  <a:pos x="1504" y="969"/>
                </a:cxn>
                <a:cxn ang="0">
                  <a:pos x="1584" y="963"/>
                </a:cxn>
                <a:cxn ang="0">
                  <a:pos x="1669" y="883"/>
                </a:cxn>
                <a:cxn ang="0">
                  <a:pos x="1689" y="840"/>
                </a:cxn>
                <a:cxn ang="0">
                  <a:pos x="1677" y="818"/>
                </a:cxn>
                <a:cxn ang="0">
                  <a:pos x="1584" y="767"/>
                </a:cxn>
                <a:cxn ang="0">
                  <a:pos x="1611" y="694"/>
                </a:cxn>
                <a:cxn ang="0">
                  <a:pos x="1597" y="638"/>
                </a:cxn>
                <a:cxn ang="0">
                  <a:pos x="1526" y="556"/>
                </a:cxn>
                <a:cxn ang="0">
                  <a:pos x="1466" y="545"/>
                </a:cxn>
                <a:cxn ang="0">
                  <a:pos x="1309" y="456"/>
                </a:cxn>
                <a:cxn ang="0">
                  <a:pos x="1073" y="476"/>
                </a:cxn>
                <a:cxn ang="0">
                  <a:pos x="1024" y="407"/>
                </a:cxn>
                <a:cxn ang="0">
                  <a:pos x="989" y="358"/>
                </a:cxn>
                <a:cxn ang="0">
                  <a:pos x="1040" y="183"/>
                </a:cxn>
                <a:cxn ang="0">
                  <a:pos x="993" y="109"/>
                </a:cxn>
                <a:cxn ang="0">
                  <a:pos x="917" y="76"/>
                </a:cxn>
                <a:cxn ang="0">
                  <a:pos x="840" y="94"/>
                </a:cxn>
              </a:cxnLst>
              <a:rect l="0" t="0" r="r" b="b"/>
              <a:pathLst>
                <a:path w="1706" h="1229">
                  <a:moveTo>
                    <a:pt x="780" y="0"/>
                  </a:moveTo>
                  <a:lnTo>
                    <a:pt x="733" y="165"/>
                  </a:lnTo>
                  <a:lnTo>
                    <a:pt x="704" y="191"/>
                  </a:lnTo>
                  <a:lnTo>
                    <a:pt x="693" y="203"/>
                  </a:lnTo>
                  <a:lnTo>
                    <a:pt x="657" y="223"/>
                  </a:lnTo>
                  <a:lnTo>
                    <a:pt x="620" y="229"/>
                  </a:lnTo>
                  <a:lnTo>
                    <a:pt x="562" y="298"/>
                  </a:lnTo>
                  <a:lnTo>
                    <a:pt x="517" y="343"/>
                  </a:lnTo>
                  <a:lnTo>
                    <a:pt x="500" y="400"/>
                  </a:lnTo>
                  <a:lnTo>
                    <a:pt x="480" y="443"/>
                  </a:lnTo>
                  <a:lnTo>
                    <a:pt x="369" y="474"/>
                  </a:lnTo>
                  <a:lnTo>
                    <a:pt x="342" y="474"/>
                  </a:lnTo>
                  <a:lnTo>
                    <a:pt x="342" y="518"/>
                  </a:lnTo>
                  <a:lnTo>
                    <a:pt x="373" y="554"/>
                  </a:lnTo>
                  <a:lnTo>
                    <a:pt x="382" y="567"/>
                  </a:lnTo>
                  <a:lnTo>
                    <a:pt x="382" y="589"/>
                  </a:lnTo>
                  <a:lnTo>
                    <a:pt x="422" y="605"/>
                  </a:lnTo>
                  <a:lnTo>
                    <a:pt x="437" y="634"/>
                  </a:lnTo>
                  <a:lnTo>
                    <a:pt x="415" y="709"/>
                  </a:lnTo>
                  <a:lnTo>
                    <a:pt x="433" y="738"/>
                  </a:lnTo>
                  <a:lnTo>
                    <a:pt x="471" y="734"/>
                  </a:lnTo>
                  <a:lnTo>
                    <a:pt x="491" y="709"/>
                  </a:lnTo>
                  <a:lnTo>
                    <a:pt x="499" y="713"/>
                  </a:lnTo>
                  <a:lnTo>
                    <a:pt x="502" y="791"/>
                  </a:lnTo>
                  <a:lnTo>
                    <a:pt x="537" y="845"/>
                  </a:lnTo>
                  <a:lnTo>
                    <a:pt x="553" y="860"/>
                  </a:lnTo>
                  <a:lnTo>
                    <a:pt x="553" y="909"/>
                  </a:lnTo>
                  <a:lnTo>
                    <a:pt x="484" y="880"/>
                  </a:lnTo>
                  <a:lnTo>
                    <a:pt x="444" y="867"/>
                  </a:lnTo>
                  <a:lnTo>
                    <a:pt x="409" y="863"/>
                  </a:lnTo>
                  <a:lnTo>
                    <a:pt x="400" y="851"/>
                  </a:lnTo>
                  <a:lnTo>
                    <a:pt x="360" y="878"/>
                  </a:lnTo>
                  <a:lnTo>
                    <a:pt x="329" y="876"/>
                  </a:lnTo>
                  <a:lnTo>
                    <a:pt x="286" y="898"/>
                  </a:lnTo>
                  <a:lnTo>
                    <a:pt x="231" y="883"/>
                  </a:lnTo>
                  <a:lnTo>
                    <a:pt x="217" y="880"/>
                  </a:lnTo>
                  <a:lnTo>
                    <a:pt x="202" y="863"/>
                  </a:lnTo>
                  <a:lnTo>
                    <a:pt x="175" y="885"/>
                  </a:lnTo>
                  <a:lnTo>
                    <a:pt x="155" y="909"/>
                  </a:lnTo>
                  <a:lnTo>
                    <a:pt x="131" y="949"/>
                  </a:lnTo>
                  <a:lnTo>
                    <a:pt x="97" y="996"/>
                  </a:lnTo>
                  <a:lnTo>
                    <a:pt x="100" y="1031"/>
                  </a:lnTo>
                  <a:lnTo>
                    <a:pt x="80" y="1038"/>
                  </a:lnTo>
                  <a:lnTo>
                    <a:pt x="60" y="1058"/>
                  </a:lnTo>
                  <a:lnTo>
                    <a:pt x="13" y="1071"/>
                  </a:lnTo>
                  <a:lnTo>
                    <a:pt x="0" y="1076"/>
                  </a:lnTo>
                  <a:lnTo>
                    <a:pt x="2" y="1131"/>
                  </a:lnTo>
                  <a:lnTo>
                    <a:pt x="37" y="1154"/>
                  </a:lnTo>
                  <a:lnTo>
                    <a:pt x="51" y="1174"/>
                  </a:lnTo>
                  <a:lnTo>
                    <a:pt x="71" y="1174"/>
                  </a:lnTo>
                  <a:lnTo>
                    <a:pt x="94" y="1166"/>
                  </a:lnTo>
                  <a:lnTo>
                    <a:pt x="120" y="1187"/>
                  </a:lnTo>
                  <a:lnTo>
                    <a:pt x="122" y="1227"/>
                  </a:lnTo>
                  <a:lnTo>
                    <a:pt x="253" y="1229"/>
                  </a:lnTo>
                  <a:lnTo>
                    <a:pt x="271" y="1216"/>
                  </a:lnTo>
                  <a:lnTo>
                    <a:pt x="309" y="1216"/>
                  </a:lnTo>
                  <a:lnTo>
                    <a:pt x="357" y="1116"/>
                  </a:lnTo>
                  <a:lnTo>
                    <a:pt x="397" y="1114"/>
                  </a:lnTo>
                  <a:lnTo>
                    <a:pt x="426" y="1103"/>
                  </a:lnTo>
                  <a:lnTo>
                    <a:pt x="446" y="1087"/>
                  </a:lnTo>
                  <a:lnTo>
                    <a:pt x="477" y="1096"/>
                  </a:lnTo>
                  <a:lnTo>
                    <a:pt x="489" y="1109"/>
                  </a:lnTo>
                  <a:lnTo>
                    <a:pt x="506" y="1091"/>
                  </a:lnTo>
                  <a:lnTo>
                    <a:pt x="533" y="1087"/>
                  </a:lnTo>
                  <a:lnTo>
                    <a:pt x="562" y="1105"/>
                  </a:lnTo>
                  <a:lnTo>
                    <a:pt x="597" y="1123"/>
                  </a:lnTo>
                  <a:lnTo>
                    <a:pt x="624" y="1140"/>
                  </a:lnTo>
                  <a:lnTo>
                    <a:pt x="706" y="1196"/>
                  </a:lnTo>
                  <a:lnTo>
                    <a:pt x="729" y="1205"/>
                  </a:lnTo>
                  <a:lnTo>
                    <a:pt x="746" y="1196"/>
                  </a:lnTo>
                  <a:lnTo>
                    <a:pt x="795" y="1191"/>
                  </a:lnTo>
                  <a:lnTo>
                    <a:pt x="813" y="1178"/>
                  </a:lnTo>
                  <a:lnTo>
                    <a:pt x="855" y="1218"/>
                  </a:lnTo>
                  <a:lnTo>
                    <a:pt x="897" y="1220"/>
                  </a:lnTo>
                  <a:lnTo>
                    <a:pt x="895" y="1138"/>
                  </a:lnTo>
                  <a:lnTo>
                    <a:pt x="862" y="1089"/>
                  </a:lnTo>
                  <a:lnTo>
                    <a:pt x="937" y="1074"/>
                  </a:lnTo>
                  <a:lnTo>
                    <a:pt x="951" y="1056"/>
                  </a:lnTo>
                  <a:lnTo>
                    <a:pt x="973" y="1058"/>
                  </a:lnTo>
                  <a:lnTo>
                    <a:pt x="977" y="1034"/>
                  </a:lnTo>
                  <a:lnTo>
                    <a:pt x="995" y="1036"/>
                  </a:lnTo>
                  <a:lnTo>
                    <a:pt x="1055" y="1069"/>
                  </a:lnTo>
                  <a:lnTo>
                    <a:pt x="1075" y="1045"/>
                  </a:lnTo>
                  <a:lnTo>
                    <a:pt x="1053" y="1018"/>
                  </a:lnTo>
                  <a:lnTo>
                    <a:pt x="1020" y="1000"/>
                  </a:lnTo>
                  <a:lnTo>
                    <a:pt x="1026" y="978"/>
                  </a:lnTo>
                  <a:lnTo>
                    <a:pt x="1057" y="967"/>
                  </a:lnTo>
                  <a:lnTo>
                    <a:pt x="1093" y="976"/>
                  </a:lnTo>
                  <a:lnTo>
                    <a:pt x="1120" y="1011"/>
                  </a:lnTo>
                  <a:lnTo>
                    <a:pt x="1209" y="1020"/>
                  </a:lnTo>
                  <a:lnTo>
                    <a:pt x="1220" y="1054"/>
                  </a:lnTo>
                  <a:lnTo>
                    <a:pt x="1271" y="1065"/>
                  </a:lnTo>
                  <a:lnTo>
                    <a:pt x="1286" y="1076"/>
                  </a:lnTo>
                  <a:lnTo>
                    <a:pt x="1302" y="1060"/>
                  </a:lnTo>
                  <a:lnTo>
                    <a:pt x="1293" y="1045"/>
                  </a:lnTo>
                  <a:lnTo>
                    <a:pt x="1277" y="1036"/>
                  </a:lnTo>
                  <a:lnTo>
                    <a:pt x="1286" y="1016"/>
                  </a:lnTo>
                  <a:lnTo>
                    <a:pt x="1329" y="1018"/>
                  </a:lnTo>
                  <a:lnTo>
                    <a:pt x="1364" y="1029"/>
                  </a:lnTo>
                  <a:lnTo>
                    <a:pt x="1373" y="1045"/>
                  </a:lnTo>
                  <a:lnTo>
                    <a:pt x="1404" y="1014"/>
                  </a:lnTo>
                  <a:lnTo>
                    <a:pt x="1420" y="1014"/>
                  </a:lnTo>
                  <a:lnTo>
                    <a:pt x="1422" y="994"/>
                  </a:lnTo>
                  <a:lnTo>
                    <a:pt x="1460" y="989"/>
                  </a:lnTo>
                  <a:lnTo>
                    <a:pt x="1504" y="969"/>
                  </a:lnTo>
                  <a:lnTo>
                    <a:pt x="1549" y="938"/>
                  </a:lnTo>
                  <a:lnTo>
                    <a:pt x="1586" y="943"/>
                  </a:lnTo>
                  <a:lnTo>
                    <a:pt x="1584" y="963"/>
                  </a:lnTo>
                  <a:lnTo>
                    <a:pt x="1617" y="965"/>
                  </a:lnTo>
                  <a:lnTo>
                    <a:pt x="1657" y="918"/>
                  </a:lnTo>
                  <a:lnTo>
                    <a:pt x="1669" y="883"/>
                  </a:lnTo>
                  <a:lnTo>
                    <a:pt x="1669" y="865"/>
                  </a:lnTo>
                  <a:lnTo>
                    <a:pt x="1684" y="867"/>
                  </a:lnTo>
                  <a:lnTo>
                    <a:pt x="1689" y="840"/>
                  </a:lnTo>
                  <a:lnTo>
                    <a:pt x="1706" y="834"/>
                  </a:lnTo>
                  <a:lnTo>
                    <a:pt x="1697" y="818"/>
                  </a:lnTo>
                  <a:lnTo>
                    <a:pt x="1677" y="818"/>
                  </a:lnTo>
                  <a:lnTo>
                    <a:pt x="1655" y="789"/>
                  </a:lnTo>
                  <a:lnTo>
                    <a:pt x="1609" y="765"/>
                  </a:lnTo>
                  <a:lnTo>
                    <a:pt x="1584" y="767"/>
                  </a:lnTo>
                  <a:lnTo>
                    <a:pt x="1557" y="763"/>
                  </a:lnTo>
                  <a:lnTo>
                    <a:pt x="1564" y="711"/>
                  </a:lnTo>
                  <a:lnTo>
                    <a:pt x="1611" y="694"/>
                  </a:lnTo>
                  <a:lnTo>
                    <a:pt x="1626" y="669"/>
                  </a:lnTo>
                  <a:lnTo>
                    <a:pt x="1631" y="640"/>
                  </a:lnTo>
                  <a:lnTo>
                    <a:pt x="1597" y="638"/>
                  </a:lnTo>
                  <a:lnTo>
                    <a:pt x="1549" y="614"/>
                  </a:lnTo>
                  <a:lnTo>
                    <a:pt x="1542" y="558"/>
                  </a:lnTo>
                  <a:lnTo>
                    <a:pt x="1526" y="556"/>
                  </a:lnTo>
                  <a:lnTo>
                    <a:pt x="1511" y="569"/>
                  </a:lnTo>
                  <a:lnTo>
                    <a:pt x="1493" y="567"/>
                  </a:lnTo>
                  <a:lnTo>
                    <a:pt x="1466" y="545"/>
                  </a:lnTo>
                  <a:lnTo>
                    <a:pt x="1373" y="543"/>
                  </a:lnTo>
                  <a:lnTo>
                    <a:pt x="1311" y="476"/>
                  </a:lnTo>
                  <a:lnTo>
                    <a:pt x="1309" y="456"/>
                  </a:lnTo>
                  <a:lnTo>
                    <a:pt x="1231" y="456"/>
                  </a:lnTo>
                  <a:lnTo>
                    <a:pt x="1206" y="478"/>
                  </a:lnTo>
                  <a:lnTo>
                    <a:pt x="1073" y="476"/>
                  </a:lnTo>
                  <a:lnTo>
                    <a:pt x="1046" y="440"/>
                  </a:lnTo>
                  <a:lnTo>
                    <a:pt x="1049" y="416"/>
                  </a:lnTo>
                  <a:lnTo>
                    <a:pt x="1024" y="407"/>
                  </a:lnTo>
                  <a:lnTo>
                    <a:pt x="1026" y="387"/>
                  </a:lnTo>
                  <a:lnTo>
                    <a:pt x="1009" y="369"/>
                  </a:lnTo>
                  <a:lnTo>
                    <a:pt x="989" y="358"/>
                  </a:lnTo>
                  <a:lnTo>
                    <a:pt x="989" y="316"/>
                  </a:lnTo>
                  <a:lnTo>
                    <a:pt x="1035" y="251"/>
                  </a:lnTo>
                  <a:lnTo>
                    <a:pt x="1040" y="183"/>
                  </a:lnTo>
                  <a:lnTo>
                    <a:pt x="1015" y="131"/>
                  </a:lnTo>
                  <a:lnTo>
                    <a:pt x="1015" y="116"/>
                  </a:lnTo>
                  <a:lnTo>
                    <a:pt x="993" y="109"/>
                  </a:lnTo>
                  <a:lnTo>
                    <a:pt x="973" y="78"/>
                  </a:lnTo>
                  <a:lnTo>
                    <a:pt x="957" y="71"/>
                  </a:lnTo>
                  <a:lnTo>
                    <a:pt x="917" y="76"/>
                  </a:lnTo>
                  <a:lnTo>
                    <a:pt x="882" y="94"/>
                  </a:lnTo>
                  <a:lnTo>
                    <a:pt x="855" y="98"/>
                  </a:lnTo>
                  <a:lnTo>
                    <a:pt x="840" y="94"/>
                  </a:lnTo>
                  <a:lnTo>
                    <a:pt x="780" y="0"/>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50" name="Freeform 41">
              <a:extLst>
                <a:ext uri="{FF2B5EF4-FFF2-40B4-BE49-F238E27FC236}">
                  <a16:creationId xmlns:a16="http://schemas.microsoft.com/office/drawing/2014/main" id="{394152E6-3ACE-498D-82BB-CB9A6ADA7589}"/>
                </a:ext>
              </a:extLst>
            </p:cNvPr>
            <p:cNvSpPr>
              <a:spLocks/>
            </p:cNvSpPr>
            <p:nvPr/>
          </p:nvSpPr>
          <p:spPr bwMode="auto">
            <a:xfrm>
              <a:off x="3819931" y="3645327"/>
              <a:ext cx="822753" cy="371324"/>
            </a:xfrm>
            <a:custGeom>
              <a:avLst/>
              <a:gdLst/>
              <a:ahLst/>
              <a:cxnLst>
                <a:cxn ang="0">
                  <a:pos x="0" y="134"/>
                </a:cxn>
                <a:cxn ang="0">
                  <a:pos x="54" y="131"/>
                </a:cxn>
                <a:cxn ang="0">
                  <a:pos x="71" y="120"/>
                </a:cxn>
                <a:cxn ang="0">
                  <a:pos x="105" y="122"/>
                </a:cxn>
                <a:cxn ang="0">
                  <a:pos x="137" y="134"/>
                </a:cxn>
                <a:cxn ang="0">
                  <a:pos x="200" y="128"/>
                </a:cxn>
                <a:cxn ang="0">
                  <a:pos x="236" y="114"/>
                </a:cxn>
                <a:cxn ang="0">
                  <a:pos x="266" y="110"/>
                </a:cxn>
                <a:cxn ang="0">
                  <a:pos x="293" y="110"/>
                </a:cxn>
                <a:cxn ang="0">
                  <a:pos x="294" y="95"/>
                </a:cxn>
                <a:cxn ang="0">
                  <a:pos x="303" y="81"/>
                </a:cxn>
                <a:cxn ang="0">
                  <a:pos x="341" y="78"/>
                </a:cxn>
                <a:cxn ang="0">
                  <a:pos x="353" y="56"/>
                </a:cxn>
                <a:cxn ang="0">
                  <a:pos x="413" y="39"/>
                </a:cxn>
                <a:cxn ang="0">
                  <a:pos x="432" y="41"/>
                </a:cxn>
                <a:cxn ang="0">
                  <a:pos x="501" y="0"/>
                </a:cxn>
                <a:cxn ang="0">
                  <a:pos x="542" y="14"/>
                </a:cxn>
                <a:cxn ang="0">
                  <a:pos x="570" y="51"/>
                </a:cxn>
                <a:cxn ang="0">
                  <a:pos x="606" y="59"/>
                </a:cxn>
                <a:cxn ang="0">
                  <a:pos x="542" y="150"/>
                </a:cxn>
                <a:cxn ang="0">
                  <a:pos x="531" y="164"/>
                </a:cxn>
                <a:cxn ang="0">
                  <a:pos x="534" y="197"/>
                </a:cxn>
                <a:cxn ang="0">
                  <a:pos x="515" y="206"/>
                </a:cxn>
                <a:cxn ang="0">
                  <a:pos x="486" y="231"/>
                </a:cxn>
                <a:cxn ang="0">
                  <a:pos x="434" y="242"/>
                </a:cxn>
                <a:cxn ang="0">
                  <a:pos x="435" y="266"/>
                </a:cxn>
                <a:cxn ang="0">
                  <a:pos x="414" y="261"/>
                </a:cxn>
                <a:cxn ang="0">
                  <a:pos x="395" y="254"/>
                </a:cxn>
                <a:cxn ang="0">
                  <a:pos x="312" y="258"/>
                </a:cxn>
                <a:cxn ang="0">
                  <a:pos x="294" y="245"/>
                </a:cxn>
                <a:cxn ang="0">
                  <a:pos x="278" y="234"/>
                </a:cxn>
                <a:cxn ang="0">
                  <a:pos x="260" y="236"/>
                </a:cxn>
                <a:cxn ang="0">
                  <a:pos x="237" y="216"/>
                </a:cxn>
                <a:cxn ang="0">
                  <a:pos x="195" y="212"/>
                </a:cxn>
                <a:cxn ang="0">
                  <a:pos x="141" y="210"/>
                </a:cxn>
                <a:cxn ang="0">
                  <a:pos x="125" y="227"/>
                </a:cxn>
                <a:cxn ang="0">
                  <a:pos x="99" y="227"/>
                </a:cxn>
                <a:cxn ang="0">
                  <a:pos x="84" y="236"/>
                </a:cxn>
                <a:cxn ang="0">
                  <a:pos x="51" y="186"/>
                </a:cxn>
                <a:cxn ang="0">
                  <a:pos x="0" y="134"/>
                </a:cxn>
              </a:cxnLst>
              <a:rect l="0" t="0" r="r" b="b"/>
              <a:pathLst>
                <a:path w="606" h="266">
                  <a:moveTo>
                    <a:pt x="0" y="134"/>
                  </a:moveTo>
                  <a:lnTo>
                    <a:pt x="54" y="131"/>
                  </a:lnTo>
                  <a:lnTo>
                    <a:pt x="71" y="120"/>
                  </a:lnTo>
                  <a:lnTo>
                    <a:pt x="105" y="122"/>
                  </a:lnTo>
                  <a:lnTo>
                    <a:pt x="137" y="134"/>
                  </a:lnTo>
                  <a:lnTo>
                    <a:pt x="200" y="128"/>
                  </a:lnTo>
                  <a:lnTo>
                    <a:pt x="236" y="114"/>
                  </a:lnTo>
                  <a:lnTo>
                    <a:pt x="266" y="110"/>
                  </a:lnTo>
                  <a:lnTo>
                    <a:pt x="293" y="110"/>
                  </a:lnTo>
                  <a:lnTo>
                    <a:pt x="294" y="95"/>
                  </a:lnTo>
                  <a:lnTo>
                    <a:pt x="303" y="81"/>
                  </a:lnTo>
                  <a:lnTo>
                    <a:pt x="341" y="78"/>
                  </a:lnTo>
                  <a:lnTo>
                    <a:pt x="353" y="56"/>
                  </a:lnTo>
                  <a:lnTo>
                    <a:pt x="413" y="39"/>
                  </a:lnTo>
                  <a:lnTo>
                    <a:pt x="432" y="41"/>
                  </a:lnTo>
                  <a:lnTo>
                    <a:pt x="501" y="0"/>
                  </a:lnTo>
                  <a:lnTo>
                    <a:pt x="542" y="14"/>
                  </a:lnTo>
                  <a:lnTo>
                    <a:pt x="570" y="51"/>
                  </a:lnTo>
                  <a:lnTo>
                    <a:pt x="606" y="59"/>
                  </a:lnTo>
                  <a:lnTo>
                    <a:pt x="542" y="150"/>
                  </a:lnTo>
                  <a:lnTo>
                    <a:pt x="531" y="164"/>
                  </a:lnTo>
                  <a:lnTo>
                    <a:pt x="534" y="197"/>
                  </a:lnTo>
                  <a:lnTo>
                    <a:pt x="515" y="206"/>
                  </a:lnTo>
                  <a:lnTo>
                    <a:pt x="486" y="231"/>
                  </a:lnTo>
                  <a:lnTo>
                    <a:pt x="434" y="242"/>
                  </a:lnTo>
                  <a:lnTo>
                    <a:pt x="435" y="266"/>
                  </a:lnTo>
                  <a:lnTo>
                    <a:pt x="414" y="261"/>
                  </a:lnTo>
                  <a:lnTo>
                    <a:pt x="395" y="254"/>
                  </a:lnTo>
                  <a:lnTo>
                    <a:pt x="312" y="258"/>
                  </a:lnTo>
                  <a:lnTo>
                    <a:pt x="294" y="245"/>
                  </a:lnTo>
                  <a:lnTo>
                    <a:pt x="278" y="234"/>
                  </a:lnTo>
                  <a:lnTo>
                    <a:pt x="260" y="236"/>
                  </a:lnTo>
                  <a:lnTo>
                    <a:pt x="237" y="216"/>
                  </a:lnTo>
                  <a:lnTo>
                    <a:pt x="195" y="212"/>
                  </a:lnTo>
                  <a:lnTo>
                    <a:pt x="141" y="210"/>
                  </a:lnTo>
                  <a:lnTo>
                    <a:pt x="125" y="227"/>
                  </a:lnTo>
                  <a:lnTo>
                    <a:pt x="99" y="227"/>
                  </a:lnTo>
                  <a:lnTo>
                    <a:pt x="84" y="236"/>
                  </a:lnTo>
                  <a:lnTo>
                    <a:pt x="51" y="186"/>
                  </a:lnTo>
                  <a:lnTo>
                    <a:pt x="0" y="134"/>
                  </a:lnTo>
                  <a:close/>
                </a:path>
              </a:pathLst>
            </a:custGeom>
            <a:solidFill>
              <a:schemeClr val="bg2"/>
            </a:solidFill>
            <a:ln w="12700" cap="flat" cmpd="sng">
              <a:solidFill>
                <a:schemeClr val="tx1"/>
              </a:solidFill>
              <a:prstDash val="solid"/>
              <a:round/>
              <a:headEnd type="none" w="sm" len="sm"/>
              <a:tailEnd type="none" w="sm" len="sm"/>
            </a:ln>
            <a:effectLst/>
          </p:spPr>
          <p:txBody>
            <a:bodyPr wrap="none" anchor="ctr"/>
            <a:lstStyle/>
            <a:p>
              <a:endParaRPr lang="nl-NL" sz="1100" b="1"/>
            </a:p>
          </p:txBody>
        </p:sp>
        <p:grpSp>
          <p:nvGrpSpPr>
            <p:cNvPr id="51" name="Groep 50">
              <a:extLst>
                <a:ext uri="{FF2B5EF4-FFF2-40B4-BE49-F238E27FC236}">
                  <a16:creationId xmlns:a16="http://schemas.microsoft.com/office/drawing/2014/main" id="{DC2F649A-C213-40E6-8923-385F84502001}"/>
                </a:ext>
              </a:extLst>
            </p:cNvPr>
            <p:cNvGrpSpPr/>
            <p:nvPr/>
          </p:nvGrpSpPr>
          <p:grpSpPr>
            <a:xfrm>
              <a:off x="3442457" y="2426621"/>
              <a:ext cx="1175365" cy="1113973"/>
              <a:chOff x="7996994" y="3276383"/>
              <a:chExt cx="1175365" cy="1113973"/>
            </a:xfrm>
            <a:solidFill>
              <a:schemeClr val="accent3">
                <a:lumMod val="40000"/>
                <a:lumOff val="60000"/>
              </a:schemeClr>
            </a:solidFill>
          </p:grpSpPr>
          <p:sp>
            <p:nvSpPr>
              <p:cNvPr id="52" name="Freeform 24">
                <a:extLst>
                  <a:ext uri="{FF2B5EF4-FFF2-40B4-BE49-F238E27FC236}">
                    <a16:creationId xmlns:a16="http://schemas.microsoft.com/office/drawing/2014/main" id="{D6C3C6C1-5E0F-42C2-B315-16EF9047CFDE}"/>
                  </a:ext>
                </a:extLst>
              </p:cNvPr>
              <p:cNvSpPr>
                <a:spLocks/>
              </p:cNvSpPr>
              <p:nvPr/>
            </p:nvSpPr>
            <p:spPr bwMode="auto">
              <a:xfrm>
                <a:off x="8446797" y="3276383"/>
                <a:ext cx="524394" cy="254691"/>
              </a:xfrm>
              <a:custGeom>
                <a:avLst/>
                <a:gdLst/>
                <a:ahLst/>
                <a:cxnLst>
                  <a:cxn ang="0">
                    <a:pos x="245" y="14"/>
                  </a:cxn>
                  <a:cxn ang="0">
                    <a:pos x="184" y="9"/>
                  </a:cxn>
                  <a:cxn ang="0">
                    <a:pos x="159" y="0"/>
                  </a:cxn>
                  <a:cxn ang="0">
                    <a:pos x="74" y="2"/>
                  </a:cxn>
                  <a:cxn ang="0">
                    <a:pos x="45" y="15"/>
                  </a:cxn>
                  <a:cxn ang="0">
                    <a:pos x="20" y="25"/>
                  </a:cxn>
                  <a:cxn ang="0">
                    <a:pos x="0" y="34"/>
                  </a:cxn>
                  <a:cxn ang="0">
                    <a:pos x="0" y="50"/>
                  </a:cxn>
                  <a:cxn ang="0">
                    <a:pos x="5" y="72"/>
                  </a:cxn>
                  <a:cxn ang="0">
                    <a:pos x="29" y="79"/>
                  </a:cxn>
                  <a:cxn ang="0">
                    <a:pos x="45" y="89"/>
                  </a:cxn>
                  <a:cxn ang="0">
                    <a:pos x="64" y="74"/>
                  </a:cxn>
                  <a:cxn ang="0">
                    <a:pos x="160" y="75"/>
                  </a:cxn>
                  <a:cxn ang="0">
                    <a:pos x="170" y="89"/>
                  </a:cxn>
                  <a:cxn ang="0">
                    <a:pos x="185" y="92"/>
                  </a:cxn>
                  <a:cxn ang="0">
                    <a:pos x="187" y="117"/>
                  </a:cxn>
                  <a:cxn ang="0">
                    <a:pos x="204" y="134"/>
                  </a:cxn>
                  <a:cxn ang="0">
                    <a:pos x="200" y="145"/>
                  </a:cxn>
                  <a:cxn ang="0">
                    <a:pos x="242" y="147"/>
                  </a:cxn>
                  <a:cxn ang="0">
                    <a:pos x="264" y="162"/>
                  </a:cxn>
                  <a:cxn ang="0">
                    <a:pos x="282" y="185"/>
                  </a:cxn>
                  <a:cxn ang="0">
                    <a:pos x="300" y="175"/>
                  </a:cxn>
                  <a:cxn ang="0">
                    <a:pos x="304" y="157"/>
                  </a:cxn>
                  <a:cxn ang="0">
                    <a:pos x="355" y="159"/>
                  </a:cxn>
                  <a:cxn ang="0">
                    <a:pos x="374" y="140"/>
                  </a:cxn>
                  <a:cxn ang="0">
                    <a:pos x="374" y="127"/>
                  </a:cxn>
                  <a:cxn ang="0">
                    <a:pos x="385" y="124"/>
                  </a:cxn>
                  <a:cxn ang="0">
                    <a:pos x="365" y="107"/>
                  </a:cxn>
                  <a:cxn ang="0">
                    <a:pos x="362" y="87"/>
                  </a:cxn>
                  <a:cxn ang="0">
                    <a:pos x="310" y="87"/>
                  </a:cxn>
                  <a:cxn ang="0">
                    <a:pos x="304" y="62"/>
                  </a:cxn>
                  <a:cxn ang="0">
                    <a:pos x="277" y="44"/>
                  </a:cxn>
                  <a:cxn ang="0">
                    <a:pos x="260" y="44"/>
                  </a:cxn>
                  <a:cxn ang="0">
                    <a:pos x="260" y="24"/>
                  </a:cxn>
                  <a:cxn ang="0">
                    <a:pos x="245" y="14"/>
                  </a:cxn>
                </a:cxnLst>
                <a:rect l="0" t="0" r="r" b="b"/>
                <a:pathLst>
                  <a:path w="385" h="185">
                    <a:moveTo>
                      <a:pt x="245" y="14"/>
                    </a:moveTo>
                    <a:lnTo>
                      <a:pt x="184" y="9"/>
                    </a:lnTo>
                    <a:lnTo>
                      <a:pt x="159" y="0"/>
                    </a:lnTo>
                    <a:lnTo>
                      <a:pt x="74" y="2"/>
                    </a:lnTo>
                    <a:lnTo>
                      <a:pt x="45" y="15"/>
                    </a:lnTo>
                    <a:lnTo>
                      <a:pt x="20" y="25"/>
                    </a:lnTo>
                    <a:lnTo>
                      <a:pt x="0" y="34"/>
                    </a:lnTo>
                    <a:lnTo>
                      <a:pt x="0" y="50"/>
                    </a:lnTo>
                    <a:lnTo>
                      <a:pt x="5" y="72"/>
                    </a:lnTo>
                    <a:lnTo>
                      <a:pt x="29" y="79"/>
                    </a:lnTo>
                    <a:lnTo>
                      <a:pt x="45" y="89"/>
                    </a:lnTo>
                    <a:lnTo>
                      <a:pt x="64" y="74"/>
                    </a:lnTo>
                    <a:lnTo>
                      <a:pt x="160" y="75"/>
                    </a:lnTo>
                    <a:lnTo>
                      <a:pt x="170" y="89"/>
                    </a:lnTo>
                    <a:lnTo>
                      <a:pt x="185" y="92"/>
                    </a:lnTo>
                    <a:lnTo>
                      <a:pt x="187" y="117"/>
                    </a:lnTo>
                    <a:lnTo>
                      <a:pt x="204" y="134"/>
                    </a:lnTo>
                    <a:lnTo>
                      <a:pt x="200" y="145"/>
                    </a:lnTo>
                    <a:lnTo>
                      <a:pt x="242" y="147"/>
                    </a:lnTo>
                    <a:lnTo>
                      <a:pt x="264" y="162"/>
                    </a:lnTo>
                    <a:lnTo>
                      <a:pt x="282" y="185"/>
                    </a:lnTo>
                    <a:lnTo>
                      <a:pt x="300" y="175"/>
                    </a:lnTo>
                    <a:lnTo>
                      <a:pt x="304" y="157"/>
                    </a:lnTo>
                    <a:lnTo>
                      <a:pt x="355" y="159"/>
                    </a:lnTo>
                    <a:lnTo>
                      <a:pt x="374" y="140"/>
                    </a:lnTo>
                    <a:lnTo>
                      <a:pt x="374" y="127"/>
                    </a:lnTo>
                    <a:lnTo>
                      <a:pt x="385" y="124"/>
                    </a:lnTo>
                    <a:lnTo>
                      <a:pt x="365" y="107"/>
                    </a:lnTo>
                    <a:lnTo>
                      <a:pt x="362" y="87"/>
                    </a:lnTo>
                    <a:lnTo>
                      <a:pt x="310" y="87"/>
                    </a:lnTo>
                    <a:lnTo>
                      <a:pt x="304" y="62"/>
                    </a:lnTo>
                    <a:lnTo>
                      <a:pt x="277" y="44"/>
                    </a:lnTo>
                    <a:lnTo>
                      <a:pt x="260" y="44"/>
                    </a:lnTo>
                    <a:lnTo>
                      <a:pt x="260" y="24"/>
                    </a:lnTo>
                    <a:lnTo>
                      <a:pt x="245" y="14"/>
                    </a:lnTo>
                    <a:close/>
                  </a:path>
                </a:pathLst>
              </a:custGeom>
              <a:solidFill>
                <a:srgbClr val="FF0000"/>
              </a:solid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53" name="Freeform 23">
                <a:extLst>
                  <a:ext uri="{FF2B5EF4-FFF2-40B4-BE49-F238E27FC236}">
                    <a16:creationId xmlns:a16="http://schemas.microsoft.com/office/drawing/2014/main" id="{43FFD2FD-A2EE-477B-A958-11927478B1EC}"/>
                  </a:ext>
                </a:extLst>
              </p:cNvPr>
              <p:cNvSpPr>
                <a:spLocks/>
              </p:cNvSpPr>
              <p:nvPr/>
            </p:nvSpPr>
            <p:spPr bwMode="auto">
              <a:xfrm>
                <a:off x="8103230" y="3540594"/>
                <a:ext cx="1069129" cy="495098"/>
              </a:xfrm>
              <a:custGeom>
                <a:avLst/>
                <a:gdLst/>
                <a:ahLst/>
                <a:cxnLst>
                  <a:cxn ang="0">
                    <a:pos x="730" y="258"/>
                  </a:cxn>
                  <a:cxn ang="0">
                    <a:pos x="615" y="207"/>
                  </a:cxn>
                  <a:cxn ang="0">
                    <a:pos x="568" y="163"/>
                  </a:cxn>
                  <a:cxn ang="0">
                    <a:pos x="507" y="130"/>
                  </a:cxn>
                  <a:cxn ang="0">
                    <a:pos x="462" y="117"/>
                  </a:cxn>
                  <a:cxn ang="0">
                    <a:pos x="323" y="112"/>
                  </a:cxn>
                  <a:cxn ang="0">
                    <a:pos x="237" y="112"/>
                  </a:cxn>
                  <a:cxn ang="0">
                    <a:pos x="210" y="80"/>
                  </a:cxn>
                  <a:cxn ang="0">
                    <a:pos x="203" y="43"/>
                  </a:cxn>
                  <a:cxn ang="0">
                    <a:pos x="263" y="68"/>
                  </a:cxn>
                  <a:cxn ang="0">
                    <a:pos x="327" y="80"/>
                  </a:cxn>
                  <a:cxn ang="0">
                    <a:pos x="393" y="70"/>
                  </a:cxn>
                  <a:cxn ang="0">
                    <a:pos x="423" y="60"/>
                  </a:cxn>
                  <a:cxn ang="0">
                    <a:pos x="373" y="0"/>
                  </a:cxn>
                  <a:cxn ang="0">
                    <a:pos x="328" y="12"/>
                  </a:cxn>
                  <a:cxn ang="0">
                    <a:pos x="290" y="37"/>
                  </a:cxn>
                  <a:cxn ang="0">
                    <a:pos x="170" y="25"/>
                  </a:cxn>
                  <a:cxn ang="0">
                    <a:pos x="127" y="20"/>
                  </a:cxn>
                  <a:cxn ang="0">
                    <a:pos x="92" y="42"/>
                  </a:cxn>
                  <a:cxn ang="0">
                    <a:pos x="0" y="102"/>
                  </a:cxn>
                  <a:cxn ang="0">
                    <a:pos x="47" y="162"/>
                  </a:cxn>
                  <a:cxn ang="0">
                    <a:pos x="83" y="203"/>
                  </a:cxn>
                  <a:cxn ang="0">
                    <a:pos x="110" y="233"/>
                  </a:cxn>
                  <a:cxn ang="0">
                    <a:pos x="148" y="243"/>
                  </a:cxn>
                  <a:cxn ang="0">
                    <a:pos x="222" y="212"/>
                  </a:cxn>
                  <a:cxn ang="0">
                    <a:pos x="248" y="275"/>
                  </a:cxn>
                  <a:cxn ang="0">
                    <a:pos x="298" y="283"/>
                  </a:cxn>
                  <a:cxn ang="0">
                    <a:pos x="305" y="307"/>
                  </a:cxn>
                  <a:cxn ang="0">
                    <a:pos x="350" y="323"/>
                  </a:cxn>
                  <a:cxn ang="0">
                    <a:pos x="395" y="328"/>
                  </a:cxn>
                  <a:cxn ang="0">
                    <a:pos x="432" y="317"/>
                  </a:cxn>
                  <a:cxn ang="0">
                    <a:pos x="445" y="283"/>
                  </a:cxn>
                  <a:cxn ang="0">
                    <a:pos x="472" y="228"/>
                  </a:cxn>
                  <a:cxn ang="0">
                    <a:pos x="513" y="232"/>
                  </a:cxn>
                  <a:cxn ang="0">
                    <a:pos x="592" y="300"/>
                  </a:cxn>
                  <a:cxn ang="0">
                    <a:pos x="652" y="320"/>
                  </a:cxn>
                  <a:cxn ang="0">
                    <a:pos x="697" y="307"/>
                  </a:cxn>
                  <a:cxn ang="0">
                    <a:pos x="740" y="297"/>
                  </a:cxn>
                  <a:cxn ang="0">
                    <a:pos x="760" y="332"/>
                  </a:cxn>
                  <a:cxn ang="0">
                    <a:pos x="772" y="355"/>
                  </a:cxn>
                  <a:cxn ang="0">
                    <a:pos x="777" y="297"/>
                  </a:cxn>
                  <a:cxn ang="0">
                    <a:pos x="768" y="263"/>
                  </a:cxn>
                </a:cxnLst>
                <a:rect l="0" t="0" r="r" b="b"/>
                <a:pathLst>
                  <a:path w="785" h="355">
                    <a:moveTo>
                      <a:pt x="740" y="258"/>
                    </a:moveTo>
                    <a:cubicBezTo>
                      <a:pt x="737" y="258"/>
                      <a:pt x="733" y="258"/>
                      <a:pt x="730" y="258"/>
                    </a:cubicBezTo>
                    <a:lnTo>
                      <a:pt x="635" y="252"/>
                    </a:lnTo>
                    <a:lnTo>
                      <a:pt x="615" y="207"/>
                    </a:lnTo>
                    <a:lnTo>
                      <a:pt x="580" y="180"/>
                    </a:lnTo>
                    <a:lnTo>
                      <a:pt x="568" y="163"/>
                    </a:lnTo>
                    <a:lnTo>
                      <a:pt x="527" y="138"/>
                    </a:lnTo>
                    <a:lnTo>
                      <a:pt x="507" y="130"/>
                    </a:lnTo>
                    <a:lnTo>
                      <a:pt x="492" y="118"/>
                    </a:lnTo>
                    <a:lnTo>
                      <a:pt x="462" y="117"/>
                    </a:lnTo>
                    <a:lnTo>
                      <a:pt x="440" y="97"/>
                    </a:lnTo>
                    <a:lnTo>
                      <a:pt x="323" y="112"/>
                    </a:lnTo>
                    <a:lnTo>
                      <a:pt x="272" y="133"/>
                    </a:lnTo>
                    <a:lnTo>
                      <a:pt x="237" y="112"/>
                    </a:lnTo>
                    <a:lnTo>
                      <a:pt x="225" y="102"/>
                    </a:lnTo>
                    <a:lnTo>
                      <a:pt x="210" y="80"/>
                    </a:lnTo>
                    <a:lnTo>
                      <a:pt x="193" y="72"/>
                    </a:lnTo>
                    <a:lnTo>
                      <a:pt x="203" y="43"/>
                    </a:lnTo>
                    <a:lnTo>
                      <a:pt x="233" y="43"/>
                    </a:lnTo>
                    <a:lnTo>
                      <a:pt x="263" y="68"/>
                    </a:lnTo>
                    <a:lnTo>
                      <a:pt x="273" y="85"/>
                    </a:lnTo>
                    <a:lnTo>
                      <a:pt x="327" y="80"/>
                    </a:lnTo>
                    <a:lnTo>
                      <a:pt x="343" y="72"/>
                    </a:lnTo>
                    <a:lnTo>
                      <a:pt x="393" y="70"/>
                    </a:lnTo>
                    <a:lnTo>
                      <a:pt x="398" y="60"/>
                    </a:lnTo>
                    <a:lnTo>
                      <a:pt x="423" y="60"/>
                    </a:lnTo>
                    <a:lnTo>
                      <a:pt x="415" y="2"/>
                    </a:lnTo>
                    <a:lnTo>
                      <a:pt x="373" y="0"/>
                    </a:lnTo>
                    <a:lnTo>
                      <a:pt x="353" y="13"/>
                    </a:lnTo>
                    <a:lnTo>
                      <a:pt x="328" y="12"/>
                    </a:lnTo>
                    <a:lnTo>
                      <a:pt x="302" y="33"/>
                    </a:lnTo>
                    <a:lnTo>
                      <a:pt x="290" y="37"/>
                    </a:lnTo>
                    <a:lnTo>
                      <a:pt x="277" y="22"/>
                    </a:lnTo>
                    <a:lnTo>
                      <a:pt x="170" y="25"/>
                    </a:lnTo>
                    <a:lnTo>
                      <a:pt x="137" y="30"/>
                    </a:lnTo>
                    <a:lnTo>
                      <a:pt x="127" y="20"/>
                    </a:lnTo>
                    <a:lnTo>
                      <a:pt x="98" y="23"/>
                    </a:lnTo>
                    <a:lnTo>
                      <a:pt x="92" y="42"/>
                    </a:lnTo>
                    <a:lnTo>
                      <a:pt x="60" y="47"/>
                    </a:lnTo>
                    <a:lnTo>
                      <a:pt x="0" y="102"/>
                    </a:lnTo>
                    <a:lnTo>
                      <a:pt x="17" y="147"/>
                    </a:lnTo>
                    <a:lnTo>
                      <a:pt x="47" y="162"/>
                    </a:lnTo>
                    <a:lnTo>
                      <a:pt x="57" y="180"/>
                    </a:lnTo>
                    <a:lnTo>
                      <a:pt x="83" y="203"/>
                    </a:lnTo>
                    <a:lnTo>
                      <a:pt x="87" y="225"/>
                    </a:lnTo>
                    <a:lnTo>
                      <a:pt x="110" y="233"/>
                    </a:lnTo>
                    <a:lnTo>
                      <a:pt x="135" y="232"/>
                    </a:lnTo>
                    <a:lnTo>
                      <a:pt x="148" y="243"/>
                    </a:lnTo>
                    <a:lnTo>
                      <a:pt x="193" y="235"/>
                    </a:lnTo>
                    <a:lnTo>
                      <a:pt x="222" y="212"/>
                    </a:lnTo>
                    <a:lnTo>
                      <a:pt x="238" y="225"/>
                    </a:lnTo>
                    <a:lnTo>
                      <a:pt x="248" y="275"/>
                    </a:lnTo>
                    <a:lnTo>
                      <a:pt x="287" y="302"/>
                    </a:lnTo>
                    <a:lnTo>
                      <a:pt x="298" y="283"/>
                    </a:lnTo>
                    <a:lnTo>
                      <a:pt x="307" y="288"/>
                    </a:lnTo>
                    <a:lnTo>
                      <a:pt x="305" y="307"/>
                    </a:lnTo>
                    <a:lnTo>
                      <a:pt x="320" y="318"/>
                    </a:lnTo>
                    <a:lnTo>
                      <a:pt x="350" y="323"/>
                    </a:lnTo>
                    <a:lnTo>
                      <a:pt x="357" y="332"/>
                    </a:lnTo>
                    <a:lnTo>
                      <a:pt x="395" y="328"/>
                    </a:lnTo>
                    <a:lnTo>
                      <a:pt x="392" y="318"/>
                    </a:lnTo>
                    <a:lnTo>
                      <a:pt x="432" y="317"/>
                    </a:lnTo>
                    <a:lnTo>
                      <a:pt x="438" y="295"/>
                    </a:lnTo>
                    <a:lnTo>
                      <a:pt x="445" y="283"/>
                    </a:lnTo>
                    <a:lnTo>
                      <a:pt x="450" y="233"/>
                    </a:lnTo>
                    <a:lnTo>
                      <a:pt x="472" y="228"/>
                    </a:lnTo>
                    <a:lnTo>
                      <a:pt x="485" y="218"/>
                    </a:lnTo>
                    <a:lnTo>
                      <a:pt x="513" y="232"/>
                    </a:lnTo>
                    <a:lnTo>
                      <a:pt x="570" y="268"/>
                    </a:lnTo>
                    <a:lnTo>
                      <a:pt x="592" y="300"/>
                    </a:lnTo>
                    <a:lnTo>
                      <a:pt x="627" y="297"/>
                    </a:lnTo>
                    <a:lnTo>
                      <a:pt x="652" y="320"/>
                    </a:lnTo>
                    <a:lnTo>
                      <a:pt x="682" y="318"/>
                    </a:lnTo>
                    <a:lnTo>
                      <a:pt x="697" y="307"/>
                    </a:lnTo>
                    <a:lnTo>
                      <a:pt x="723" y="307"/>
                    </a:lnTo>
                    <a:lnTo>
                      <a:pt x="740" y="297"/>
                    </a:lnTo>
                    <a:lnTo>
                      <a:pt x="752" y="300"/>
                    </a:lnTo>
                    <a:lnTo>
                      <a:pt x="760" y="332"/>
                    </a:lnTo>
                    <a:lnTo>
                      <a:pt x="768" y="342"/>
                    </a:lnTo>
                    <a:lnTo>
                      <a:pt x="772" y="355"/>
                    </a:lnTo>
                    <a:lnTo>
                      <a:pt x="778" y="332"/>
                    </a:lnTo>
                    <a:lnTo>
                      <a:pt x="777" y="297"/>
                    </a:lnTo>
                    <a:lnTo>
                      <a:pt x="785" y="285"/>
                    </a:lnTo>
                    <a:lnTo>
                      <a:pt x="768" y="263"/>
                    </a:lnTo>
                    <a:lnTo>
                      <a:pt x="740" y="258"/>
                    </a:lnTo>
                    <a:close/>
                  </a:path>
                </a:pathLst>
              </a:custGeom>
              <a:solidFill>
                <a:srgbClr val="FF0000"/>
              </a:solidFill>
              <a:ln w="12700" cap="flat" cmpd="sng">
                <a:solidFill>
                  <a:schemeClr val="tx1"/>
                </a:solidFill>
                <a:prstDash val="solid"/>
                <a:round/>
                <a:headEnd type="none" w="sm" len="sm"/>
                <a:tailEnd type="none" w="sm" len="sm"/>
              </a:ln>
              <a:effectLst/>
            </p:spPr>
            <p:txBody>
              <a:bodyPr wrap="none" anchor="ctr"/>
              <a:lstStyle/>
              <a:p>
                <a:endParaRPr lang="nl-NL" sz="1100" b="1"/>
              </a:p>
            </p:txBody>
          </p:sp>
          <p:cxnSp>
            <p:nvCxnSpPr>
              <p:cNvPr id="54" name="Line 26">
                <a:extLst>
                  <a:ext uri="{FF2B5EF4-FFF2-40B4-BE49-F238E27FC236}">
                    <a16:creationId xmlns:a16="http://schemas.microsoft.com/office/drawing/2014/main" id="{9747A943-D3EB-45EF-9FF9-341A0061A52F}"/>
                  </a:ext>
                </a:extLst>
              </p:cNvPr>
              <p:cNvCxnSpPr/>
              <p:nvPr/>
            </p:nvCxnSpPr>
            <p:spPr bwMode="auto">
              <a:xfrm flipV="1">
                <a:off x="8406111" y="3409679"/>
                <a:ext cx="61028" cy="135676"/>
              </a:xfrm>
              <a:prstGeom prst="line">
                <a:avLst/>
              </a:prstGeom>
              <a:grpFill/>
              <a:ln w="12700">
                <a:solidFill>
                  <a:schemeClr val="tx1"/>
                </a:solidFill>
                <a:round/>
                <a:headEnd type="none" w="sm" len="sm"/>
                <a:tailEnd type="none" w="sm" len="sm"/>
              </a:ln>
              <a:effectLst/>
            </p:spPr>
          </p:cxnSp>
          <p:cxnSp>
            <p:nvCxnSpPr>
              <p:cNvPr id="55" name="Line 28">
                <a:extLst>
                  <a:ext uri="{FF2B5EF4-FFF2-40B4-BE49-F238E27FC236}">
                    <a16:creationId xmlns:a16="http://schemas.microsoft.com/office/drawing/2014/main" id="{CDABB6D3-5997-414E-BC25-8E2550495E91}"/>
                  </a:ext>
                </a:extLst>
              </p:cNvPr>
              <p:cNvCxnSpPr/>
              <p:nvPr/>
            </p:nvCxnSpPr>
            <p:spPr bwMode="auto">
              <a:xfrm flipV="1">
                <a:off x="8686390" y="3497751"/>
                <a:ext cx="54247" cy="45226"/>
              </a:xfrm>
              <a:prstGeom prst="line">
                <a:avLst/>
              </a:prstGeom>
              <a:grpFill/>
              <a:ln w="12700">
                <a:solidFill>
                  <a:schemeClr val="tx1"/>
                </a:solidFill>
                <a:round/>
                <a:headEnd type="none" w="sm" len="sm"/>
                <a:tailEnd type="none" w="sm" len="sm"/>
              </a:ln>
              <a:effectLst/>
            </p:spPr>
          </p:cxnSp>
          <p:sp>
            <p:nvSpPr>
              <p:cNvPr id="56" name="Freeform 30">
                <a:extLst>
                  <a:ext uri="{FF2B5EF4-FFF2-40B4-BE49-F238E27FC236}">
                    <a16:creationId xmlns:a16="http://schemas.microsoft.com/office/drawing/2014/main" id="{F10AD0BA-EAF7-4A72-BD5C-AEC12A499162}"/>
                  </a:ext>
                </a:extLst>
              </p:cNvPr>
              <p:cNvSpPr>
                <a:spLocks/>
              </p:cNvSpPr>
              <p:nvPr/>
            </p:nvSpPr>
            <p:spPr bwMode="auto">
              <a:xfrm>
                <a:off x="8996052" y="3454905"/>
                <a:ext cx="65549" cy="59507"/>
              </a:xfrm>
              <a:custGeom>
                <a:avLst/>
                <a:gdLst/>
                <a:ahLst/>
                <a:cxnLst>
                  <a:cxn ang="0">
                    <a:pos x="0" y="10"/>
                  </a:cxn>
                  <a:cxn ang="0">
                    <a:pos x="13" y="42"/>
                  </a:cxn>
                  <a:cxn ang="0">
                    <a:pos x="50" y="40"/>
                  </a:cxn>
                  <a:cxn ang="0">
                    <a:pos x="50" y="25"/>
                  </a:cxn>
                  <a:cxn ang="0">
                    <a:pos x="27" y="17"/>
                  </a:cxn>
                  <a:cxn ang="0">
                    <a:pos x="23" y="0"/>
                  </a:cxn>
                  <a:cxn ang="0">
                    <a:pos x="0" y="10"/>
                  </a:cxn>
                </a:cxnLst>
                <a:rect l="0" t="0" r="r" b="b"/>
                <a:pathLst>
                  <a:path w="50" h="42">
                    <a:moveTo>
                      <a:pt x="0" y="10"/>
                    </a:moveTo>
                    <a:lnTo>
                      <a:pt x="13" y="42"/>
                    </a:lnTo>
                    <a:lnTo>
                      <a:pt x="50" y="40"/>
                    </a:lnTo>
                    <a:lnTo>
                      <a:pt x="50" y="25"/>
                    </a:lnTo>
                    <a:lnTo>
                      <a:pt x="27" y="17"/>
                    </a:lnTo>
                    <a:lnTo>
                      <a:pt x="23" y="0"/>
                    </a:lnTo>
                    <a:lnTo>
                      <a:pt x="0" y="10"/>
                    </a:lnTo>
                    <a:close/>
                  </a:path>
                </a:pathLst>
              </a:custGeom>
              <a:grp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57" name="Freeform 35">
                <a:extLst>
                  <a:ext uri="{FF2B5EF4-FFF2-40B4-BE49-F238E27FC236}">
                    <a16:creationId xmlns:a16="http://schemas.microsoft.com/office/drawing/2014/main" id="{0E5AE282-6956-4C27-86DA-5B38EF3ED7F1}"/>
                  </a:ext>
                </a:extLst>
              </p:cNvPr>
              <p:cNvSpPr>
                <a:spLocks/>
              </p:cNvSpPr>
              <p:nvPr/>
            </p:nvSpPr>
            <p:spPr bwMode="auto">
              <a:xfrm>
                <a:off x="8849131" y="3554876"/>
                <a:ext cx="264458" cy="211845"/>
              </a:xfrm>
              <a:custGeom>
                <a:avLst/>
                <a:gdLst/>
                <a:ahLst/>
                <a:cxnLst>
                  <a:cxn ang="0">
                    <a:pos x="103" y="12"/>
                  </a:cxn>
                  <a:cxn ang="0">
                    <a:pos x="93" y="0"/>
                  </a:cxn>
                  <a:cxn ang="0">
                    <a:pos x="50" y="2"/>
                  </a:cxn>
                  <a:cxn ang="0">
                    <a:pos x="31" y="12"/>
                  </a:cxn>
                  <a:cxn ang="0">
                    <a:pos x="15" y="7"/>
                  </a:cxn>
                  <a:cxn ang="0">
                    <a:pos x="0" y="30"/>
                  </a:cxn>
                  <a:cxn ang="0">
                    <a:pos x="23" y="52"/>
                  </a:cxn>
                  <a:cxn ang="0">
                    <a:pos x="43" y="50"/>
                  </a:cxn>
                  <a:cxn ang="0">
                    <a:pos x="40" y="73"/>
                  </a:cxn>
                  <a:cxn ang="0">
                    <a:pos x="65" y="97"/>
                  </a:cxn>
                  <a:cxn ang="0">
                    <a:pos x="65" y="117"/>
                  </a:cxn>
                  <a:cxn ang="0">
                    <a:pos x="131" y="120"/>
                  </a:cxn>
                  <a:cxn ang="0">
                    <a:pos x="148" y="135"/>
                  </a:cxn>
                  <a:cxn ang="0">
                    <a:pos x="165" y="132"/>
                  </a:cxn>
                  <a:cxn ang="0">
                    <a:pos x="171" y="152"/>
                  </a:cxn>
                  <a:cxn ang="0">
                    <a:pos x="195" y="143"/>
                  </a:cxn>
                  <a:cxn ang="0">
                    <a:pos x="190" y="73"/>
                  </a:cxn>
                  <a:cxn ang="0">
                    <a:pos x="160" y="33"/>
                  </a:cxn>
                  <a:cxn ang="0">
                    <a:pos x="150" y="15"/>
                  </a:cxn>
                  <a:cxn ang="0">
                    <a:pos x="103" y="12"/>
                  </a:cxn>
                </a:cxnLst>
                <a:rect l="0" t="0" r="r" b="b"/>
                <a:pathLst>
                  <a:path w="195" h="152">
                    <a:moveTo>
                      <a:pt x="103" y="12"/>
                    </a:moveTo>
                    <a:lnTo>
                      <a:pt x="93" y="0"/>
                    </a:lnTo>
                    <a:lnTo>
                      <a:pt x="50" y="2"/>
                    </a:lnTo>
                    <a:lnTo>
                      <a:pt x="31" y="12"/>
                    </a:lnTo>
                    <a:lnTo>
                      <a:pt x="15" y="7"/>
                    </a:lnTo>
                    <a:lnTo>
                      <a:pt x="0" y="30"/>
                    </a:lnTo>
                    <a:lnTo>
                      <a:pt x="23" y="52"/>
                    </a:lnTo>
                    <a:lnTo>
                      <a:pt x="43" y="50"/>
                    </a:lnTo>
                    <a:lnTo>
                      <a:pt x="40" y="73"/>
                    </a:lnTo>
                    <a:lnTo>
                      <a:pt x="65" y="97"/>
                    </a:lnTo>
                    <a:lnTo>
                      <a:pt x="65" y="117"/>
                    </a:lnTo>
                    <a:lnTo>
                      <a:pt x="131" y="120"/>
                    </a:lnTo>
                    <a:lnTo>
                      <a:pt x="148" y="135"/>
                    </a:lnTo>
                    <a:lnTo>
                      <a:pt x="165" y="132"/>
                    </a:lnTo>
                    <a:lnTo>
                      <a:pt x="171" y="152"/>
                    </a:lnTo>
                    <a:lnTo>
                      <a:pt x="195" y="143"/>
                    </a:lnTo>
                    <a:lnTo>
                      <a:pt x="190" y="73"/>
                    </a:lnTo>
                    <a:lnTo>
                      <a:pt x="160" y="33"/>
                    </a:lnTo>
                    <a:lnTo>
                      <a:pt x="150" y="15"/>
                    </a:lnTo>
                    <a:lnTo>
                      <a:pt x="103" y="12"/>
                    </a:lnTo>
                    <a:close/>
                  </a:path>
                </a:pathLst>
              </a:custGeom>
              <a:grpFill/>
              <a:ln w="12700" cap="flat" cmpd="sng">
                <a:solidFill>
                  <a:schemeClr val="tx1"/>
                </a:solidFill>
                <a:prstDash val="solid"/>
                <a:round/>
                <a:headEnd type="none" w="sm" len="sm"/>
                <a:tailEnd type="none" w="sm" len="sm"/>
              </a:ln>
              <a:effectLst/>
            </p:spPr>
            <p:txBody>
              <a:bodyPr wrap="none" anchor="ctr"/>
              <a:lstStyle/>
              <a:p>
                <a:endParaRPr lang="nl-NL" sz="1100" b="1"/>
              </a:p>
            </p:txBody>
          </p:sp>
          <p:sp>
            <p:nvSpPr>
              <p:cNvPr id="58" name="Freeform 22">
                <a:extLst>
                  <a:ext uri="{FF2B5EF4-FFF2-40B4-BE49-F238E27FC236}">
                    <a16:creationId xmlns:a16="http://schemas.microsoft.com/office/drawing/2014/main" id="{5F3ABAA2-1F9F-4AD3-B471-7F461847D91E}"/>
                  </a:ext>
                </a:extLst>
              </p:cNvPr>
              <p:cNvSpPr>
                <a:spLocks/>
              </p:cNvSpPr>
              <p:nvPr/>
            </p:nvSpPr>
            <p:spPr bwMode="auto">
              <a:xfrm>
                <a:off x="7996994" y="3959524"/>
                <a:ext cx="1105294" cy="430832"/>
              </a:xfrm>
              <a:custGeom>
                <a:avLst/>
                <a:gdLst/>
                <a:ahLst/>
                <a:cxnLst>
                  <a:cxn ang="0">
                    <a:pos x="356" y="92"/>
                  </a:cxn>
                  <a:cxn ang="0">
                    <a:pos x="336" y="68"/>
                  </a:cxn>
                  <a:cxn ang="0">
                    <a:pos x="268" y="38"/>
                  </a:cxn>
                  <a:cxn ang="0">
                    <a:pos x="221" y="30"/>
                  </a:cxn>
                  <a:cxn ang="0">
                    <a:pos x="186" y="7"/>
                  </a:cxn>
                  <a:cxn ang="0">
                    <a:pos x="113" y="0"/>
                  </a:cxn>
                  <a:cxn ang="0">
                    <a:pos x="83" y="8"/>
                  </a:cxn>
                  <a:cxn ang="0">
                    <a:pos x="36" y="32"/>
                  </a:cxn>
                  <a:cxn ang="0">
                    <a:pos x="8" y="68"/>
                  </a:cxn>
                  <a:cxn ang="0">
                    <a:pos x="26" y="108"/>
                  </a:cxn>
                  <a:cxn ang="0">
                    <a:pos x="5" y="153"/>
                  </a:cxn>
                  <a:cxn ang="0">
                    <a:pos x="36" y="207"/>
                  </a:cxn>
                  <a:cxn ang="0">
                    <a:pos x="63" y="237"/>
                  </a:cxn>
                  <a:cxn ang="0">
                    <a:pos x="111" y="232"/>
                  </a:cxn>
                  <a:cxn ang="0">
                    <a:pos x="140" y="178"/>
                  </a:cxn>
                  <a:cxn ang="0">
                    <a:pos x="203" y="170"/>
                  </a:cxn>
                  <a:cxn ang="0">
                    <a:pos x="246" y="157"/>
                  </a:cxn>
                  <a:cxn ang="0">
                    <a:pos x="315" y="190"/>
                  </a:cxn>
                  <a:cxn ang="0">
                    <a:pos x="381" y="222"/>
                  </a:cxn>
                  <a:cxn ang="0">
                    <a:pos x="410" y="252"/>
                  </a:cxn>
                  <a:cxn ang="0">
                    <a:pos x="401" y="278"/>
                  </a:cxn>
                  <a:cxn ang="0">
                    <a:pos x="435" y="298"/>
                  </a:cxn>
                  <a:cxn ang="0">
                    <a:pos x="511" y="312"/>
                  </a:cxn>
                  <a:cxn ang="0">
                    <a:pos x="561" y="282"/>
                  </a:cxn>
                  <a:cxn ang="0">
                    <a:pos x="616" y="247"/>
                  </a:cxn>
                  <a:cxn ang="0">
                    <a:pos x="715" y="205"/>
                  </a:cxn>
                  <a:cxn ang="0">
                    <a:pos x="753" y="165"/>
                  </a:cxn>
                  <a:cxn ang="0">
                    <a:pos x="811" y="110"/>
                  </a:cxn>
                  <a:cxn ang="0">
                    <a:pos x="791" y="72"/>
                  </a:cxn>
                  <a:cxn ang="0">
                    <a:pos x="750" y="107"/>
                  </a:cxn>
                  <a:cxn ang="0">
                    <a:pos x="721" y="82"/>
                  </a:cxn>
                  <a:cxn ang="0">
                    <a:pos x="696" y="95"/>
                  </a:cxn>
                  <a:cxn ang="0">
                    <a:pos x="668" y="83"/>
                  </a:cxn>
                  <a:cxn ang="0">
                    <a:pos x="638" y="70"/>
                  </a:cxn>
                  <a:cxn ang="0">
                    <a:pos x="620" y="38"/>
                  </a:cxn>
                  <a:cxn ang="0">
                    <a:pos x="581" y="22"/>
                  </a:cxn>
                  <a:cxn ang="0">
                    <a:pos x="571" y="53"/>
                  </a:cxn>
                  <a:cxn ang="0">
                    <a:pos x="553" y="80"/>
                  </a:cxn>
                  <a:cxn ang="0">
                    <a:pos x="528" y="98"/>
                  </a:cxn>
                  <a:cxn ang="0">
                    <a:pos x="460" y="113"/>
                  </a:cxn>
                  <a:cxn ang="0">
                    <a:pos x="426" y="102"/>
                  </a:cxn>
                  <a:cxn ang="0">
                    <a:pos x="398" y="115"/>
                  </a:cxn>
                </a:cxnLst>
                <a:rect l="0" t="0" r="r" b="b"/>
                <a:pathLst>
                  <a:path w="813" h="312">
                    <a:moveTo>
                      <a:pt x="368" y="115"/>
                    </a:moveTo>
                    <a:lnTo>
                      <a:pt x="356" y="92"/>
                    </a:lnTo>
                    <a:lnTo>
                      <a:pt x="343" y="78"/>
                    </a:lnTo>
                    <a:lnTo>
                      <a:pt x="336" y="68"/>
                    </a:lnTo>
                    <a:lnTo>
                      <a:pt x="298" y="53"/>
                    </a:lnTo>
                    <a:lnTo>
                      <a:pt x="268" y="38"/>
                    </a:lnTo>
                    <a:lnTo>
                      <a:pt x="238" y="28"/>
                    </a:lnTo>
                    <a:lnTo>
                      <a:pt x="221" y="30"/>
                    </a:lnTo>
                    <a:lnTo>
                      <a:pt x="201" y="10"/>
                    </a:lnTo>
                    <a:lnTo>
                      <a:pt x="186" y="7"/>
                    </a:lnTo>
                    <a:lnTo>
                      <a:pt x="176" y="0"/>
                    </a:lnTo>
                    <a:lnTo>
                      <a:pt x="113" y="0"/>
                    </a:lnTo>
                    <a:lnTo>
                      <a:pt x="110" y="10"/>
                    </a:lnTo>
                    <a:lnTo>
                      <a:pt x="83" y="8"/>
                    </a:lnTo>
                    <a:lnTo>
                      <a:pt x="66" y="32"/>
                    </a:lnTo>
                    <a:lnTo>
                      <a:pt x="36" y="32"/>
                    </a:lnTo>
                    <a:lnTo>
                      <a:pt x="25" y="45"/>
                    </a:lnTo>
                    <a:lnTo>
                      <a:pt x="8" y="68"/>
                    </a:lnTo>
                    <a:lnTo>
                      <a:pt x="15" y="102"/>
                    </a:lnTo>
                    <a:lnTo>
                      <a:pt x="26" y="108"/>
                    </a:lnTo>
                    <a:lnTo>
                      <a:pt x="0" y="120"/>
                    </a:lnTo>
                    <a:lnTo>
                      <a:pt x="5" y="153"/>
                    </a:lnTo>
                    <a:lnTo>
                      <a:pt x="15" y="167"/>
                    </a:lnTo>
                    <a:lnTo>
                      <a:pt x="36" y="207"/>
                    </a:lnTo>
                    <a:lnTo>
                      <a:pt x="41" y="220"/>
                    </a:lnTo>
                    <a:lnTo>
                      <a:pt x="63" y="237"/>
                    </a:lnTo>
                    <a:lnTo>
                      <a:pt x="91" y="242"/>
                    </a:lnTo>
                    <a:lnTo>
                      <a:pt x="111" y="232"/>
                    </a:lnTo>
                    <a:lnTo>
                      <a:pt x="141" y="232"/>
                    </a:lnTo>
                    <a:lnTo>
                      <a:pt x="140" y="178"/>
                    </a:lnTo>
                    <a:lnTo>
                      <a:pt x="163" y="165"/>
                    </a:lnTo>
                    <a:lnTo>
                      <a:pt x="203" y="170"/>
                    </a:lnTo>
                    <a:lnTo>
                      <a:pt x="223" y="155"/>
                    </a:lnTo>
                    <a:lnTo>
                      <a:pt x="246" y="157"/>
                    </a:lnTo>
                    <a:lnTo>
                      <a:pt x="253" y="170"/>
                    </a:lnTo>
                    <a:lnTo>
                      <a:pt x="315" y="190"/>
                    </a:lnTo>
                    <a:lnTo>
                      <a:pt x="373" y="207"/>
                    </a:lnTo>
                    <a:lnTo>
                      <a:pt x="381" y="222"/>
                    </a:lnTo>
                    <a:lnTo>
                      <a:pt x="408" y="227"/>
                    </a:lnTo>
                    <a:lnTo>
                      <a:pt x="410" y="252"/>
                    </a:lnTo>
                    <a:lnTo>
                      <a:pt x="396" y="263"/>
                    </a:lnTo>
                    <a:lnTo>
                      <a:pt x="401" y="278"/>
                    </a:lnTo>
                    <a:lnTo>
                      <a:pt x="410" y="287"/>
                    </a:lnTo>
                    <a:lnTo>
                      <a:pt x="435" y="298"/>
                    </a:lnTo>
                    <a:lnTo>
                      <a:pt x="490" y="298"/>
                    </a:lnTo>
                    <a:lnTo>
                      <a:pt x="511" y="312"/>
                    </a:lnTo>
                    <a:lnTo>
                      <a:pt x="533" y="292"/>
                    </a:lnTo>
                    <a:lnTo>
                      <a:pt x="561" y="282"/>
                    </a:lnTo>
                    <a:lnTo>
                      <a:pt x="590" y="272"/>
                    </a:lnTo>
                    <a:lnTo>
                      <a:pt x="616" y="247"/>
                    </a:lnTo>
                    <a:lnTo>
                      <a:pt x="675" y="243"/>
                    </a:lnTo>
                    <a:lnTo>
                      <a:pt x="715" y="205"/>
                    </a:lnTo>
                    <a:lnTo>
                      <a:pt x="748" y="188"/>
                    </a:lnTo>
                    <a:lnTo>
                      <a:pt x="753" y="165"/>
                    </a:lnTo>
                    <a:lnTo>
                      <a:pt x="770" y="160"/>
                    </a:lnTo>
                    <a:lnTo>
                      <a:pt x="811" y="110"/>
                    </a:lnTo>
                    <a:lnTo>
                      <a:pt x="813" y="82"/>
                    </a:lnTo>
                    <a:lnTo>
                      <a:pt x="791" y="72"/>
                    </a:lnTo>
                    <a:lnTo>
                      <a:pt x="791" y="105"/>
                    </a:lnTo>
                    <a:lnTo>
                      <a:pt x="750" y="107"/>
                    </a:lnTo>
                    <a:lnTo>
                      <a:pt x="743" y="80"/>
                    </a:lnTo>
                    <a:lnTo>
                      <a:pt x="721" y="82"/>
                    </a:lnTo>
                    <a:lnTo>
                      <a:pt x="715" y="102"/>
                    </a:lnTo>
                    <a:lnTo>
                      <a:pt x="696" y="95"/>
                    </a:lnTo>
                    <a:lnTo>
                      <a:pt x="678" y="82"/>
                    </a:lnTo>
                    <a:lnTo>
                      <a:pt x="668" y="83"/>
                    </a:lnTo>
                    <a:lnTo>
                      <a:pt x="650" y="75"/>
                    </a:lnTo>
                    <a:lnTo>
                      <a:pt x="638" y="70"/>
                    </a:lnTo>
                    <a:lnTo>
                      <a:pt x="640" y="55"/>
                    </a:lnTo>
                    <a:lnTo>
                      <a:pt x="620" y="38"/>
                    </a:lnTo>
                    <a:lnTo>
                      <a:pt x="611" y="18"/>
                    </a:lnTo>
                    <a:lnTo>
                      <a:pt x="581" y="22"/>
                    </a:lnTo>
                    <a:lnTo>
                      <a:pt x="580" y="43"/>
                    </a:lnTo>
                    <a:lnTo>
                      <a:pt x="571" y="53"/>
                    </a:lnTo>
                    <a:lnTo>
                      <a:pt x="573" y="72"/>
                    </a:lnTo>
                    <a:lnTo>
                      <a:pt x="553" y="80"/>
                    </a:lnTo>
                    <a:lnTo>
                      <a:pt x="535" y="82"/>
                    </a:lnTo>
                    <a:lnTo>
                      <a:pt x="528" y="98"/>
                    </a:lnTo>
                    <a:lnTo>
                      <a:pt x="473" y="100"/>
                    </a:lnTo>
                    <a:lnTo>
                      <a:pt x="460" y="113"/>
                    </a:lnTo>
                    <a:lnTo>
                      <a:pt x="438" y="117"/>
                    </a:lnTo>
                    <a:lnTo>
                      <a:pt x="426" y="102"/>
                    </a:lnTo>
                    <a:lnTo>
                      <a:pt x="413" y="92"/>
                    </a:lnTo>
                    <a:lnTo>
                      <a:pt x="398" y="115"/>
                    </a:lnTo>
                    <a:lnTo>
                      <a:pt x="368" y="115"/>
                    </a:lnTo>
                    <a:close/>
                  </a:path>
                </a:pathLst>
              </a:custGeom>
              <a:solidFill>
                <a:srgbClr val="FF0000"/>
              </a:solidFill>
              <a:ln w="12700" cap="flat" cmpd="sng">
                <a:solidFill>
                  <a:schemeClr val="tx1"/>
                </a:solidFill>
                <a:prstDash val="solid"/>
                <a:round/>
                <a:headEnd type="none" w="sm" len="sm"/>
                <a:tailEnd type="none" w="sm" len="sm"/>
              </a:ln>
              <a:effectLst/>
            </p:spPr>
            <p:txBody>
              <a:bodyPr wrap="none" anchor="ctr"/>
              <a:lstStyle/>
              <a:p>
                <a:endParaRPr lang="nl-NL" sz="1100" b="1">
                  <a:highlight>
                    <a:srgbClr val="FFFF00"/>
                  </a:highlight>
                </a:endParaRPr>
              </a:p>
            </p:txBody>
          </p:sp>
        </p:grpSp>
      </p:grpSp>
      <p:sp>
        <p:nvSpPr>
          <p:cNvPr id="8" name="Rechthoek 7">
            <a:extLst>
              <a:ext uri="{FF2B5EF4-FFF2-40B4-BE49-F238E27FC236}">
                <a16:creationId xmlns:a16="http://schemas.microsoft.com/office/drawing/2014/main" id="{1F69C49F-4EAF-2D19-9389-C4B8B444C4C0}"/>
              </a:ext>
            </a:extLst>
          </p:cNvPr>
          <p:cNvSpPr/>
          <p:nvPr/>
        </p:nvSpPr>
        <p:spPr>
          <a:xfrm>
            <a:off x="917214" y="641406"/>
            <a:ext cx="3906577" cy="80043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2800"/>
          </a:p>
        </p:txBody>
      </p:sp>
      <p:sp>
        <p:nvSpPr>
          <p:cNvPr id="59" name="Titel 10">
            <a:extLst>
              <a:ext uri="{FF2B5EF4-FFF2-40B4-BE49-F238E27FC236}">
                <a16:creationId xmlns:a16="http://schemas.microsoft.com/office/drawing/2014/main" id="{9CB2A85D-E988-2806-7AE6-A1446C06D369}"/>
              </a:ext>
            </a:extLst>
          </p:cNvPr>
          <p:cNvSpPr>
            <a:spLocks noGrp="1"/>
          </p:cNvSpPr>
          <p:nvPr>
            <p:ph type="title"/>
          </p:nvPr>
        </p:nvSpPr>
        <p:spPr>
          <a:xfrm>
            <a:off x="797792" y="683813"/>
            <a:ext cx="6905213" cy="1169883"/>
          </a:xfrm>
          <a:solidFill>
            <a:schemeClr val="bg1"/>
          </a:solidFill>
          <a:ln>
            <a:solidFill>
              <a:schemeClr val="bg1"/>
            </a:solidFill>
          </a:ln>
        </p:spPr>
        <p:txBody>
          <a:bodyPr>
            <a:normAutofit/>
          </a:bodyPr>
          <a:lstStyle/>
          <a:p>
            <a:r>
              <a:rPr lang="nl-NL" b="1"/>
              <a:t> Context Zeeland</a:t>
            </a:r>
          </a:p>
        </p:txBody>
      </p:sp>
    </p:spTree>
    <p:extLst>
      <p:ext uri="{BB962C8B-B14F-4D97-AF65-F5344CB8AC3E}">
        <p14:creationId xmlns:p14="http://schemas.microsoft.com/office/powerpoint/2010/main" val="2108940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AB057FA-25F3-7E58-47F0-CB0514930C66}"/>
              </a:ext>
            </a:extLst>
          </p:cNvPr>
          <p:cNvSpPr>
            <a:spLocks noGrp="1"/>
          </p:cNvSpPr>
          <p:nvPr>
            <p:ph type="title"/>
          </p:nvPr>
        </p:nvSpPr>
        <p:spPr>
          <a:xfrm>
            <a:off x="1135282" y="571603"/>
            <a:ext cx="9204164" cy="555068"/>
          </a:xfrm>
        </p:spPr>
        <p:txBody>
          <a:bodyPr>
            <a:normAutofit/>
          </a:bodyPr>
          <a:lstStyle/>
          <a:p>
            <a:r>
              <a:rPr lang="nl-NL" dirty="0" err="1"/>
              <a:t>ZorgSaam</a:t>
            </a:r>
            <a:r>
              <a:rPr lang="nl-NL" dirty="0"/>
              <a:t> dichtbij</a:t>
            </a:r>
          </a:p>
        </p:txBody>
      </p:sp>
      <p:pic>
        <p:nvPicPr>
          <p:cNvPr id="11" name="Afbeelding 10" descr="Afbeelding met kaart&#10;&#10;Automatisch gegenereerde beschrijving">
            <a:extLst>
              <a:ext uri="{FF2B5EF4-FFF2-40B4-BE49-F238E27FC236}">
                <a16:creationId xmlns:a16="http://schemas.microsoft.com/office/drawing/2014/main" id="{FF12FDA2-086C-AD11-1D9D-BA9CB77FC168}"/>
              </a:ext>
            </a:extLst>
          </p:cNvPr>
          <p:cNvPicPr>
            <a:picLocks noChangeAspect="1"/>
          </p:cNvPicPr>
          <p:nvPr/>
        </p:nvPicPr>
        <p:blipFill rotWithShape="1">
          <a:blip r:embed="rId2">
            <a:clrChange>
              <a:clrFrom>
                <a:srgbClr val="FFFFFF"/>
              </a:clrFrom>
              <a:clrTo>
                <a:srgbClr val="FFFFFF">
                  <a:alpha val="0"/>
                </a:srgbClr>
              </a:clrTo>
            </a:clrChange>
            <a:extLst>
              <a:ext uri="{BEBA8EAE-BF5A-486C-A8C5-ECC9F3942E4B}">
                <a14:imgProps xmlns:a14="http://schemas.microsoft.com/office/drawing/2010/main">
                  <a14:imgLayer r:embed="rId3">
                    <a14:imgEffect>
                      <a14:sharpenSoften amount="25000"/>
                    </a14:imgEffect>
                  </a14:imgLayer>
                </a14:imgProps>
              </a:ext>
            </a:extLst>
          </a:blip>
          <a:srcRect l="-128" t="22092" r="128" b="-3265"/>
          <a:stretch/>
        </p:blipFill>
        <p:spPr>
          <a:xfrm>
            <a:off x="439513" y="1126671"/>
            <a:ext cx="10617205" cy="6095234"/>
          </a:xfrm>
          <a:prstGeom prst="rect">
            <a:avLst/>
          </a:prstGeom>
        </p:spPr>
      </p:pic>
    </p:spTree>
    <p:extLst>
      <p:ext uri="{BB962C8B-B14F-4D97-AF65-F5344CB8AC3E}">
        <p14:creationId xmlns:p14="http://schemas.microsoft.com/office/powerpoint/2010/main" val="3710993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40970B4-4B01-DF2C-D4AC-A1375B093AAE}"/>
              </a:ext>
            </a:extLst>
          </p:cNvPr>
          <p:cNvSpPr>
            <a:spLocks noGrp="1"/>
          </p:cNvSpPr>
          <p:nvPr>
            <p:ph type="title"/>
          </p:nvPr>
        </p:nvSpPr>
        <p:spPr/>
        <p:txBody>
          <a:bodyPr/>
          <a:lstStyle/>
          <a:p>
            <a:r>
              <a:rPr lang="nl-NL" dirty="0">
                <a:latin typeface="Arial"/>
                <a:cs typeface="Arial"/>
              </a:rPr>
              <a:t>Organisatie </a:t>
            </a:r>
            <a:endParaRPr lang="nl-NL" dirty="0"/>
          </a:p>
        </p:txBody>
      </p:sp>
      <p:sp>
        <p:nvSpPr>
          <p:cNvPr id="5" name="Tijdelijke aanduiding voor inhoud 8">
            <a:extLst>
              <a:ext uri="{FF2B5EF4-FFF2-40B4-BE49-F238E27FC236}">
                <a16:creationId xmlns:a16="http://schemas.microsoft.com/office/drawing/2014/main" id="{0EB290C7-239C-D5A9-DEAA-B5DBBCAF4F35}"/>
              </a:ext>
            </a:extLst>
          </p:cNvPr>
          <p:cNvSpPr txBox="1">
            <a:spLocks/>
          </p:cNvSpPr>
          <p:nvPr/>
        </p:nvSpPr>
        <p:spPr>
          <a:xfrm>
            <a:off x="985606" y="1773890"/>
            <a:ext cx="3341950" cy="1986348"/>
          </a:xfrm>
          <a:prstGeom prst="rect">
            <a:avLst/>
          </a:prstGeom>
        </p:spPr>
        <p:txBody>
          <a:bodyPr>
            <a:normAutofit/>
          </a:bodyPr>
          <a:lstStyle>
            <a:lvl1pPr marL="228600" indent="-228600" algn="l" defTabSz="914400" rtl="0" eaLnBrk="1" latinLnBrk="0" hangingPunct="1">
              <a:lnSpc>
                <a:spcPct val="1140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14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14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140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14000"/>
              </a:lnSpc>
              <a:spcBef>
                <a:spcPts val="500"/>
              </a:spcBef>
              <a:buFont typeface="Arial" panose="020B0604020202020204" pitchFamily="34" charset="0"/>
              <a:buChar char="•"/>
              <a:defRPr sz="12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nl-NL" dirty="0"/>
              <a:t>3.387 medewerkers</a:t>
            </a:r>
            <a:br>
              <a:rPr lang="nl-NL" dirty="0"/>
            </a:br>
            <a:br>
              <a:rPr lang="nl-NL" dirty="0"/>
            </a:br>
            <a:r>
              <a:rPr lang="nl-NL" dirty="0"/>
              <a:t>113 medisch specialisten</a:t>
            </a:r>
            <a:br>
              <a:rPr lang="nl-NL" dirty="0"/>
            </a:br>
            <a:br>
              <a:rPr lang="nl-NL" dirty="0"/>
            </a:br>
            <a:r>
              <a:rPr lang="nl-NL" dirty="0"/>
              <a:t>887 vrijwilligers </a:t>
            </a:r>
          </a:p>
        </p:txBody>
      </p:sp>
      <p:pic>
        <p:nvPicPr>
          <p:cNvPr id="7" name="Afbeelding 3" descr="Afbeelding met diagram&#10;&#10;Automatisch gegenereerde beschrijving">
            <a:extLst>
              <a:ext uri="{FF2B5EF4-FFF2-40B4-BE49-F238E27FC236}">
                <a16:creationId xmlns:a16="http://schemas.microsoft.com/office/drawing/2014/main" id="{C050B588-AAEC-93D3-B7C4-3D6A32497571}"/>
              </a:ext>
            </a:extLst>
          </p:cNvPr>
          <p:cNvPicPr>
            <a:picLocks noChangeAspect="1"/>
          </p:cNvPicPr>
          <p:nvPr/>
        </p:nvPicPr>
        <p:blipFill>
          <a:blip r:embed="rId2"/>
          <a:stretch>
            <a:fillRect/>
          </a:stretch>
        </p:blipFill>
        <p:spPr>
          <a:xfrm>
            <a:off x="-1" y="3858432"/>
            <a:ext cx="12192001" cy="3059371"/>
          </a:xfrm>
          <a:prstGeom prst="rect">
            <a:avLst/>
          </a:prstGeom>
        </p:spPr>
      </p:pic>
      <p:sp>
        <p:nvSpPr>
          <p:cNvPr id="8" name="Tekstvak 7">
            <a:extLst>
              <a:ext uri="{FF2B5EF4-FFF2-40B4-BE49-F238E27FC236}">
                <a16:creationId xmlns:a16="http://schemas.microsoft.com/office/drawing/2014/main" id="{453BC6CE-8F0C-C59E-3308-B861866847AE}"/>
              </a:ext>
            </a:extLst>
          </p:cNvPr>
          <p:cNvSpPr txBox="1"/>
          <p:nvPr/>
        </p:nvSpPr>
        <p:spPr>
          <a:xfrm>
            <a:off x="5955082" y="1773890"/>
            <a:ext cx="4119327" cy="1938992"/>
          </a:xfrm>
          <a:prstGeom prst="rect">
            <a:avLst/>
          </a:prstGeom>
          <a:noFill/>
        </p:spPr>
        <p:txBody>
          <a:bodyPr wrap="square" rtlCol="0">
            <a:spAutoFit/>
          </a:bodyPr>
          <a:lstStyle/>
          <a:p>
            <a:r>
              <a:rPr lang="nl-NL" sz="2000" dirty="0"/>
              <a:t>Programma’s</a:t>
            </a:r>
          </a:p>
          <a:p>
            <a:br>
              <a:rPr lang="nl-NL" sz="2000" dirty="0"/>
            </a:br>
            <a:r>
              <a:rPr lang="nl-NL" sz="2000" dirty="0"/>
              <a:t>Aandacht voor medewerkers</a:t>
            </a:r>
          </a:p>
          <a:p>
            <a:r>
              <a:rPr lang="nl-NL" sz="2000" dirty="0"/>
              <a:t>Passende zorg</a:t>
            </a:r>
          </a:p>
          <a:p>
            <a:r>
              <a:rPr lang="nl-NL" sz="2000" dirty="0"/>
              <a:t>Digitalisering en innovatie</a:t>
            </a:r>
          </a:p>
          <a:p>
            <a:r>
              <a:rPr lang="nl-NL" sz="2000" dirty="0"/>
              <a:t>Duurzaamheid, wonen en vastgoed </a:t>
            </a:r>
          </a:p>
        </p:txBody>
      </p:sp>
    </p:spTree>
    <p:extLst>
      <p:ext uri="{BB962C8B-B14F-4D97-AF65-F5344CB8AC3E}">
        <p14:creationId xmlns:p14="http://schemas.microsoft.com/office/powerpoint/2010/main" val="632578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FB3094A-E81B-A916-AC08-D56A0DE58745}"/>
              </a:ext>
            </a:extLst>
          </p:cNvPr>
          <p:cNvSpPr>
            <a:spLocks noGrp="1"/>
          </p:cNvSpPr>
          <p:nvPr>
            <p:ph type="title"/>
          </p:nvPr>
        </p:nvSpPr>
        <p:spPr>
          <a:xfrm>
            <a:off x="1363886" y="672787"/>
            <a:ext cx="9204164" cy="555068"/>
          </a:xfrm>
        </p:spPr>
        <p:txBody>
          <a:bodyPr/>
          <a:lstStyle/>
          <a:p>
            <a:r>
              <a:rPr lang="nl-NL">
                <a:latin typeface="Arial"/>
                <a:cs typeface="Arial"/>
              </a:rPr>
              <a:t>Ons netwerk: focus op duurzame relaties </a:t>
            </a:r>
            <a:endParaRPr lang="nl-NL"/>
          </a:p>
        </p:txBody>
      </p:sp>
      <p:sp>
        <p:nvSpPr>
          <p:cNvPr id="3" name="Ovaal 2">
            <a:extLst>
              <a:ext uri="{FF2B5EF4-FFF2-40B4-BE49-F238E27FC236}">
                <a16:creationId xmlns:a16="http://schemas.microsoft.com/office/drawing/2014/main" id="{855634E3-C464-A4DD-B33B-CCB1D94C680D}"/>
              </a:ext>
            </a:extLst>
          </p:cNvPr>
          <p:cNvSpPr/>
          <p:nvPr/>
        </p:nvSpPr>
        <p:spPr>
          <a:xfrm>
            <a:off x="5715000" y="3200400"/>
            <a:ext cx="1654628" cy="653142"/>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4" name="Stroomdiagram: Verbindingslijn 3">
            <a:extLst>
              <a:ext uri="{FF2B5EF4-FFF2-40B4-BE49-F238E27FC236}">
                <a16:creationId xmlns:a16="http://schemas.microsoft.com/office/drawing/2014/main" id="{02E89A9F-DD63-F24F-7A77-E10365EF74E2}"/>
              </a:ext>
            </a:extLst>
          </p:cNvPr>
          <p:cNvSpPr/>
          <p:nvPr/>
        </p:nvSpPr>
        <p:spPr>
          <a:xfrm>
            <a:off x="6660695" y="1646720"/>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5" name="Stroomdiagram: Verbindingslijn 4">
            <a:extLst>
              <a:ext uri="{FF2B5EF4-FFF2-40B4-BE49-F238E27FC236}">
                <a16:creationId xmlns:a16="http://schemas.microsoft.com/office/drawing/2014/main" id="{0E25EB98-B793-9C75-5358-DA06AE978F7B}"/>
              </a:ext>
            </a:extLst>
          </p:cNvPr>
          <p:cNvSpPr/>
          <p:nvPr/>
        </p:nvSpPr>
        <p:spPr>
          <a:xfrm>
            <a:off x="8327571" y="1828799"/>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6" name="Stroomdiagram: Verbindingslijn 5">
            <a:extLst>
              <a:ext uri="{FF2B5EF4-FFF2-40B4-BE49-F238E27FC236}">
                <a16:creationId xmlns:a16="http://schemas.microsoft.com/office/drawing/2014/main" id="{64307ECB-4292-C566-DD67-CF2149039B87}"/>
              </a:ext>
            </a:extLst>
          </p:cNvPr>
          <p:cNvSpPr/>
          <p:nvPr/>
        </p:nvSpPr>
        <p:spPr>
          <a:xfrm>
            <a:off x="9481456" y="3069771"/>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7" name="Stroomdiagram: Verbindingslijn 6">
            <a:extLst>
              <a:ext uri="{FF2B5EF4-FFF2-40B4-BE49-F238E27FC236}">
                <a16:creationId xmlns:a16="http://schemas.microsoft.com/office/drawing/2014/main" id="{E3B89441-AFED-B30D-777D-00718F5332C9}"/>
              </a:ext>
            </a:extLst>
          </p:cNvPr>
          <p:cNvSpPr/>
          <p:nvPr/>
        </p:nvSpPr>
        <p:spPr>
          <a:xfrm>
            <a:off x="9535884" y="4386942"/>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8" name="Stroomdiagram: Verbindingslijn 7">
            <a:extLst>
              <a:ext uri="{FF2B5EF4-FFF2-40B4-BE49-F238E27FC236}">
                <a16:creationId xmlns:a16="http://schemas.microsoft.com/office/drawing/2014/main" id="{69D3F873-7306-BD3B-B5D5-92F33F313761}"/>
              </a:ext>
            </a:extLst>
          </p:cNvPr>
          <p:cNvSpPr/>
          <p:nvPr/>
        </p:nvSpPr>
        <p:spPr>
          <a:xfrm>
            <a:off x="8556171" y="5246914"/>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9" name="Stroomdiagram: Verbindingslijn 8">
            <a:extLst>
              <a:ext uri="{FF2B5EF4-FFF2-40B4-BE49-F238E27FC236}">
                <a16:creationId xmlns:a16="http://schemas.microsoft.com/office/drawing/2014/main" id="{70B8D0AD-7E15-E317-3E66-FB3E28504B09}"/>
              </a:ext>
            </a:extLst>
          </p:cNvPr>
          <p:cNvSpPr/>
          <p:nvPr/>
        </p:nvSpPr>
        <p:spPr>
          <a:xfrm>
            <a:off x="6912428" y="5377542"/>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1" name="Stroomdiagram: Verbindingslijn 10">
            <a:extLst>
              <a:ext uri="{FF2B5EF4-FFF2-40B4-BE49-F238E27FC236}">
                <a16:creationId xmlns:a16="http://schemas.microsoft.com/office/drawing/2014/main" id="{C92DD379-0AAA-7B9B-7344-2133453D5ABF}"/>
              </a:ext>
            </a:extLst>
          </p:cNvPr>
          <p:cNvSpPr/>
          <p:nvPr/>
        </p:nvSpPr>
        <p:spPr>
          <a:xfrm>
            <a:off x="5203370" y="1600199"/>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2" name="Stroomdiagram: Verbindingslijn 11">
            <a:extLst>
              <a:ext uri="{FF2B5EF4-FFF2-40B4-BE49-F238E27FC236}">
                <a16:creationId xmlns:a16="http://schemas.microsoft.com/office/drawing/2014/main" id="{AA554280-9E8C-447B-9533-9F5A130F840C}"/>
              </a:ext>
            </a:extLst>
          </p:cNvPr>
          <p:cNvSpPr/>
          <p:nvPr/>
        </p:nvSpPr>
        <p:spPr>
          <a:xfrm>
            <a:off x="5203371" y="5334000"/>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3" name="Stroomdiagram: Verbindingslijn 12">
            <a:extLst>
              <a:ext uri="{FF2B5EF4-FFF2-40B4-BE49-F238E27FC236}">
                <a16:creationId xmlns:a16="http://schemas.microsoft.com/office/drawing/2014/main" id="{78DE2F09-66C4-4594-5043-F869F005F788}"/>
              </a:ext>
            </a:extLst>
          </p:cNvPr>
          <p:cNvSpPr/>
          <p:nvPr/>
        </p:nvSpPr>
        <p:spPr>
          <a:xfrm>
            <a:off x="3668485" y="5148942"/>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4" name="Stroomdiagram: Verbindingslijn 13">
            <a:extLst>
              <a:ext uri="{FF2B5EF4-FFF2-40B4-BE49-F238E27FC236}">
                <a16:creationId xmlns:a16="http://schemas.microsoft.com/office/drawing/2014/main" id="{9CF4F676-E19A-0471-78E2-8DA9AACF6FB3}"/>
              </a:ext>
            </a:extLst>
          </p:cNvPr>
          <p:cNvSpPr/>
          <p:nvPr/>
        </p:nvSpPr>
        <p:spPr>
          <a:xfrm>
            <a:off x="2819399" y="4278085"/>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5" name="Stroomdiagram: Verbindingslijn 14">
            <a:extLst>
              <a:ext uri="{FF2B5EF4-FFF2-40B4-BE49-F238E27FC236}">
                <a16:creationId xmlns:a16="http://schemas.microsoft.com/office/drawing/2014/main" id="{94CA7992-3F95-5E3D-EBEC-3B02AABF80BF}"/>
              </a:ext>
            </a:extLst>
          </p:cNvPr>
          <p:cNvSpPr/>
          <p:nvPr/>
        </p:nvSpPr>
        <p:spPr>
          <a:xfrm>
            <a:off x="2764971" y="3200400"/>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6" name="Stroomdiagram: Verbindingslijn 15">
            <a:extLst>
              <a:ext uri="{FF2B5EF4-FFF2-40B4-BE49-F238E27FC236}">
                <a16:creationId xmlns:a16="http://schemas.microsoft.com/office/drawing/2014/main" id="{4F5449AC-F364-6BC1-9445-0E370F3572CF}"/>
              </a:ext>
            </a:extLst>
          </p:cNvPr>
          <p:cNvSpPr/>
          <p:nvPr/>
        </p:nvSpPr>
        <p:spPr>
          <a:xfrm>
            <a:off x="3439885" y="1861457"/>
            <a:ext cx="457200" cy="457200"/>
          </a:xfrm>
          <a:prstGeom prst="flowChartConnector">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Tekstvak 16">
            <a:extLst>
              <a:ext uri="{FF2B5EF4-FFF2-40B4-BE49-F238E27FC236}">
                <a16:creationId xmlns:a16="http://schemas.microsoft.com/office/drawing/2014/main" id="{686CE1F3-9EB7-1249-B479-0CEAC6BDAA08}"/>
              </a:ext>
            </a:extLst>
          </p:cNvPr>
          <p:cNvSpPr txBox="1"/>
          <p:nvPr/>
        </p:nvSpPr>
        <p:spPr>
          <a:xfrm>
            <a:off x="4887684" y="1109964"/>
            <a:ext cx="154577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b="1">
                <a:cs typeface="Calibri"/>
              </a:rPr>
              <a:t>Zeeuwse Verbinding </a:t>
            </a:r>
            <a:endParaRPr lang="nl-NL" sz="1400" b="1"/>
          </a:p>
        </p:txBody>
      </p:sp>
      <p:sp>
        <p:nvSpPr>
          <p:cNvPr id="19" name="Tekstvak 18">
            <a:extLst>
              <a:ext uri="{FF2B5EF4-FFF2-40B4-BE49-F238E27FC236}">
                <a16:creationId xmlns:a16="http://schemas.microsoft.com/office/drawing/2014/main" id="{DF5D67B1-25A7-C902-73E0-D164C1DF00A7}"/>
              </a:ext>
            </a:extLst>
          </p:cNvPr>
          <p:cNvSpPr txBox="1"/>
          <p:nvPr/>
        </p:nvSpPr>
        <p:spPr>
          <a:xfrm>
            <a:off x="6368142" y="1153886"/>
            <a:ext cx="2645228" cy="33855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600" b="1">
                <a:cs typeface="Calibri"/>
              </a:rPr>
              <a:t>Zorg in Balans</a:t>
            </a:r>
            <a:endParaRPr lang="nl-NL" sz="1400"/>
          </a:p>
        </p:txBody>
      </p:sp>
      <p:sp>
        <p:nvSpPr>
          <p:cNvPr id="20" name="Tekstvak 19">
            <a:extLst>
              <a:ext uri="{FF2B5EF4-FFF2-40B4-BE49-F238E27FC236}">
                <a16:creationId xmlns:a16="http://schemas.microsoft.com/office/drawing/2014/main" id="{E13FD1D0-02D8-BFC0-7B89-4DF9288A7C89}"/>
              </a:ext>
            </a:extLst>
          </p:cNvPr>
          <p:cNvSpPr txBox="1"/>
          <p:nvPr/>
        </p:nvSpPr>
        <p:spPr>
          <a:xfrm>
            <a:off x="8817427" y="1796143"/>
            <a:ext cx="154577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a:cs typeface="Calibri"/>
              </a:rPr>
              <a:t>Overheden</a:t>
            </a:r>
          </a:p>
        </p:txBody>
      </p:sp>
      <p:sp>
        <p:nvSpPr>
          <p:cNvPr id="21" name="Tekstvak 20">
            <a:extLst>
              <a:ext uri="{FF2B5EF4-FFF2-40B4-BE49-F238E27FC236}">
                <a16:creationId xmlns:a16="http://schemas.microsoft.com/office/drawing/2014/main" id="{25C10511-B733-DFCC-3EAA-25F6623F7B3C}"/>
              </a:ext>
            </a:extLst>
          </p:cNvPr>
          <p:cNvSpPr txBox="1"/>
          <p:nvPr/>
        </p:nvSpPr>
        <p:spPr>
          <a:xfrm>
            <a:off x="9926583" y="3036761"/>
            <a:ext cx="154577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a:cs typeface="Calibri"/>
              </a:rPr>
              <a:t>Zorgverzekeraars,</a:t>
            </a:r>
          </a:p>
          <a:p>
            <a:r>
              <a:rPr lang="nl-NL" sz="1400">
                <a:cs typeface="Calibri"/>
              </a:rPr>
              <a:t>zorgkantoor</a:t>
            </a:r>
          </a:p>
        </p:txBody>
      </p:sp>
      <p:sp>
        <p:nvSpPr>
          <p:cNvPr id="22" name="Tekstvak 21">
            <a:extLst>
              <a:ext uri="{FF2B5EF4-FFF2-40B4-BE49-F238E27FC236}">
                <a16:creationId xmlns:a16="http://schemas.microsoft.com/office/drawing/2014/main" id="{6DB25B0D-A596-244F-7B9E-073BE78A0BD0}"/>
              </a:ext>
            </a:extLst>
          </p:cNvPr>
          <p:cNvSpPr txBox="1"/>
          <p:nvPr/>
        </p:nvSpPr>
        <p:spPr>
          <a:xfrm>
            <a:off x="10025742" y="4354286"/>
            <a:ext cx="1545771" cy="73866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a:cs typeface="Calibri"/>
              </a:rPr>
              <a:t>Medisch ondersteunend, apotheek</a:t>
            </a:r>
          </a:p>
        </p:txBody>
      </p:sp>
      <p:sp>
        <p:nvSpPr>
          <p:cNvPr id="23" name="Tekstvak 22">
            <a:extLst>
              <a:ext uri="{FF2B5EF4-FFF2-40B4-BE49-F238E27FC236}">
                <a16:creationId xmlns:a16="http://schemas.microsoft.com/office/drawing/2014/main" id="{B8FD54E5-8B7B-AB84-D616-A5EF0791F146}"/>
              </a:ext>
            </a:extLst>
          </p:cNvPr>
          <p:cNvSpPr txBox="1"/>
          <p:nvPr/>
        </p:nvSpPr>
        <p:spPr>
          <a:xfrm>
            <a:off x="8937170" y="5442857"/>
            <a:ext cx="1687285"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b="1">
                <a:cs typeface="Calibri"/>
              </a:rPr>
              <a:t>UZ Gent </a:t>
            </a:r>
            <a:endParaRPr lang="nl-NL" b="1"/>
          </a:p>
        </p:txBody>
      </p:sp>
      <p:sp>
        <p:nvSpPr>
          <p:cNvPr id="24" name="Tekstvak 23">
            <a:extLst>
              <a:ext uri="{FF2B5EF4-FFF2-40B4-BE49-F238E27FC236}">
                <a16:creationId xmlns:a16="http://schemas.microsoft.com/office/drawing/2014/main" id="{6A73E73E-2F8B-2831-97DD-2EB5EC69AB07}"/>
              </a:ext>
            </a:extLst>
          </p:cNvPr>
          <p:cNvSpPr txBox="1"/>
          <p:nvPr/>
        </p:nvSpPr>
        <p:spPr>
          <a:xfrm>
            <a:off x="6371605" y="5860719"/>
            <a:ext cx="1796884"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dirty="0">
                <a:cs typeface="Calibri"/>
              </a:rPr>
              <a:t>Overige Belgische ziekenhuizen</a:t>
            </a:r>
          </a:p>
        </p:txBody>
      </p:sp>
      <p:sp>
        <p:nvSpPr>
          <p:cNvPr id="25" name="Tekstvak 24">
            <a:extLst>
              <a:ext uri="{FF2B5EF4-FFF2-40B4-BE49-F238E27FC236}">
                <a16:creationId xmlns:a16="http://schemas.microsoft.com/office/drawing/2014/main" id="{D8EFBFAB-A08B-5064-EC3B-CC96E2D64A46}"/>
              </a:ext>
            </a:extLst>
          </p:cNvPr>
          <p:cNvSpPr txBox="1"/>
          <p:nvPr/>
        </p:nvSpPr>
        <p:spPr>
          <a:xfrm>
            <a:off x="4887684" y="5812972"/>
            <a:ext cx="154577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a:cs typeface="Calibri"/>
              </a:rPr>
              <a:t>Mantelzorg</a:t>
            </a:r>
          </a:p>
        </p:txBody>
      </p:sp>
      <p:sp>
        <p:nvSpPr>
          <p:cNvPr id="26" name="Tekstvak 25">
            <a:extLst>
              <a:ext uri="{FF2B5EF4-FFF2-40B4-BE49-F238E27FC236}">
                <a16:creationId xmlns:a16="http://schemas.microsoft.com/office/drawing/2014/main" id="{9CCB1D75-06FA-C324-C2A6-2FCE7708279B}"/>
              </a:ext>
            </a:extLst>
          </p:cNvPr>
          <p:cNvSpPr txBox="1"/>
          <p:nvPr/>
        </p:nvSpPr>
        <p:spPr>
          <a:xfrm>
            <a:off x="3222171" y="5595257"/>
            <a:ext cx="1676399"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a:cs typeface="Calibri"/>
              </a:rPr>
              <a:t>Cliënten/patiënten/bewoners</a:t>
            </a:r>
          </a:p>
        </p:txBody>
      </p:sp>
      <p:sp>
        <p:nvSpPr>
          <p:cNvPr id="27" name="Tekstvak 26">
            <a:extLst>
              <a:ext uri="{FF2B5EF4-FFF2-40B4-BE49-F238E27FC236}">
                <a16:creationId xmlns:a16="http://schemas.microsoft.com/office/drawing/2014/main" id="{585BED50-DD46-F9C5-1E6E-0C0CB10F36F4}"/>
              </a:ext>
            </a:extLst>
          </p:cNvPr>
          <p:cNvSpPr txBox="1"/>
          <p:nvPr/>
        </p:nvSpPr>
        <p:spPr>
          <a:xfrm>
            <a:off x="2503713" y="1349829"/>
            <a:ext cx="1545771" cy="58477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600" b="1">
                <a:cs typeface="Calibri"/>
              </a:rPr>
              <a:t>Zeeuwse Zorgcoalitie </a:t>
            </a:r>
            <a:endParaRPr lang="nl-NL" sz="1600" b="1"/>
          </a:p>
        </p:txBody>
      </p:sp>
      <p:sp>
        <p:nvSpPr>
          <p:cNvPr id="28" name="Tekstvak 27">
            <a:extLst>
              <a:ext uri="{FF2B5EF4-FFF2-40B4-BE49-F238E27FC236}">
                <a16:creationId xmlns:a16="http://schemas.microsoft.com/office/drawing/2014/main" id="{3310BDC2-A199-0D2A-3C37-6DDB8CCC0DB5}"/>
              </a:ext>
            </a:extLst>
          </p:cNvPr>
          <p:cNvSpPr txBox="1"/>
          <p:nvPr/>
        </p:nvSpPr>
        <p:spPr>
          <a:xfrm>
            <a:off x="2090056" y="3265714"/>
            <a:ext cx="154577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b="1">
                <a:cs typeface="Calibri" panose="020F0502020204030204"/>
              </a:rPr>
              <a:t>ADRZ</a:t>
            </a:r>
          </a:p>
        </p:txBody>
      </p:sp>
      <p:sp>
        <p:nvSpPr>
          <p:cNvPr id="29" name="Tekstvak 28">
            <a:extLst>
              <a:ext uri="{FF2B5EF4-FFF2-40B4-BE49-F238E27FC236}">
                <a16:creationId xmlns:a16="http://schemas.microsoft.com/office/drawing/2014/main" id="{F6A339AA-D4BD-9BCC-FBE2-4D7E97B0427E}"/>
              </a:ext>
            </a:extLst>
          </p:cNvPr>
          <p:cNvSpPr txBox="1"/>
          <p:nvPr/>
        </p:nvSpPr>
        <p:spPr>
          <a:xfrm>
            <a:off x="1647323" y="4255962"/>
            <a:ext cx="1545771"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nl-NL" sz="1400">
                <a:cs typeface="Calibri"/>
              </a:rPr>
              <a:t>Ziekenhuizen </a:t>
            </a:r>
          </a:p>
          <a:p>
            <a:r>
              <a:rPr lang="nl-NL" sz="1400">
                <a:cs typeface="Calibri"/>
              </a:rPr>
              <a:t>West Brabant</a:t>
            </a:r>
            <a:endParaRPr lang="nl-NL" sz="1400"/>
          </a:p>
        </p:txBody>
      </p:sp>
      <p:cxnSp>
        <p:nvCxnSpPr>
          <p:cNvPr id="30" name="Rechte verbindingslijn met pijl 29">
            <a:extLst>
              <a:ext uri="{FF2B5EF4-FFF2-40B4-BE49-F238E27FC236}">
                <a16:creationId xmlns:a16="http://schemas.microsoft.com/office/drawing/2014/main" id="{0CFC442C-665B-A827-1CA3-4D8BFD1E4567}"/>
              </a:ext>
            </a:extLst>
          </p:cNvPr>
          <p:cNvCxnSpPr>
            <a:cxnSpLocks/>
          </p:cNvCxnSpPr>
          <p:nvPr/>
        </p:nvCxnSpPr>
        <p:spPr>
          <a:xfrm>
            <a:off x="5476874" y="1960790"/>
            <a:ext cx="650420" cy="1317172"/>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1" name="Rechte verbindingslijn met pijl 30">
            <a:extLst>
              <a:ext uri="{FF2B5EF4-FFF2-40B4-BE49-F238E27FC236}">
                <a16:creationId xmlns:a16="http://schemas.microsoft.com/office/drawing/2014/main" id="{1E2A213F-5A56-4385-78FA-44651C2667AF}"/>
              </a:ext>
            </a:extLst>
          </p:cNvPr>
          <p:cNvCxnSpPr>
            <a:cxnSpLocks/>
          </p:cNvCxnSpPr>
          <p:nvPr/>
        </p:nvCxnSpPr>
        <p:spPr>
          <a:xfrm flipH="1">
            <a:off x="6761391" y="2058761"/>
            <a:ext cx="108855" cy="113211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2" name="Rechte verbindingslijn met pijl 31">
            <a:extLst>
              <a:ext uri="{FF2B5EF4-FFF2-40B4-BE49-F238E27FC236}">
                <a16:creationId xmlns:a16="http://schemas.microsoft.com/office/drawing/2014/main" id="{1B653953-2AE0-8DEB-A5C6-D53BFC79D247}"/>
              </a:ext>
            </a:extLst>
          </p:cNvPr>
          <p:cNvCxnSpPr>
            <a:cxnSpLocks/>
          </p:cNvCxnSpPr>
          <p:nvPr/>
        </p:nvCxnSpPr>
        <p:spPr>
          <a:xfrm flipH="1">
            <a:off x="7273018" y="2200275"/>
            <a:ext cx="1099455" cy="1186541"/>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3" name="Rechte verbindingslijn met pijl 32">
            <a:extLst>
              <a:ext uri="{FF2B5EF4-FFF2-40B4-BE49-F238E27FC236}">
                <a16:creationId xmlns:a16="http://schemas.microsoft.com/office/drawing/2014/main" id="{A314D448-CBD9-96E6-20C4-E44827FD82FC}"/>
              </a:ext>
            </a:extLst>
          </p:cNvPr>
          <p:cNvCxnSpPr>
            <a:cxnSpLocks/>
          </p:cNvCxnSpPr>
          <p:nvPr/>
        </p:nvCxnSpPr>
        <p:spPr>
          <a:xfrm>
            <a:off x="3789587" y="2211160"/>
            <a:ext cx="2015047" cy="1185182"/>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4" name="Rechte verbindingslijn met pijl 33">
            <a:extLst>
              <a:ext uri="{FF2B5EF4-FFF2-40B4-BE49-F238E27FC236}">
                <a16:creationId xmlns:a16="http://schemas.microsoft.com/office/drawing/2014/main" id="{6884BA6F-2317-249C-3AB4-462A3E1F1136}"/>
              </a:ext>
            </a:extLst>
          </p:cNvPr>
          <p:cNvCxnSpPr>
            <a:cxnSpLocks/>
            <a:endCxn id="3" idx="2"/>
          </p:cNvCxnSpPr>
          <p:nvPr/>
        </p:nvCxnSpPr>
        <p:spPr>
          <a:xfrm>
            <a:off x="3179988" y="3386819"/>
            <a:ext cx="2535012" cy="140152"/>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0" name="Rechte verbindingslijn met pijl 9">
            <a:extLst>
              <a:ext uri="{FF2B5EF4-FFF2-40B4-BE49-F238E27FC236}">
                <a16:creationId xmlns:a16="http://schemas.microsoft.com/office/drawing/2014/main" id="{8375B0B3-366C-2888-AED5-A7F535F73611}"/>
              </a:ext>
            </a:extLst>
          </p:cNvPr>
          <p:cNvCxnSpPr>
            <a:cxnSpLocks/>
          </p:cNvCxnSpPr>
          <p:nvPr/>
        </p:nvCxnSpPr>
        <p:spPr>
          <a:xfrm flipH="1">
            <a:off x="7338332" y="3321504"/>
            <a:ext cx="2166254" cy="195941"/>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18" name="Rechte verbindingslijn met pijl 17">
            <a:extLst>
              <a:ext uri="{FF2B5EF4-FFF2-40B4-BE49-F238E27FC236}">
                <a16:creationId xmlns:a16="http://schemas.microsoft.com/office/drawing/2014/main" id="{D713528F-565B-05FC-8A1C-8E56D4EEEE09}"/>
              </a:ext>
            </a:extLst>
          </p:cNvPr>
          <p:cNvCxnSpPr>
            <a:cxnSpLocks/>
          </p:cNvCxnSpPr>
          <p:nvPr/>
        </p:nvCxnSpPr>
        <p:spPr>
          <a:xfrm flipH="1" flipV="1">
            <a:off x="7270047" y="3667865"/>
            <a:ext cx="2383970" cy="929246"/>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5" name="Rechte verbindingslijn met pijl 34">
            <a:extLst>
              <a:ext uri="{FF2B5EF4-FFF2-40B4-BE49-F238E27FC236}">
                <a16:creationId xmlns:a16="http://schemas.microsoft.com/office/drawing/2014/main" id="{3A7C387C-1FD8-314E-9EE0-D042035354B6}"/>
              </a:ext>
            </a:extLst>
          </p:cNvPr>
          <p:cNvCxnSpPr>
            <a:cxnSpLocks/>
          </p:cNvCxnSpPr>
          <p:nvPr/>
        </p:nvCxnSpPr>
        <p:spPr>
          <a:xfrm flipH="1" flipV="1">
            <a:off x="7087959" y="3767816"/>
            <a:ext cx="1578426" cy="1611087"/>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6" name="Rechte verbindingslijn met pijl 35">
            <a:extLst>
              <a:ext uri="{FF2B5EF4-FFF2-40B4-BE49-F238E27FC236}">
                <a16:creationId xmlns:a16="http://schemas.microsoft.com/office/drawing/2014/main" id="{3701D1B1-5A30-0180-D1D2-E37BBBC0529F}"/>
              </a:ext>
            </a:extLst>
          </p:cNvPr>
          <p:cNvCxnSpPr>
            <a:cxnSpLocks/>
          </p:cNvCxnSpPr>
          <p:nvPr/>
        </p:nvCxnSpPr>
        <p:spPr>
          <a:xfrm flipH="1" flipV="1">
            <a:off x="6783160" y="3865787"/>
            <a:ext cx="283026" cy="1545773"/>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7" name="Rechte verbindingslijn met pijl 36">
            <a:extLst>
              <a:ext uri="{FF2B5EF4-FFF2-40B4-BE49-F238E27FC236}">
                <a16:creationId xmlns:a16="http://schemas.microsoft.com/office/drawing/2014/main" id="{DF835B36-633E-D3AA-0AD8-95EF7191B670}"/>
              </a:ext>
            </a:extLst>
          </p:cNvPr>
          <p:cNvCxnSpPr>
            <a:cxnSpLocks/>
            <a:endCxn id="12" idx="0"/>
          </p:cNvCxnSpPr>
          <p:nvPr/>
        </p:nvCxnSpPr>
        <p:spPr>
          <a:xfrm flipH="1">
            <a:off x="5431971" y="3833132"/>
            <a:ext cx="785129" cy="1500868"/>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8" name="Rechte verbindingslijn met pijl 37">
            <a:extLst>
              <a:ext uri="{FF2B5EF4-FFF2-40B4-BE49-F238E27FC236}">
                <a16:creationId xmlns:a16="http://schemas.microsoft.com/office/drawing/2014/main" id="{658D2868-65F8-03E5-753B-99DBF0F15932}"/>
              </a:ext>
            </a:extLst>
          </p:cNvPr>
          <p:cNvCxnSpPr>
            <a:cxnSpLocks/>
          </p:cNvCxnSpPr>
          <p:nvPr/>
        </p:nvCxnSpPr>
        <p:spPr>
          <a:xfrm flipH="1">
            <a:off x="4039959" y="3767817"/>
            <a:ext cx="1894112" cy="1523998"/>
          </a:xfrm>
          <a:prstGeom prst="straightConnector1">
            <a:avLst/>
          </a:prstGeom>
        </p:spPr>
        <p:style>
          <a:lnRef idx="1">
            <a:schemeClr val="accent1"/>
          </a:lnRef>
          <a:fillRef idx="0">
            <a:schemeClr val="accent1"/>
          </a:fillRef>
          <a:effectRef idx="0">
            <a:schemeClr val="accent1"/>
          </a:effectRef>
          <a:fontRef idx="minor">
            <a:schemeClr val="tx1"/>
          </a:fontRef>
        </p:style>
      </p:cxnSp>
      <p:cxnSp>
        <p:nvCxnSpPr>
          <p:cNvPr id="39" name="Rechte verbindingslijn met pijl 38">
            <a:extLst>
              <a:ext uri="{FF2B5EF4-FFF2-40B4-BE49-F238E27FC236}">
                <a16:creationId xmlns:a16="http://schemas.microsoft.com/office/drawing/2014/main" id="{28B5BD69-ED6D-81AB-B245-269C727E5D68}"/>
              </a:ext>
            </a:extLst>
          </p:cNvPr>
          <p:cNvCxnSpPr>
            <a:cxnSpLocks/>
            <a:endCxn id="29" idx="3"/>
          </p:cNvCxnSpPr>
          <p:nvPr/>
        </p:nvCxnSpPr>
        <p:spPr>
          <a:xfrm flipH="1">
            <a:off x="3193094" y="3669846"/>
            <a:ext cx="2577691" cy="847726"/>
          </a:xfrm>
          <a:prstGeom prst="straightConnector1">
            <a:avLst/>
          </a:prstGeom>
        </p:spPr>
        <p:style>
          <a:lnRef idx="1">
            <a:schemeClr val="accent1"/>
          </a:lnRef>
          <a:fillRef idx="0">
            <a:schemeClr val="accent1"/>
          </a:fillRef>
          <a:effectRef idx="0">
            <a:schemeClr val="accent1"/>
          </a:effectRef>
          <a:fontRef idx="minor">
            <a:schemeClr val="tx1"/>
          </a:fontRef>
        </p:style>
      </p:cxnSp>
      <p:pic>
        <p:nvPicPr>
          <p:cNvPr id="41" name="Afbeelding 40">
            <a:extLst>
              <a:ext uri="{FF2B5EF4-FFF2-40B4-BE49-F238E27FC236}">
                <a16:creationId xmlns:a16="http://schemas.microsoft.com/office/drawing/2014/main" id="{016C0DE1-8A67-0521-941D-A890300582E7}"/>
              </a:ext>
            </a:extLst>
          </p:cNvPr>
          <p:cNvPicPr>
            <a:picLocks noChangeAspect="1"/>
          </p:cNvPicPr>
          <p:nvPr/>
        </p:nvPicPr>
        <p:blipFill>
          <a:blip r:embed="rId2"/>
          <a:stretch>
            <a:fillRect/>
          </a:stretch>
        </p:blipFill>
        <p:spPr>
          <a:xfrm>
            <a:off x="6161699" y="3327756"/>
            <a:ext cx="785129" cy="398254"/>
          </a:xfrm>
          <a:prstGeom prst="rect">
            <a:avLst/>
          </a:prstGeom>
        </p:spPr>
      </p:pic>
    </p:spTree>
    <p:extLst>
      <p:ext uri="{BB962C8B-B14F-4D97-AF65-F5344CB8AC3E}">
        <p14:creationId xmlns:p14="http://schemas.microsoft.com/office/powerpoint/2010/main" val="2154417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F3A944-2290-913A-1BD6-14979CA47C29}"/>
              </a:ext>
            </a:extLst>
          </p:cNvPr>
          <p:cNvSpPr>
            <a:spLocks noGrp="1"/>
          </p:cNvSpPr>
          <p:nvPr>
            <p:ph type="title"/>
          </p:nvPr>
        </p:nvSpPr>
        <p:spPr>
          <a:xfrm>
            <a:off x="850977" y="893487"/>
            <a:ext cx="9204164" cy="555068"/>
          </a:xfrm>
        </p:spPr>
        <p:txBody>
          <a:bodyPr>
            <a:normAutofit fontScale="90000"/>
          </a:bodyPr>
          <a:lstStyle/>
          <a:p>
            <a:r>
              <a:rPr lang="nl-NL" dirty="0"/>
              <a:t>Zeeuwse Zorg Coalitie is een regionale netwerkorganisatie die zich inzet voor de toegankelijkheid van de zorg</a:t>
            </a:r>
          </a:p>
        </p:txBody>
      </p:sp>
      <p:sp>
        <p:nvSpPr>
          <p:cNvPr id="3" name="Tekstvak 2">
            <a:extLst>
              <a:ext uri="{FF2B5EF4-FFF2-40B4-BE49-F238E27FC236}">
                <a16:creationId xmlns:a16="http://schemas.microsoft.com/office/drawing/2014/main" id="{762871E5-C1CE-C270-383D-FEBFC7B58568}"/>
              </a:ext>
            </a:extLst>
          </p:cNvPr>
          <p:cNvSpPr txBox="1"/>
          <p:nvPr/>
        </p:nvSpPr>
        <p:spPr>
          <a:xfrm>
            <a:off x="1190893" y="2132695"/>
            <a:ext cx="8524331" cy="5216813"/>
          </a:xfrm>
          <a:prstGeom prst="rect">
            <a:avLst/>
          </a:prstGeom>
          <a:noFill/>
        </p:spPr>
        <p:txBody>
          <a:bodyPr wrap="square" lIns="91440" tIns="45720" rIns="91440" bIns="45720" rtlCol="0" anchor="t">
            <a:spAutoFit/>
          </a:bodyPr>
          <a:lstStyle/>
          <a:p>
            <a:pPr marL="285750" indent="-285750">
              <a:spcAft>
                <a:spcPts val="1800"/>
              </a:spcAft>
              <a:buFont typeface="Arial" panose="020B0604020202020204" pitchFamily="34" charset="0"/>
              <a:buChar char="•"/>
            </a:pPr>
            <a:r>
              <a:rPr lang="nl-NL" sz="2400" dirty="0"/>
              <a:t>In de </a:t>
            </a:r>
            <a:r>
              <a:rPr lang="nl-NL" sz="2400" b="1" dirty="0"/>
              <a:t>ZZC is de gehele keten vertegenwoordigd inclusief sociaal domein, inwoners én financiers </a:t>
            </a:r>
            <a:r>
              <a:rPr lang="nl-NL" sz="2400" dirty="0"/>
              <a:t>– dit biedt </a:t>
            </a:r>
            <a:r>
              <a:rPr lang="nl-NL" sz="2400" b="1" dirty="0"/>
              <a:t>unieke kansen </a:t>
            </a:r>
            <a:r>
              <a:rPr lang="nl-NL" sz="2400" dirty="0"/>
              <a:t>om de totale keten te transformeren</a:t>
            </a:r>
          </a:p>
          <a:p>
            <a:pPr marL="285750" indent="-285750">
              <a:spcAft>
                <a:spcPts val="1800"/>
              </a:spcAft>
              <a:buFont typeface="Arial" panose="020B0604020202020204" pitchFamily="34" charset="0"/>
              <a:buChar char="•"/>
            </a:pPr>
            <a:r>
              <a:rPr lang="nl-NL" sz="2400" dirty="0"/>
              <a:t>De ZZC bestaat uit bijna </a:t>
            </a:r>
            <a:r>
              <a:rPr lang="nl-NL" sz="2400" b="1" dirty="0"/>
              <a:t>70 deelnemers </a:t>
            </a:r>
            <a:r>
              <a:rPr lang="nl-NL" sz="2400" dirty="0"/>
              <a:t>zoals zorgaanbieders uit alle zorgsectoren, verzekeraars, de provincie Zeeland, álle 13 Zeeuwse gemeenten, NZA en Zorginstituut Nederland </a:t>
            </a:r>
          </a:p>
          <a:p>
            <a:pPr marL="285750" indent="-285750">
              <a:spcAft>
                <a:spcPts val="1800"/>
              </a:spcAft>
              <a:buFont typeface="Arial" panose="020B0604020202020204" pitchFamily="34" charset="0"/>
              <a:buChar char="•"/>
            </a:pPr>
            <a:r>
              <a:rPr lang="nl-NL" sz="2400" dirty="0"/>
              <a:t>De ZZC acteert vanuit het </a:t>
            </a:r>
            <a:r>
              <a:rPr lang="nl-NL" sz="2400" b="1" dirty="0"/>
              <a:t>inwoner perspectief </a:t>
            </a:r>
            <a:r>
              <a:rPr lang="nl-NL" sz="2400" dirty="0"/>
              <a:t>met als primaire doel: het borgen van de toegankelijkheid van de zorg in Zeeland en daarmee de leefbaarheid</a:t>
            </a:r>
          </a:p>
          <a:p>
            <a:pPr marL="285750" indent="-285750">
              <a:buFontTx/>
              <a:buChar char="-"/>
            </a:pPr>
            <a:endParaRPr lang="nl-NL" dirty="0"/>
          </a:p>
          <a:p>
            <a:pPr marL="285750" indent="-285750">
              <a:buFontTx/>
              <a:buChar char="-"/>
            </a:pPr>
            <a:endParaRPr lang="nl-NL" dirty="0"/>
          </a:p>
          <a:p>
            <a:pPr marL="285750" indent="-285750">
              <a:buFontTx/>
              <a:buChar char="-"/>
            </a:pPr>
            <a:endParaRPr lang="nl-NL" dirty="0"/>
          </a:p>
          <a:p>
            <a:pPr marL="285750" indent="-285750">
              <a:buFontTx/>
              <a:buChar char="-"/>
            </a:pPr>
            <a:endParaRPr lang="nl-NL" dirty="0"/>
          </a:p>
        </p:txBody>
      </p:sp>
    </p:spTree>
    <p:extLst>
      <p:ext uri="{BB962C8B-B14F-4D97-AF65-F5344CB8AC3E}">
        <p14:creationId xmlns:p14="http://schemas.microsoft.com/office/powerpoint/2010/main" val="1122823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EF3A944-2290-913A-1BD6-14979CA47C29}"/>
              </a:ext>
            </a:extLst>
          </p:cNvPr>
          <p:cNvSpPr>
            <a:spLocks noGrp="1"/>
          </p:cNvSpPr>
          <p:nvPr>
            <p:ph type="title"/>
          </p:nvPr>
        </p:nvSpPr>
        <p:spPr>
          <a:xfrm>
            <a:off x="1353000" y="692942"/>
            <a:ext cx="9204164" cy="555068"/>
          </a:xfrm>
        </p:spPr>
        <p:txBody>
          <a:bodyPr/>
          <a:lstStyle/>
          <a:p>
            <a:r>
              <a:rPr lang="nl-NL" dirty="0"/>
              <a:t>Regionale samenwerking: Zeeuwse Zorg Coalitie </a:t>
            </a:r>
          </a:p>
        </p:txBody>
      </p:sp>
      <p:sp>
        <p:nvSpPr>
          <p:cNvPr id="3" name="Tekstvak 2">
            <a:extLst>
              <a:ext uri="{FF2B5EF4-FFF2-40B4-BE49-F238E27FC236}">
                <a16:creationId xmlns:a16="http://schemas.microsoft.com/office/drawing/2014/main" id="{762871E5-C1CE-C270-383D-FEBFC7B58568}"/>
              </a:ext>
            </a:extLst>
          </p:cNvPr>
          <p:cNvSpPr txBox="1"/>
          <p:nvPr/>
        </p:nvSpPr>
        <p:spPr>
          <a:xfrm>
            <a:off x="1353000" y="1448555"/>
            <a:ext cx="9112806" cy="6001643"/>
          </a:xfrm>
          <a:prstGeom prst="rect">
            <a:avLst/>
          </a:prstGeom>
          <a:noFill/>
        </p:spPr>
        <p:txBody>
          <a:bodyPr wrap="square" lIns="91440" tIns="45720" rIns="91440" bIns="45720" rtlCol="0" anchor="t">
            <a:spAutoFit/>
          </a:bodyPr>
          <a:lstStyle/>
          <a:p>
            <a:pPr marL="285750" indent="-285750">
              <a:buFontTx/>
              <a:buChar char="-"/>
            </a:pPr>
            <a:r>
              <a:rPr lang="nl-NL" sz="2400" dirty="0"/>
              <a:t>Vergrijzing/ontgroening </a:t>
            </a:r>
            <a:r>
              <a:rPr lang="nl-NL" sz="2400" dirty="0">
                <a:sym typeface="Wingdings" panose="05000000000000000000" pitchFamily="2" charset="2"/>
              </a:rPr>
              <a:t> 7500 medewerkers tekort in 2030 (25%!) </a:t>
            </a:r>
          </a:p>
          <a:p>
            <a:pPr marL="285750" indent="-285750">
              <a:buFontTx/>
              <a:buChar char="-"/>
            </a:pPr>
            <a:endParaRPr lang="nl-NL" sz="2400" dirty="0"/>
          </a:p>
          <a:p>
            <a:pPr marL="285750" indent="-285750">
              <a:buFontTx/>
              <a:buChar char="-"/>
            </a:pPr>
            <a:r>
              <a:rPr lang="nl-NL" sz="2400" dirty="0"/>
              <a:t>Kernvertegenwoordiging grootste zorgorganisaties en huisartsen en gemeenten in samenwerking met CZ. </a:t>
            </a:r>
            <a:br>
              <a:rPr lang="nl-NL" sz="2400" dirty="0"/>
            </a:br>
            <a:endParaRPr lang="nl-NL" sz="2400" dirty="0"/>
          </a:p>
          <a:p>
            <a:pPr marL="285750" indent="-285750">
              <a:buFontTx/>
              <a:buChar char="-"/>
            </a:pPr>
            <a:r>
              <a:rPr lang="nl-NL" sz="2400" dirty="0"/>
              <a:t>Kernvertegenwoordiging neemt verantwoordelijkheid voor dichten zorgkloof. Over de grenzen van de eigen organisaties heen kijken voor innovatieve oplossingen</a:t>
            </a:r>
            <a:endParaRPr lang="nl-NL" sz="2400" dirty="0">
              <a:cs typeface="Calibri"/>
            </a:endParaRPr>
          </a:p>
          <a:p>
            <a:pPr marL="285750" indent="-285750">
              <a:buFontTx/>
              <a:buChar char="-"/>
            </a:pPr>
            <a:endParaRPr lang="nl-NL" sz="2400" dirty="0"/>
          </a:p>
          <a:p>
            <a:pPr marL="285750" indent="-285750">
              <a:buFontTx/>
              <a:buChar char="-"/>
            </a:pPr>
            <a:r>
              <a:rPr lang="nl-NL" sz="2400" dirty="0">
                <a:cs typeface="Calibri"/>
              </a:rPr>
              <a:t>Gezamenlijke en gelijkgerichte inzet leidt tot beperking vraag naar zorg en effectievere inzet van de 30.000 medewerkers</a:t>
            </a:r>
            <a:br>
              <a:rPr lang="nl-NL" sz="2400" dirty="0">
                <a:cs typeface="Calibri"/>
              </a:rPr>
            </a:br>
            <a:endParaRPr lang="nl-NL" sz="2400" dirty="0"/>
          </a:p>
          <a:p>
            <a:pPr marL="285750" indent="-285750">
              <a:buFontTx/>
              <a:buChar char="-"/>
            </a:pPr>
            <a:r>
              <a:rPr lang="nl-NL" sz="2400" dirty="0"/>
              <a:t>Transitiemiddelen vanuit  Integraal Zorgakkoord beschikbaar</a:t>
            </a:r>
            <a:endParaRPr lang="nl-NL" sz="2400" dirty="0">
              <a:cs typeface="Calibri"/>
            </a:endParaRPr>
          </a:p>
          <a:p>
            <a:pPr marL="285750" indent="-285750">
              <a:buFontTx/>
              <a:buChar char="-"/>
            </a:pPr>
            <a:endParaRPr lang="nl-NL" dirty="0"/>
          </a:p>
          <a:p>
            <a:pPr marL="285750" indent="-285750">
              <a:buFontTx/>
              <a:buChar char="-"/>
            </a:pPr>
            <a:endParaRPr lang="nl-NL" dirty="0"/>
          </a:p>
          <a:p>
            <a:pPr marL="285750" indent="-285750">
              <a:buFontTx/>
              <a:buChar char="-"/>
            </a:pPr>
            <a:endParaRPr lang="nl-NL" dirty="0"/>
          </a:p>
          <a:p>
            <a:pPr marL="285750" indent="-285750">
              <a:buFontTx/>
              <a:buChar char="-"/>
            </a:pPr>
            <a:endParaRPr lang="nl-NL" dirty="0"/>
          </a:p>
        </p:txBody>
      </p:sp>
    </p:spTree>
    <p:extLst>
      <p:ext uri="{BB962C8B-B14F-4D97-AF65-F5344CB8AC3E}">
        <p14:creationId xmlns:p14="http://schemas.microsoft.com/office/powerpoint/2010/main" val="3656845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el 24">
            <a:extLst>
              <a:ext uri="{FF2B5EF4-FFF2-40B4-BE49-F238E27FC236}">
                <a16:creationId xmlns:a16="http://schemas.microsoft.com/office/drawing/2014/main" id="{7FB037FE-19D6-4406-6080-2DA609955EA3}"/>
              </a:ext>
            </a:extLst>
          </p:cNvPr>
          <p:cNvSpPr>
            <a:spLocks noGrp="1"/>
          </p:cNvSpPr>
          <p:nvPr>
            <p:ph type="title"/>
          </p:nvPr>
        </p:nvSpPr>
        <p:spPr/>
        <p:txBody>
          <a:bodyPr/>
          <a:lstStyle/>
          <a:p>
            <a:endParaRPr lang="nl-NL"/>
          </a:p>
        </p:txBody>
      </p:sp>
      <p:pic>
        <p:nvPicPr>
          <p:cNvPr id="84" name="Tijdelijke aanduiding voor afbeelding 83" descr="Afbeelding met buitenshuis, hemel, strand, water&#10;&#10;Automatisch gegenereerde beschrijving">
            <a:extLst>
              <a:ext uri="{FF2B5EF4-FFF2-40B4-BE49-F238E27FC236}">
                <a16:creationId xmlns:a16="http://schemas.microsoft.com/office/drawing/2014/main" id="{65FF3F53-A223-D753-9ED9-8AA87A14F9B0}"/>
              </a:ext>
            </a:extLst>
          </p:cNvPr>
          <p:cNvPicPr>
            <a:picLocks noGrp="1" noChangeAspect="1"/>
          </p:cNvPicPr>
          <p:nvPr>
            <p:ph type="pic" sz="quarter" idx="14"/>
          </p:nvPr>
        </p:nvPicPr>
        <p:blipFill rotWithShape="1">
          <a:blip r:embed="rId3" cstate="print">
            <a:extLst>
              <a:ext uri="{28A0092B-C50C-407E-A947-70E740481C1C}">
                <a14:useLocalDpi xmlns:a14="http://schemas.microsoft.com/office/drawing/2010/main"/>
              </a:ext>
            </a:extLst>
          </a:blip>
          <a:srcRect/>
          <a:stretch/>
        </p:blipFill>
        <p:spPr>
          <a:xfrm>
            <a:off x="0" y="0"/>
            <a:ext cx="12191999" cy="6858000"/>
          </a:xfrm>
        </p:spPr>
      </p:pic>
      <p:sp>
        <p:nvSpPr>
          <p:cNvPr id="94" name="Rechthoek 93">
            <a:extLst>
              <a:ext uri="{FF2B5EF4-FFF2-40B4-BE49-F238E27FC236}">
                <a16:creationId xmlns:a16="http://schemas.microsoft.com/office/drawing/2014/main" id="{0FBBC31D-95EB-D90B-814C-39495C358859}"/>
              </a:ext>
            </a:extLst>
          </p:cNvPr>
          <p:cNvSpPr/>
          <p:nvPr/>
        </p:nvSpPr>
        <p:spPr>
          <a:xfrm rot="10800000">
            <a:off x="0" y="3933045"/>
            <a:ext cx="12191998" cy="2924954"/>
          </a:xfrm>
          <a:prstGeom prst="rect">
            <a:avLst/>
          </a:prstGeom>
          <a:gradFill>
            <a:gsLst>
              <a:gs pos="2000">
                <a:schemeClr val="tx1">
                  <a:alpha val="26000"/>
                </a:schemeClr>
              </a:gs>
              <a:gs pos="100000">
                <a:schemeClr val="tx1">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91" name="Rechthoek 90">
            <a:extLst>
              <a:ext uri="{FF2B5EF4-FFF2-40B4-BE49-F238E27FC236}">
                <a16:creationId xmlns:a16="http://schemas.microsoft.com/office/drawing/2014/main" id="{39609446-916F-130E-E6D9-E9D6DACD1F7F}"/>
              </a:ext>
            </a:extLst>
          </p:cNvPr>
          <p:cNvSpPr/>
          <p:nvPr/>
        </p:nvSpPr>
        <p:spPr>
          <a:xfrm rot="16200000">
            <a:off x="1956012" y="-1956012"/>
            <a:ext cx="6858000" cy="10770024"/>
          </a:xfrm>
          <a:prstGeom prst="rect">
            <a:avLst/>
          </a:prstGeom>
          <a:gradFill>
            <a:gsLst>
              <a:gs pos="2000">
                <a:schemeClr val="bg2"/>
              </a:gs>
              <a:gs pos="100000">
                <a:schemeClr val="bg2">
                  <a:alpha val="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5" name="Titel 15">
            <a:extLst>
              <a:ext uri="{FF2B5EF4-FFF2-40B4-BE49-F238E27FC236}">
                <a16:creationId xmlns:a16="http://schemas.microsoft.com/office/drawing/2014/main" id="{9535BCE2-9C34-FDDF-729D-DA66AC4605CB}"/>
              </a:ext>
            </a:extLst>
          </p:cNvPr>
          <p:cNvSpPr txBox="1">
            <a:spLocks/>
          </p:cNvSpPr>
          <p:nvPr/>
        </p:nvSpPr>
        <p:spPr>
          <a:xfrm>
            <a:off x="719137" y="735013"/>
            <a:ext cx="10752137" cy="874712"/>
          </a:xfrm>
          <a:prstGeom prst="rect">
            <a:avLst/>
          </a:prstGeom>
        </p:spPr>
        <p:txBody>
          <a:bodyPr vert="horz" wrap="square" lIns="0" tIns="0" rIns="0" bIns="0" rtlCol="0" anchor="t" anchorCtr="0">
            <a:noAutofit/>
          </a:bodyPr>
          <a:lstStyle>
            <a:lvl1pPr algn="ctr" defTabSz="914400" rtl="0" eaLnBrk="1" latinLnBrk="0" hangingPunct="1">
              <a:lnSpc>
                <a:spcPct val="100000"/>
              </a:lnSpc>
              <a:spcBef>
                <a:spcPct val="0"/>
              </a:spcBef>
              <a:buNone/>
              <a:defRPr sz="4400" b="0" kern="1200" spc="-50" baseline="0">
                <a:ln w="19050">
                  <a:solidFill>
                    <a:schemeClr val="bg1"/>
                  </a:solidFill>
                </a:ln>
                <a:solidFill>
                  <a:schemeClr val="bg1"/>
                </a:solidFill>
                <a:effectLst>
                  <a:outerShdw blurRad="254000" dist="63500" dir="5400000" algn="t" rotWithShape="0">
                    <a:prstClr val="black">
                      <a:alpha val="10000"/>
                    </a:prstClr>
                  </a:outerShdw>
                </a:effectLst>
                <a:latin typeface="+mj-lt"/>
                <a:ea typeface="+mj-ea"/>
                <a:cs typeface="+mj-cs"/>
              </a:defRPr>
            </a:lvl1pPr>
          </a:lstStyle>
          <a:p>
            <a:pPr algn="l">
              <a:lnSpc>
                <a:spcPct val="80000"/>
              </a:lnSpc>
            </a:pPr>
            <a:r>
              <a:rPr lang="nl-NL" sz="4000" b="1" spc="-30" dirty="0">
                <a:ln w="19050">
                  <a:noFill/>
                </a:ln>
                <a:solidFill>
                  <a:schemeClr val="accent1"/>
                </a:solidFill>
                <a:effectLst/>
              </a:rPr>
              <a:t>Regiobeeld en –analyse</a:t>
            </a:r>
          </a:p>
          <a:p>
            <a:pPr algn="l">
              <a:lnSpc>
                <a:spcPct val="80000"/>
              </a:lnSpc>
            </a:pPr>
            <a:r>
              <a:rPr lang="nl-NL" sz="4000" b="1" spc="-30" dirty="0">
                <a:ln w="19050">
                  <a:noFill/>
                </a:ln>
                <a:solidFill>
                  <a:schemeClr val="accent1"/>
                </a:solidFill>
                <a:effectLst/>
              </a:rPr>
              <a:t>wijkbeelden van Kerngezond</a:t>
            </a:r>
            <a:r>
              <a:rPr lang="nl-NL" sz="4000" b="1" spc="-30" dirty="0">
                <a:ln w="19050">
                  <a:noFill/>
                </a:ln>
                <a:solidFill>
                  <a:schemeClr val="accent3"/>
                </a:solidFill>
                <a:effectLst/>
              </a:rPr>
              <a:t>.</a:t>
            </a:r>
          </a:p>
        </p:txBody>
      </p:sp>
      <p:sp>
        <p:nvSpPr>
          <p:cNvPr id="16" name="Rechthoek: afgeronde hoeken 15">
            <a:extLst>
              <a:ext uri="{FF2B5EF4-FFF2-40B4-BE49-F238E27FC236}">
                <a16:creationId xmlns:a16="http://schemas.microsoft.com/office/drawing/2014/main" id="{D1EC8D65-1425-7A67-E36A-1946CF9995CD}"/>
              </a:ext>
            </a:extLst>
          </p:cNvPr>
          <p:cNvSpPr/>
          <p:nvPr/>
        </p:nvSpPr>
        <p:spPr>
          <a:xfrm>
            <a:off x="7266925" y="2217041"/>
            <a:ext cx="2030296" cy="3245773"/>
          </a:xfrm>
          <a:prstGeom prst="roundRect">
            <a:avLst/>
          </a:prstGeom>
          <a:solidFill>
            <a:schemeClr val="bg1"/>
          </a:solidFill>
          <a:ln>
            <a:noFill/>
          </a:ln>
          <a:effectLst>
            <a:outerShdw blurRad="190500" dist="190500" dir="5400000" sx="95000" sy="95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7" name="Rechthoek: afgeronde hoeken 16">
            <a:extLst>
              <a:ext uri="{FF2B5EF4-FFF2-40B4-BE49-F238E27FC236}">
                <a16:creationId xmlns:a16="http://schemas.microsoft.com/office/drawing/2014/main" id="{21D4C7D7-33D9-B4D1-402C-BA28441A68DA}"/>
              </a:ext>
            </a:extLst>
          </p:cNvPr>
          <p:cNvSpPr/>
          <p:nvPr/>
        </p:nvSpPr>
        <p:spPr>
          <a:xfrm>
            <a:off x="5080095" y="2217041"/>
            <a:ext cx="2030296" cy="3245773"/>
          </a:xfrm>
          <a:prstGeom prst="roundRect">
            <a:avLst/>
          </a:prstGeom>
          <a:solidFill>
            <a:schemeClr val="bg1"/>
          </a:solidFill>
          <a:ln>
            <a:noFill/>
          </a:ln>
          <a:effectLst>
            <a:outerShdw blurRad="190500" dist="190500" dir="5400000" sx="95000" sy="95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18" name="Rechthoek: afgeronde hoeken 17">
            <a:extLst>
              <a:ext uri="{FF2B5EF4-FFF2-40B4-BE49-F238E27FC236}">
                <a16:creationId xmlns:a16="http://schemas.microsoft.com/office/drawing/2014/main" id="{3CD7BD8E-14E1-4E56-A1DB-FE29ECEF0E74}"/>
              </a:ext>
            </a:extLst>
          </p:cNvPr>
          <p:cNvSpPr/>
          <p:nvPr/>
        </p:nvSpPr>
        <p:spPr>
          <a:xfrm>
            <a:off x="2893266" y="2217041"/>
            <a:ext cx="2030296" cy="3245773"/>
          </a:xfrm>
          <a:prstGeom prst="roundRect">
            <a:avLst/>
          </a:prstGeom>
          <a:solidFill>
            <a:schemeClr val="bg1"/>
          </a:solidFill>
          <a:ln>
            <a:noFill/>
          </a:ln>
          <a:effectLst>
            <a:outerShdw blurRad="190500" dist="190500" dir="5400000" sx="95000" sy="95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sp>
        <p:nvSpPr>
          <p:cNvPr id="20" name="Rechthoek: afgeronde hoeken 19">
            <a:extLst>
              <a:ext uri="{FF2B5EF4-FFF2-40B4-BE49-F238E27FC236}">
                <a16:creationId xmlns:a16="http://schemas.microsoft.com/office/drawing/2014/main" id="{389E1F8C-AC10-8B2D-B18D-541DB8E0C00A}"/>
              </a:ext>
            </a:extLst>
          </p:cNvPr>
          <p:cNvSpPr/>
          <p:nvPr/>
        </p:nvSpPr>
        <p:spPr>
          <a:xfrm>
            <a:off x="719137" y="2217041"/>
            <a:ext cx="2030296" cy="3245773"/>
          </a:xfrm>
          <a:prstGeom prst="roundRect">
            <a:avLst/>
          </a:prstGeom>
          <a:solidFill>
            <a:schemeClr val="bg1"/>
          </a:solidFill>
          <a:ln>
            <a:noFill/>
          </a:ln>
          <a:effectLst>
            <a:outerShdw blurRad="190500" dist="190500" dir="5400000" sx="95000" sy="95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144000" rIns="144000" bIns="144000" rtlCol="0" anchor="ctr"/>
          <a:lstStyle/>
          <a:p>
            <a:pPr algn="ctr">
              <a:lnSpc>
                <a:spcPct val="90000"/>
              </a:lnSpc>
              <a:spcBef>
                <a:spcPts val="200"/>
              </a:spcBef>
              <a:spcAft>
                <a:spcPts val="200"/>
              </a:spcAft>
            </a:pPr>
            <a:endParaRPr lang="nl-NL" sz="1600" dirty="0" err="1"/>
          </a:p>
        </p:txBody>
      </p:sp>
      <p:pic>
        <p:nvPicPr>
          <p:cNvPr id="90" name="Afbeelding 89" descr="Afbeelding met schermopname&#10;&#10;Automatisch gegenereerde beschrijving">
            <a:extLst>
              <a:ext uri="{FF2B5EF4-FFF2-40B4-BE49-F238E27FC236}">
                <a16:creationId xmlns:a16="http://schemas.microsoft.com/office/drawing/2014/main" id="{84A0450A-37FD-E36A-038A-8C6CB44D879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26136"/>
          <a:stretch/>
        </p:blipFill>
        <p:spPr>
          <a:xfrm>
            <a:off x="3211940" y="3418759"/>
            <a:ext cx="9005458" cy="3677950"/>
          </a:xfrm>
          <a:prstGeom prst="rect">
            <a:avLst/>
          </a:prstGeom>
        </p:spPr>
      </p:pic>
      <p:sp>
        <p:nvSpPr>
          <p:cNvPr id="24" name="Tekstvak 23">
            <a:extLst>
              <a:ext uri="{FF2B5EF4-FFF2-40B4-BE49-F238E27FC236}">
                <a16:creationId xmlns:a16="http://schemas.microsoft.com/office/drawing/2014/main" id="{3E0A7A5D-A04D-AF7D-D6A1-53ADF880BC43}"/>
              </a:ext>
            </a:extLst>
          </p:cNvPr>
          <p:cNvSpPr txBox="1"/>
          <p:nvPr/>
        </p:nvSpPr>
        <p:spPr>
          <a:xfrm>
            <a:off x="853189" y="3204732"/>
            <a:ext cx="1762192" cy="2093192"/>
          </a:xfrm>
          <a:prstGeom prst="rect">
            <a:avLst/>
          </a:prstGeom>
          <a:noFill/>
        </p:spPr>
        <p:txBody>
          <a:bodyPr wrap="square" lIns="0" tIns="0" rIns="0" bIns="0" rtlCol="0" anchor="ctr">
            <a:noAutofit/>
          </a:bodyPr>
          <a:lstStyle/>
          <a:p>
            <a:pPr algn="ctr">
              <a:lnSpc>
                <a:spcPct val="90000"/>
              </a:lnSpc>
              <a:spcBef>
                <a:spcPts val="200"/>
              </a:spcBef>
              <a:spcAft>
                <a:spcPts val="200"/>
              </a:spcAft>
            </a:pPr>
            <a:r>
              <a:rPr lang="nl-NL" sz="1400" b="1" dirty="0">
                <a:ln w="3175">
                  <a:noFill/>
                </a:ln>
                <a:solidFill>
                  <a:schemeClr val="accent1"/>
                </a:solidFill>
                <a:latin typeface="+mj-lt"/>
              </a:rPr>
              <a:t>Toegankelijkheid </a:t>
            </a:r>
            <a:br>
              <a:rPr lang="nl-NL" sz="1400" b="1" dirty="0">
                <a:ln w="3175">
                  <a:noFill/>
                </a:ln>
                <a:solidFill>
                  <a:schemeClr val="accent1"/>
                </a:solidFill>
                <a:latin typeface="+mj-lt"/>
              </a:rPr>
            </a:br>
            <a:r>
              <a:rPr lang="nl-NL" sz="1400" b="1" dirty="0">
                <a:ln w="3175">
                  <a:noFill/>
                </a:ln>
                <a:solidFill>
                  <a:schemeClr val="accent1"/>
                </a:solidFill>
                <a:latin typeface="+mj-lt"/>
              </a:rPr>
              <a:t>en beschikbaarheid</a:t>
            </a:r>
            <a:br>
              <a:rPr lang="nl-NL" sz="1400" b="1" dirty="0">
                <a:ln w="3175">
                  <a:noFill/>
                </a:ln>
                <a:solidFill>
                  <a:schemeClr val="accent1"/>
                </a:solidFill>
                <a:latin typeface="+mj-lt"/>
              </a:rPr>
            </a:br>
            <a:r>
              <a:rPr lang="nl-NL" sz="1400" b="1" dirty="0">
                <a:ln w="3175">
                  <a:noFill/>
                </a:ln>
                <a:solidFill>
                  <a:schemeClr val="accent1"/>
                </a:solidFill>
                <a:latin typeface="+mj-lt"/>
              </a:rPr>
              <a:t>van zorg </a:t>
            </a:r>
            <a:br>
              <a:rPr lang="nl-NL" sz="1400" b="1" dirty="0">
                <a:ln w="3175">
                  <a:noFill/>
                </a:ln>
                <a:solidFill>
                  <a:schemeClr val="accent1"/>
                </a:solidFill>
                <a:latin typeface="+mj-lt"/>
              </a:rPr>
            </a:br>
            <a:r>
              <a:rPr lang="nl-NL" sz="1400" b="1" dirty="0">
                <a:ln w="3175">
                  <a:noFill/>
                </a:ln>
                <a:solidFill>
                  <a:schemeClr val="accent1"/>
                </a:solidFill>
                <a:latin typeface="+mj-lt"/>
              </a:rPr>
              <a:t>onder druk</a:t>
            </a:r>
          </a:p>
        </p:txBody>
      </p:sp>
      <p:sp>
        <p:nvSpPr>
          <p:cNvPr id="30" name="Tekstvak 29">
            <a:extLst>
              <a:ext uri="{FF2B5EF4-FFF2-40B4-BE49-F238E27FC236}">
                <a16:creationId xmlns:a16="http://schemas.microsoft.com/office/drawing/2014/main" id="{4FA45558-FC67-53F1-28AA-D58F60AFF7A2}"/>
              </a:ext>
            </a:extLst>
          </p:cNvPr>
          <p:cNvSpPr txBox="1"/>
          <p:nvPr/>
        </p:nvSpPr>
        <p:spPr>
          <a:xfrm>
            <a:off x="3027318" y="3204732"/>
            <a:ext cx="1762192" cy="2093192"/>
          </a:xfrm>
          <a:prstGeom prst="rect">
            <a:avLst/>
          </a:prstGeom>
          <a:noFill/>
        </p:spPr>
        <p:txBody>
          <a:bodyPr wrap="square" lIns="0" tIns="0" rIns="0" bIns="0" rtlCol="0" anchor="ctr">
            <a:noAutofit/>
          </a:bodyPr>
          <a:lstStyle/>
          <a:p>
            <a:pPr algn="ctr">
              <a:lnSpc>
                <a:spcPct val="90000"/>
              </a:lnSpc>
              <a:spcBef>
                <a:spcPts val="200"/>
              </a:spcBef>
              <a:spcAft>
                <a:spcPts val="200"/>
              </a:spcAft>
            </a:pPr>
            <a:r>
              <a:rPr lang="nl-NL" sz="1400" b="1" dirty="0">
                <a:ln w="3175">
                  <a:noFill/>
                </a:ln>
                <a:solidFill>
                  <a:schemeClr val="accent1"/>
                </a:solidFill>
                <a:latin typeface="+mj-lt"/>
              </a:rPr>
              <a:t>Personeels-capaciteit staat onder druk door uitstroom</a:t>
            </a:r>
          </a:p>
        </p:txBody>
      </p:sp>
      <p:sp>
        <p:nvSpPr>
          <p:cNvPr id="31" name="Tekstvak 30">
            <a:extLst>
              <a:ext uri="{FF2B5EF4-FFF2-40B4-BE49-F238E27FC236}">
                <a16:creationId xmlns:a16="http://schemas.microsoft.com/office/drawing/2014/main" id="{E415B8F4-5CDC-5667-2210-DF1C9EDE81A9}"/>
              </a:ext>
            </a:extLst>
          </p:cNvPr>
          <p:cNvSpPr txBox="1"/>
          <p:nvPr/>
        </p:nvSpPr>
        <p:spPr>
          <a:xfrm>
            <a:off x="5214147" y="3204732"/>
            <a:ext cx="1762192" cy="2093192"/>
          </a:xfrm>
          <a:prstGeom prst="rect">
            <a:avLst/>
          </a:prstGeom>
          <a:noFill/>
        </p:spPr>
        <p:txBody>
          <a:bodyPr wrap="square" lIns="0" tIns="0" rIns="0" bIns="0" rtlCol="0" anchor="ctr">
            <a:noAutofit/>
          </a:bodyPr>
          <a:lstStyle/>
          <a:p>
            <a:pPr algn="ctr">
              <a:lnSpc>
                <a:spcPct val="90000"/>
              </a:lnSpc>
              <a:spcBef>
                <a:spcPts val="200"/>
              </a:spcBef>
              <a:spcAft>
                <a:spcPts val="200"/>
              </a:spcAft>
            </a:pPr>
            <a:r>
              <a:rPr lang="nl-NL" sz="1400" b="1" dirty="0">
                <a:ln w="3175">
                  <a:noFill/>
                </a:ln>
                <a:solidFill>
                  <a:schemeClr val="accent1"/>
                </a:solidFill>
                <a:latin typeface="+mj-lt"/>
              </a:rPr>
              <a:t>Zorg onder druk door geografische en spoedzorg uitdagingen</a:t>
            </a:r>
          </a:p>
        </p:txBody>
      </p:sp>
      <p:sp>
        <p:nvSpPr>
          <p:cNvPr id="32" name="Tekstvak 31">
            <a:extLst>
              <a:ext uri="{FF2B5EF4-FFF2-40B4-BE49-F238E27FC236}">
                <a16:creationId xmlns:a16="http://schemas.microsoft.com/office/drawing/2014/main" id="{96401471-FD7D-829D-9A48-7EA461F4BDD5}"/>
              </a:ext>
            </a:extLst>
          </p:cNvPr>
          <p:cNvSpPr txBox="1"/>
          <p:nvPr/>
        </p:nvSpPr>
        <p:spPr>
          <a:xfrm>
            <a:off x="7400977" y="3204732"/>
            <a:ext cx="1762192" cy="2093192"/>
          </a:xfrm>
          <a:prstGeom prst="rect">
            <a:avLst/>
          </a:prstGeom>
          <a:noFill/>
        </p:spPr>
        <p:txBody>
          <a:bodyPr wrap="square" lIns="0" tIns="0" rIns="0" bIns="0" rtlCol="0" anchor="ctr">
            <a:noAutofit/>
          </a:bodyPr>
          <a:lstStyle/>
          <a:p>
            <a:pPr algn="ctr">
              <a:lnSpc>
                <a:spcPct val="90000"/>
              </a:lnSpc>
              <a:spcBef>
                <a:spcPts val="200"/>
              </a:spcBef>
              <a:spcAft>
                <a:spcPts val="200"/>
              </a:spcAft>
            </a:pPr>
            <a:r>
              <a:rPr lang="nl-NL" sz="1400" b="1" dirty="0">
                <a:ln w="3175">
                  <a:noFill/>
                </a:ln>
                <a:solidFill>
                  <a:schemeClr val="accent1"/>
                </a:solidFill>
                <a:latin typeface="+mj-lt"/>
              </a:rPr>
              <a:t>Onvoldoende beschikbaarheid </a:t>
            </a:r>
            <a:br>
              <a:rPr lang="nl-NL" sz="1400" b="1" dirty="0">
                <a:ln w="3175">
                  <a:noFill/>
                </a:ln>
                <a:solidFill>
                  <a:schemeClr val="accent1"/>
                </a:solidFill>
                <a:latin typeface="+mj-lt"/>
              </a:rPr>
            </a:br>
            <a:r>
              <a:rPr lang="nl-NL" sz="1400" b="1" dirty="0">
                <a:ln w="3175">
                  <a:noFill/>
                </a:ln>
                <a:solidFill>
                  <a:schemeClr val="accent1"/>
                </a:solidFill>
                <a:latin typeface="+mj-lt"/>
              </a:rPr>
              <a:t>van zorg aan ouderen</a:t>
            </a:r>
          </a:p>
        </p:txBody>
      </p:sp>
      <p:grpSp>
        <p:nvGrpSpPr>
          <p:cNvPr id="75" name="Groep 74">
            <a:extLst>
              <a:ext uri="{FF2B5EF4-FFF2-40B4-BE49-F238E27FC236}">
                <a16:creationId xmlns:a16="http://schemas.microsoft.com/office/drawing/2014/main" id="{EE2DFAA8-0B97-2C52-7050-1FD1049921D2}"/>
              </a:ext>
            </a:extLst>
          </p:cNvPr>
          <p:cNvGrpSpPr/>
          <p:nvPr/>
        </p:nvGrpSpPr>
        <p:grpSpPr>
          <a:xfrm>
            <a:off x="3531062" y="2802364"/>
            <a:ext cx="714864" cy="755686"/>
            <a:chOff x="3590901" y="3067844"/>
            <a:chExt cx="518985" cy="548622"/>
          </a:xfrm>
        </p:grpSpPr>
        <p:sp>
          <p:nvSpPr>
            <p:cNvPr id="38" name="Vrije vorm: vorm 37">
              <a:extLst>
                <a:ext uri="{FF2B5EF4-FFF2-40B4-BE49-F238E27FC236}">
                  <a16:creationId xmlns:a16="http://schemas.microsoft.com/office/drawing/2014/main" id="{476F3B57-20CA-12D6-033B-CF0AD1FEC190}"/>
                </a:ext>
              </a:extLst>
            </p:cNvPr>
            <p:cNvSpPr/>
            <p:nvPr/>
          </p:nvSpPr>
          <p:spPr>
            <a:xfrm>
              <a:off x="3590901" y="3067844"/>
              <a:ext cx="366005" cy="548622"/>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rtlCol="0" anchor="ctr"/>
            <a:lstStyle/>
            <a:p>
              <a:endParaRPr lang="nl-NL"/>
            </a:p>
          </p:txBody>
        </p:sp>
        <p:grpSp>
          <p:nvGrpSpPr>
            <p:cNvPr id="54" name="Graphic 52">
              <a:extLst>
                <a:ext uri="{FF2B5EF4-FFF2-40B4-BE49-F238E27FC236}">
                  <a16:creationId xmlns:a16="http://schemas.microsoft.com/office/drawing/2014/main" id="{1234C351-CEB3-F3F5-35CA-62F1EB78A54C}"/>
                </a:ext>
              </a:extLst>
            </p:cNvPr>
            <p:cNvGrpSpPr/>
            <p:nvPr/>
          </p:nvGrpSpPr>
          <p:grpSpPr>
            <a:xfrm>
              <a:off x="3744799" y="3196070"/>
              <a:ext cx="365087" cy="407721"/>
              <a:chOff x="3744799" y="3196070"/>
              <a:chExt cx="365087" cy="407721"/>
            </a:xfrm>
            <a:noFill/>
          </p:grpSpPr>
          <p:sp>
            <p:nvSpPr>
              <p:cNvPr id="55" name="Vrije vorm: vorm 54">
                <a:extLst>
                  <a:ext uri="{FF2B5EF4-FFF2-40B4-BE49-F238E27FC236}">
                    <a16:creationId xmlns:a16="http://schemas.microsoft.com/office/drawing/2014/main" id="{FD4BC5D6-9D61-5583-716C-BCD9A5EAF9A6}"/>
                  </a:ext>
                </a:extLst>
              </p:cNvPr>
              <p:cNvSpPr/>
              <p:nvPr/>
            </p:nvSpPr>
            <p:spPr>
              <a:xfrm flipV="1">
                <a:off x="3744799" y="3359960"/>
                <a:ext cx="111582" cy="210452"/>
              </a:xfrm>
              <a:custGeom>
                <a:avLst/>
                <a:gdLst>
                  <a:gd name="connsiteX0" fmla="*/ 111790 w 111582"/>
                  <a:gd name="connsiteY0" fmla="*/ 190826 h 210452"/>
                  <a:gd name="connsiteX1" fmla="*/ 111790 w 111582"/>
                  <a:gd name="connsiteY1" fmla="*/ 124933 h 210452"/>
                  <a:gd name="connsiteX2" fmla="*/ 95013 w 111582"/>
                  <a:gd name="connsiteY2" fmla="*/ 105050 h 210452"/>
                  <a:gd name="connsiteX3" fmla="*/ 95013 w 111582"/>
                  <a:gd name="connsiteY3" fmla="*/ 545 h 210452"/>
                  <a:gd name="connsiteX4" fmla="*/ 16985 w 111582"/>
                  <a:gd name="connsiteY4" fmla="*/ 545 h 210452"/>
                  <a:gd name="connsiteX5" fmla="*/ 16985 w 111582"/>
                  <a:gd name="connsiteY5" fmla="*/ 105050 h 210452"/>
                  <a:gd name="connsiteX6" fmla="*/ 207 w 111582"/>
                  <a:gd name="connsiteY6" fmla="*/ 124933 h 210452"/>
                  <a:gd name="connsiteX7" fmla="*/ 207 w 111582"/>
                  <a:gd name="connsiteY7" fmla="*/ 190826 h 210452"/>
                  <a:gd name="connsiteX8" fmla="*/ 20379 w 111582"/>
                  <a:gd name="connsiteY8" fmla="*/ 210998 h 210452"/>
                  <a:gd name="connsiteX9" fmla="*/ 91618 w 111582"/>
                  <a:gd name="connsiteY9" fmla="*/ 210998 h 210452"/>
                  <a:gd name="connsiteX10" fmla="*/ 111790 w 111582"/>
                  <a:gd name="connsiteY10" fmla="*/ 190826 h 21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582" h="210452">
                    <a:moveTo>
                      <a:pt x="111790" y="190826"/>
                    </a:moveTo>
                    <a:lnTo>
                      <a:pt x="111790" y="124933"/>
                    </a:lnTo>
                    <a:cubicBezTo>
                      <a:pt x="111790" y="114980"/>
                      <a:pt x="104516" y="106672"/>
                      <a:pt x="95013" y="105050"/>
                    </a:cubicBezTo>
                    <a:lnTo>
                      <a:pt x="95013" y="545"/>
                    </a:lnTo>
                    <a:lnTo>
                      <a:pt x="16985" y="545"/>
                    </a:lnTo>
                    <a:lnTo>
                      <a:pt x="16985" y="105050"/>
                    </a:lnTo>
                    <a:cubicBezTo>
                      <a:pt x="7481" y="106672"/>
                      <a:pt x="207" y="114980"/>
                      <a:pt x="207" y="124933"/>
                    </a:cubicBezTo>
                    <a:lnTo>
                      <a:pt x="207" y="190826"/>
                    </a:lnTo>
                    <a:cubicBezTo>
                      <a:pt x="207" y="201937"/>
                      <a:pt x="9268" y="210998"/>
                      <a:pt x="20379" y="210998"/>
                    </a:cubicBezTo>
                    <a:lnTo>
                      <a:pt x="91618" y="210998"/>
                    </a:lnTo>
                    <a:cubicBezTo>
                      <a:pt x="102728" y="210998"/>
                      <a:pt x="111790" y="201937"/>
                      <a:pt x="111790" y="190826"/>
                    </a:cubicBezTo>
                    <a:close/>
                  </a:path>
                </a:pathLst>
              </a:custGeom>
              <a:noFill/>
              <a:ln w="25103" cap="rnd">
                <a:solidFill>
                  <a:schemeClr val="tx2"/>
                </a:solidFill>
                <a:prstDash val="solid"/>
                <a:round/>
              </a:ln>
            </p:spPr>
            <p:txBody>
              <a:bodyPr rtlCol="0" anchor="ctr"/>
              <a:lstStyle/>
              <a:p>
                <a:endParaRPr lang="nl-NL"/>
              </a:p>
            </p:txBody>
          </p:sp>
          <p:sp>
            <p:nvSpPr>
              <p:cNvPr id="56" name="Vrije vorm: vorm 55">
                <a:extLst>
                  <a:ext uri="{FF2B5EF4-FFF2-40B4-BE49-F238E27FC236}">
                    <a16:creationId xmlns:a16="http://schemas.microsoft.com/office/drawing/2014/main" id="{FFD58656-F81D-2AE8-2E0A-548B67FEC91B}"/>
                  </a:ext>
                </a:extLst>
              </p:cNvPr>
              <p:cNvSpPr/>
              <p:nvPr/>
            </p:nvSpPr>
            <p:spPr>
              <a:xfrm flipV="1">
                <a:off x="3763594" y="3245656"/>
                <a:ext cx="73961" cy="73961"/>
              </a:xfrm>
              <a:custGeom>
                <a:avLst/>
                <a:gdLst>
                  <a:gd name="connsiteX0" fmla="*/ 37122 w 73961"/>
                  <a:gd name="connsiteY0" fmla="*/ 112 h 73961"/>
                  <a:gd name="connsiteX1" fmla="*/ 74102 w 73961"/>
                  <a:gd name="connsiteY1" fmla="*/ 37093 h 73961"/>
                  <a:gd name="connsiteX2" fmla="*/ 37122 w 73961"/>
                  <a:gd name="connsiteY2" fmla="*/ 74074 h 73961"/>
                  <a:gd name="connsiteX3" fmla="*/ 141 w 73961"/>
                  <a:gd name="connsiteY3" fmla="*/ 37093 h 73961"/>
                  <a:gd name="connsiteX4" fmla="*/ 37122 w 73961"/>
                  <a:gd name="connsiteY4" fmla="*/ 112 h 73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61" h="73961">
                    <a:moveTo>
                      <a:pt x="37122" y="112"/>
                    </a:moveTo>
                    <a:cubicBezTo>
                      <a:pt x="57490" y="112"/>
                      <a:pt x="74102" y="16725"/>
                      <a:pt x="74102" y="37093"/>
                    </a:cubicBezTo>
                    <a:cubicBezTo>
                      <a:pt x="74102" y="57461"/>
                      <a:pt x="57490" y="74074"/>
                      <a:pt x="37122" y="74074"/>
                    </a:cubicBezTo>
                    <a:cubicBezTo>
                      <a:pt x="16754" y="74074"/>
                      <a:pt x="141" y="57461"/>
                      <a:pt x="141" y="37093"/>
                    </a:cubicBezTo>
                    <a:cubicBezTo>
                      <a:pt x="141" y="16725"/>
                      <a:pt x="16754" y="112"/>
                      <a:pt x="37122" y="112"/>
                    </a:cubicBezTo>
                    <a:close/>
                  </a:path>
                </a:pathLst>
              </a:custGeom>
              <a:noFill/>
              <a:ln w="25103" cap="rnd">
                <a:solidFill>
                  <a:schemeClr val="tx2"/>
                </a:solidFill>
                <a:prstDash val="solid"/>
                <a:round/>
              </a:ln>
            </p:spPr>
            <p:txBody>
              <a:bodyPr rtlCol="0" anchor="ctr"/>
              <a:lstStyle/>
              <a:p>
                <a:endParaRPr lang="nl-NL"/>
              </a:p>
            </p:txBody>
          </p:sp>
          <p:sp>
            <p:nvSpPr>
              <p:cNvPr id="59" name="Vrije vorm: vorm 58">
                <a:extLst>
                  <a:ext uri="{FF2B5EF4-FFF2-40B4-BE49-F238E27FC236}">
                    <a16:creationId xmlns:a16="http://schemas.microsoft.com/office/drawing/2014/main" id="{DCAA3058-7F0C-306F-E2E6-3B585088B6E8}"/>
                  </a:ext>
                </a:extLst>
              </p:cNvPr>
              <p:cNvSpPr/>
              <p:nvPr/>
            </p:nvSpPr>
            <p:spPr>
              <a:xfrm flipV="1">
                <a:off x="3998305" y="3359960"/>
                <a:ext cx="111582" cy="210452"/>
              </a:xfrm>
              <a:custGeom>
                <a:avLst/>
                <a:gdLst>
                  <a:gd name="connsiteX0" fmla="*/ 112190 w 111582"/>
                  <a:gd name="connsiteY0" fmla="*/ 190826 h 210452"/>
                  <a:gd name="connsiteX1" fmla="*/ 112190 w 111582"/>
                  <a:gd name="connsiteY1" fmla="*/ 124933 h 210452"/>
                  <a:gd name="connsiteX2" fmla="*/ 95413 w 111582"/>
                  <a:gd name="connsiteY2" fmla="*/ 105050 h 210452"/>
                  <a:gd name="connsiteX3" fmla="*/ 95413 w 111582"/>
                  <a:gd name="connsiteY3" fmla="*/ 545 h 210452"/>
                  <a:gd name="connsiteX4" fmla="*/ 17385 w 111582"/>
                  <a:gd name="connsiteY4" fmla="*/ 545 h 210452"/>
                  <a:gd name="connsiteX5" fmla="*/ 17385 w 111582"/>
                  <a:gd name="connsiteY5" fmla="*/ 105050 h 210452"/>
                  <a:gd name="connsiteX6" fmla="*/ 607 w 111582"/>
                  <a:gd name="connsiteY6" fmla="*/ 124933 h 210452"/>
                  <a:gd name="connsiteX7" fmla="*/ 607 w 111582"/>
                  <a:gd name="connsiteY7" fmla="*/ 190826 h 210452"/>
                  <a:gd name="connsiteX8" fmla="*/ 20779 w 111582"/>
                  <a:gd name="connsiteY8" fmla="*/ 210998 h 210452"/>
                  <a:gd name="connsiteX9" fmla="*/ 92019 w 111582"/>
                  <a:gd name="connsiteY9" fmla="*/ 210998 h 210452"/>
                  <a:gd name="connsiteX10" fmla="*/ 112190 w 111582"/>
                  <a:gd name="connsiteY10" fmla="*/ 190826 h 210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1582" h="210452">
                    <a:moveTo>
                      <a:pt x="112190" y="190826"/>
                    </a:moveTo>
                    <a:lnTo>
                      <a:pt x="112190" y="124933"/>
                    </a:lnTo>
                    <a:cubicBezTo>
                      <a:pt x="112190" y="114980"/>
                      <a:pt x="104916" y="106672"/>
                      <a:pt x="95413" y="105050"/>
                    </a:cubicBezTo>
                    <a:lnTo>
                      <a:pt x="95413" y="545"/>
                    </a:lnTo>
                    <a:lnTo>
                      <a:pt x="17385" y="545"/>
                    </a:lnTo>
                    <a:lnTo>
                      <a:pt x="17385" y="105050"/>
                    </a:lnTo>
                    <a:cubicBezTo>
                      <a:pt x="7881" y="106672"/>
                      <a:pt x="607" y="114980"/>
                      <a:pt x="607" y="124933"/>
                    </a:cubicBezTo>
                    <a:lnTo>
                      <a:pt x="607" y="190826"/>
                    </a:lnTo>
                    <a:cubicBezTo>
                      <a:pt x="607" y="201937"/>
                      <a:pt x="9668" y="210998"/>
                      <a:pt x="20779" y="210998"/>
                    </a:cubicBezTo>
                    <a:lnTo>
                      <a:pt x="92019" y="210998"/>
                    </a:lnTo>
                    <a:cubicBezTo>
                      <a:pt x="103128" y="210998"/>
                      <a:pt x="112190" y="201937"/>
                      <a:pt x="112190" y="190826"/>
                    </a:cubicBezTo>
                    <a:close/>
                  </a:path>
                </a:pathLst>
              </a:custGeom>
              <a:noFill/>
              <a:ln w="25103" cap="rnd">
                <a:solidFill>
                  <a:schemeClr val="tx2"/>
                </a:solidFill>
                <a:prstDash val="solid"/>
                <a:round/>
              </a:ln>
            </p:spPr>
            <p:txBody>
              <a:bodyPr rtlCol="0" anchor="ctr"/>
              <a:lstStyle/>
              <a:p>
                <a:endParaRPr lang="nl-NL"/>
              </a:p>
            </p:txBody>
          </p:sp>
          <p:sp>
            <p:nvSpPr>
              <p:cNvPr id="60" name="Vrije vorm: vorm 59">
                <a:extLst>
                  <a:ext uri="{FF2B5EF4-FFF2-40B4-BE49-F238E27FC236}">
                    <a16:creationId xmlns:a16="http://schemas.microsoft.com/office/drawing/2014/main" id="{8D3790E6-9692-D935-C929-686E1B82E0F1}"/>
                  </a:ext>
                </a:extLst>
              </p:cNvPr>
              <p:cNvSpPr/>
              <p:nvPr/>
            </p:nvSpPr>
            <p:spPr>
              <a:xfrm flipV="1">
                <a:off x="4017100" y="3245656"/>
                <a:ext cx="73961" cy="73961"/>
              </a:xfrm>
              <a:custGeom>
                <a:avLst/>
                <a:gdLst>
                  <a:gd name="connsiteX0" fmla="*/ 37522 w 73961"/>
                  <a:gd name="connsiteY0" fmla="*/ 112 h 73961"/>
                  <a:gd name="connsiteX1" fmla="*/ 74502 w 73961"/>
                  <a:gd name="connsiteY1" fmla="*/ 37093 h 73961"/>
                  <a:gd name="connsiteX2" fmla="*/ 37522 w 73961"/>
                  <a:gd name="connsiteY2" fmla="*/ 74074 h 73961"/>
                  <a:gd name="connsiteX3" fmla="*/ 541 w 73961"/>
                  <a:gd name="connsiteY3" fmla="*/ 37093 h 73961"/>
                  <a:gd name="connsiteX4" fmla="*/ 37522 w 73961"/>
                  <a:gd name="connsiteY4" fmla="*/ 112 h 73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3961" h="73961">
                    <a:moveTo>
                      <a:pt x="37522" y="112"/>
                    </a:moveTo>
                    <a:cubicBezTo>
                      <a:pt x="57890" y="112"/>
                      <a:pt x="74502" y="16725"/>
                      <a:pt x="74502" y="37093"/>
                    </a:cubicBezTo>
                    <a:cubicBezTo>
                      <a:pt x="74502" y="57461"/>
                      <a:pt x="57890" y="74074"/>
                      <a:pt x="37522" y="74074"/>
                    </a:cubicBezTo>
                    <a:cubicBezTo>
                      <a:pt x="17154" y="74074"/>
                      <a:pt x="541" y="57461"/>
                      <a:pt x="541" y="37093"/>
                    </a:cubicBezTo>
                    <a:cubicBezTo>
                      <a:pt x="541" y="16725"/>
                      <a:pt x="17154" y="112"/>
                      <a:pt x="37522" y="112"/>
                    </a:cubicBezTo>
                    <a:close/>
                  </a:path>
                </a:pathLst>
              </a:custGeom>
              <a:noFill/>
              <a:ln w="25103" cap="rnd">
                <a:solidFill>
                  <a:schemeClr val="tx2"/>
                </a:solidFill>
                <a:prstDash val="solid"/>
                <a:round/>
              </a:ln>
            </p:spPr>
            <p:txBody>
              <a:bodyPr rtlCol="0" anchor="ctr"/>
              <a:lstStyle/>
              <a:p>
                <a:endParaRPr lang="nl-NL"/>
              </a:p>
            </p:txBody>
          </p:sp>
          <p:sp>
            <p:nvSpPr>
              <p:cNvPr id="57" name="Vrije vorm: vorm 56">
                <a:extLst>
                  <a:ext uri="{FF2B5EF4-FFF2-40B4-BE49-F238E27FC236}">
                    <a16:creationId xmlns:a16="http://schemas.microsoft.com/office/drawing/2014/main" id="{0250E3D4-BFFF-CB7C-9672-BD27602C7A01}"/>
                  </a:ext>
                </a:extLst>
              </p:cNvPr>
              <p:cNvSpPr/>
              <p:nvPr/>
            </p:nvSpPr>
            <p:spPr>
              <a:xfrm flipV="1">
                <a:off x="3856377" y="3339301"/>
                <a:ext cx="140233" cy="264490"/>
              </a:xfrm>
              <a:custGeom>
                <a:avLst/>
                <a:gdLst>
                  <a:gd name="connsiteX0" fmla="*/ 140656 w 140233"/>
                  <a:gd name="connsiteY0" fmla="*/ 239721 h 264490"/>
                  <a:gd name="connsiteX1" fmla="*/ 140656 w 140233"/>
                  <a:gd name="connsiteY1" fmla="*/ 156909 h 264490"/>
                  <a:gd name="connsiteX2" fmla="*/ 119571 w 140233"/>
                  <a:gd name="connsiteY2" fmla="*/ 131920 h 264490"/>
                  <a:gd name="connsiteX3" fmla="*/ 119571 w 140233"/>
                  <a:gd name="connsiteY3" fmla="*/ 581 h 264490"/>
                  <a:gd name="connsiteX4" fmla="*/ 21509 w 140233"/>
                  <a:gd name="connsiteY4" fmla="*/ 581 h 264490"/>
                  <a:gd name="connsiteX5" fmla="*/ 21509 w 140233"/>
                  <a:gd name="connsiteY5" fmla="*/ 131920 h 264490"/>
                  <a:gd name="connsiteX6" fmla="*/ 423 w 140233"/>
                  <a:gd name="connsiteY6" fmla="*/ 156909 h 264490"/>
                  <a:gd name="connsiteX7" fmla="*/ 423 w 140233"/>
                  <a:gd name="connsiteY7" fmla="*/ 239721 h 264490"/>
                  <a:gd name="connsiteX8" fmla="*/ 25774 w 140233"/>
                  <a:gd name="connsiteY8" fmla="*/ 265072 h 264490"/>
                  <a:gd name="connsiteX9" fmla="*/ 115306 w 140233"/>
                  <a:gd name="connsiteY9" fmla="*/ 265072 h 264490"/>
                  <a:gd name="connsiteX10" fmla="*/ 140656 w 140233"/>
                  <a:gd name="connsiteY10" fmla="*/ 239721 h 2644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233" h="264490">
                    <a:moveTo>
                      <a:pt x="140656" y="239721"/>
                    </a:moveTo>
                    <a:lnTo>
                      <a:pt x="140656" y="156909"/>
                    </a:lnTo>
                    <a:cubicBezTo>
                      <a:pt x="140656" y="144400"/>
                      <a:pt x="131515" y="133959"/>
                      <a:pt x="119571" y="131920"/>
                    </a:cubicBezTo>
                    <a:lnTo>
                      <a:pt x="119571" y="581"/>
                    </a:lnTo>
                    <a:lnTo>
                      <a:pt x="21509" y="581"/>
                    </a:lnTo>
                    <a:lnTo>
                      <a:pt x="21509" y="131920"/>
                    </a:lnTo>
                    <a:cubicBezTo>
                      <a:pt x="9564" y="133959"/>
                      <a:pt x="423" y="144400"/>
                      <a:pt x="423" y="156909"/>
                    </a:cubicBezTo>
                    <a:lnTo>
                      <a:pt x="423" y="239721"/>
                    </a:lnTo>
                    <a:cubicBezTo>
                      <a:pt x="423" y="253683"/>
                      <a:pt x="11810" y="265072"/>
                      <a:pt x="25774" y="265072"/>
                    </a:cubicBezTo>
                    <a:lnTo>
                      <a:pt x="115306" y="265072"/>
                    </a:lnTo>
                    <a:cubicBezTo>
                      <a:pt x="129268" y="265072"/>
                      <a:pt x="140656" y="253683"/>
                      <a:pt x="140656" y="239721"/>
                    </a:cubicBezTo>
                    <a:close/>
                  </a:path>
                </a:pathLst>
              </a:custGeom>
              <a:noFill/>
              <a:ln w="25103" cap="rnd">
                <a:solidFill>
                  <a:schemeClr val="accent3"/>
                </a:solidFill>
                <a:prstDash val="solid"/>
                <a:round/>
              </a:ln>
            </p:spPr>
            <p:txBody>
              <a:bodyPr rtlCol="0" anchor="ctr"/>
              <a:lstStyle/>
              <a:p>
                <a:endParaRPr lang="nl-NL"/>
              </a:p>
            </p:txBody>
          </p:sp>
          <p:sp>
            <p:nvSpPr>
              <p:cNvPr id="58" name="Vrije vorm: vorm 57">
                <a:extLst>
                  <a:ext uri="{FF2B5EF4-FFF2-40B4-BE49-F238E27FC236}">
                    <a16:creationId xmlns:a16="http://schemas.microsoft.com/office/drawing/2014/main" id="{DEF605F8-FB12-F557-EA9A-39B613CD674B}"/>
                  </a:ext>
                </a:extLst>
              </p:cNvPr>
              <p:cNvSpPr/>
              <p:nvPr/>
            </p:nvSpPr>
            <p:spPr>
              <a:xfrm flipV="1">
                <a:off x="3879999" y="3196070"/>
                <a:ext cx="92952" cy="92952"/>
              </a:xfrm>
              <a:custGeom>
                <a:avLst/>
                <a:gdLst>
                  <a:gd name="connsiteX0" fmla="*/ 46816 w 92952"/>
                  <a:gd name="connsiteY0" fmla="*/ 38 h 92952"/>
                  <a:gd name="connsiteX1" fmla="*/ 93292 w 92952"/>
                  <a:gd name="connsiteY1" fmla="*/ 46514 h 92952"/>
                  <a:gd name="connsiteX2" fmla="*/ 46816 w 92952"/>
                  <a:gd name="connsiteY2" fmla="*/ 92990 h 92952"/>
                  <a:gd name="connsiteX3" fmla="*/ 340 w 92952"/>
                  <a:gd name="connsiteY3" fmla="*/ 46514 h 92952"/>
                  <a:gd name="connsiteX4" fmla="*/ 46816 w 92952"/>
                  <a:gd name="connsiteY4" fmla="*/ 38 h 929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952" h="92952">
                    <a:moveTo>
                      <a:pt x="46816" y="38"/>
                    </a:moveTo>
                    <a:cubicBezTo>
                      <a:pt x="72414" y="38"/>
                      <a:pt x="93292" y="20916"/>
                      <a:pt x="93292" y="46514"/>
                    </a:cubicBezTo>
                    <a:cubicBezTo>
                      <a:pt x="93292" y="72112"/>
                      <a:pt x="72414" y="92990"/>
                      <a:pt x="46816" y="92990"/>
                    </a:cubicBezTo>
                    <a:cubicBezTo>
                      <a:pt x="21218" y="92990"/>
                      <a:pt x="340" y="72112"/>
                      <a:pt x="340" y="46514"/>
                    </a:cubicBezTo>
                    <a:cubicBezTo>
                      <a:pt x="340" y="20916"/>
                      <a:pt x="21218" y="38"/>
                      <a:pt x="46816" y="38"/>
                    </a:cubicBezTo>
                    <a:close/>
                  </a:path>
                </a:pathLst>
              </a:custGeom>
              <a:noFill/>
              <a:ln w="25103" cap="rnd">
                <a:solidFill>
                  <a:schemeClr val="accent3"/>
                </a:solidFill>
                <a:prstDash val="solid"/>
                <a:round/>
              </a:ln>
            </p:spPr>
            <p:txBody>
              <a:bodyPr rtlCol="0" anchor="ctr"/>
              <a:lstStyle/>
              <a:p>
                <a:endParaRPr lang="nl-NL"/>
              </a:p>
            </p:txBody>
          </p:sp>
        </p:grpSp>
      </p:grpSp>
      <p:grpSp>
        <p:nvGrpSpPr>
          <p:cNvPr id="74" name="Groep 73">
            <a:extLst>
              <a:ext uri="{FF2B5EF4-FFF2-40B4-BE49-F238E27FC236}">
                <a16:creationId xmlns:a16="http://schemas.microsoft.com/office/drawing/2014/main" id="{073B8F35-9C9A-BEFD-26F0-BF4EB388DB99}"/>
              </a:ext>
            </a:extLst>
          </p:cNvPr>
          <p:cNvGrpSpPr/>
          <p:nvPr/>
        </p:nvGrpSpPr>
        <p:grpSpPr>
          <a:xfrm>
            <a:off x="1357023" y="2800446"/>
            <a:ext cx="714204" cy="769684"/>
            <a:chOff x="1454872" y="3067844"/>
            <a:chExt cx="518505" cy="558784"/>
          </a:xfrm>
        </p:grpSpPr>
        <p:sp>
          <p:nvSpPr>
            <p:cNvPr id="34" name="Vrije vorm: vorm 33">
              <a:extLst>
                <a:ext uri="{FF2B5EF4-FFF2-40B4-BE49-F238E27FC236}">
                  <a16:creationId xmlns:a16="http://schemas.microsoft.com/office/drawing/2014/main" id="{B516F178-E924-6085-F7D5-284C90A57C2B}"/>
                </a:ext>
              </a:extLst>
            </p:cNvPr>
            <p:cNvSpPr/>
            <p:nvPr/>
          </p:nvSpPr>
          <p:spPr>
            <a:xfrm>
              <a:off x="1454872" y="3067844"/>
              <a:ext cx="366005" cy="548622"/>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rtlCol="0" anchor="ctr"/>
            <a:lstStyle/>
            <a:p>
              <a:endParaRPr lang="nl-NL"/>
            </a:p>
          </p:txBody>
        </p:sp>
        <p:grpSp>
          <p:nvGrpSpPr>
            <p:cNvPr id="71" name="Graphic 61">
              <a:extLst>
                <a:ext uri="{FF2B5EF4-FFF2-40B4-BE49-F238E27FC236}">
                  <a16:creationId xmlns:a16="http://schemas.microsoft.com/office/drawing/2014/main" id="{459034A6-C718-1B49-A210-5AF73582976D}"/>
                </a:ext>
              </a:extLst>
            </p:cNvPr>
            <p:cNvGrpSpPr/>
            <p:nvPr/>
          </p:nvGrpSpPr>
          <p:grpSpPr>
            <a:xfrm>
              <a:off x="1602137" y="3183603"/>
              <a:ext cx="371240" cy="443025"/>
              <a:chOff x="1602137" y="3183603"/>
              <a:chExt cx="371240" cy="443025"/>
            </a:xfrm>
            <a:solidFill>
              <a:schemeClr val="tx2"/>
            </a:solidFill>
          </p:grpSpPr>
          <p:sp>
            <p:nvSpPr>
              <p:cNvPr id="72" name="Vrije vorm: vorm 71">
                <a:extLst>
                  <a:ext uri="{FF2B5EF4-FFF2-40B4-BE49-F238E27FC236}">
                    <a16:creationId xmlns:a16="http://schemas.microsoft.com/office/drawing/2014/main" id="{18B031A1-2F53-7FAC-4679-78E1AFFFA225}"/>
                  </a:ext>
                </a:extLst>
              </p:cNvPr>
              <p:cNvSpPr/>
              <p:nvPr/>
            </p:nvSpPr>
            <p:spPr>
              <a:xfrm>
                <a:off x="1680771" y="3266485"/>
                <a:ext cx="182192" cy="172784"/>
              </a:xfrm>
              <a:custGeom>
                <a:avLst/>
                <a:gdLst>
                  <a:gd name="connsiteX0" fmla="*/ 91113 w 182192"/>
                  <a:gd name="connsiteY0" fmla="*/ 172784 h 172784"/>
                  <a:gd name="connsiteX1" fmla="*/ 16915 w 182192"/>
                  <a:gd name="connsiteY1" fmla="*/ 98587 h 172784"/>
                  <a:gd name="connsiteX2" fmla="*/ 0 w 182192"/>
                  <a:gd name="connsiteY2" fmla="*/ 57751 h 172784"/>
                  <a:gd name="connsiteX3" fmla="*/ 16915 w 182192"/>
                  <a:gd name="connsiteY3" fmla="*/ 16915 h 172784"/>
                  <a:gd name="connsiteX4" fmla="*/ 57751 w 182192"/>
                  <a:gd name="connsiteY4" fmla="*/ 0 h 172784"/>
                  <a:gd name="connsiteX5" fmla="*/ 91110 w 182192"/>
                  <a:gd name="connsiteY5" fmla="*/ 10591 h 172784"/>
                  <a:gd name="connsiteX6" fmla="*/ 124469 w 182192"/>
                  <a:gd name="connsiteY6" fmla="*/ 0 h 172784"/>
                  <a:gd name="connsiteX7" fmla="*/ 165305 w 182192"/>
                  <a:gd name="connsiteY7" fmla="*/ 16914 h 172784"/>
                  <a:gd name="connsiteX8" fmla="*/ 165306 w 182192"/>
                  <a:gd name="connsiteY8" fmla="*/ 98587 h 172784"/>
                  <a:gd name="connsiteX9" fmla="*/ 57751 w 182192"/>
                  <a:gd name="connsiteY9" fmla="*/ 25958 h 172784"/>
                  <a:gd name="connsiteX10" fmla="*/ 35271 w 182192"/>
                  <a:gd name="connsiteY10" fmla="*/ 35270 h 172784"/>
                  <a:gd name="connsiteX11" fmla="*/ 25959 w 182192"/>
                  <a:gd name="connsiteY11" fmla="*/ 57750 h 172784"/>
                  <a:gd name="connsiteX12" fmla="*/ 35271 w 182192"/>
                  <a:gd name="connsiteY12" fmla="*/ 80230 h 172784"/>
                  <a:gd name="connsiteX13" fmla="*/ 91113 w 182192"/>
                  <a:gd name="connsiteY13" fmla="*/ 136072 h 172784"/>
                  <a:gd name="connsiteX14" fmla="*/ 146951 w 182192"/>
                  <a:gd name="connsiteY14" fmla="*/ 80231 h 172784"/>
                  <a:gd name="connsiteX15" fmla="*/ 146950 w 182192"/>
                  <a:gd name="connsiteY15" fmla="*/ 35271 h 172784"/>
                  <a:gd name="connsiteX16" fmla="*/ 124469 w 182192"/>
                  <a:gd name="connsiteY16" fmla="*/ 25958 h 172784"/>
                  <a:gd name="connsiteX17" fmla="*/ 101989 w 182192"/>
                  <a:gd name="connsiteY17" fmla="*/ 35270 h 172784"/>
                  <a:gd name="connsiteX18" fmla="*/ 91114 w 182192"/>
                  <a:gd name="connsiteY18" fmla="*/ 46152 h 172784"/>
                  <a:gd name="connsiteX19" fmla="*/ 80232 w 182192"/>
                  <a:gd name="connsiteY19" fmla="*/ 35270 h 172784"/>
                  <a:gd name="connsiteX20" fmla="*/ 57751 w 182192"/>
                  <a:gd name="connsiteY20" fmla="*/ 25958 h 172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82192" h="172784">
                    <a:moveTo>
                      <a:pt x="91113" y="172784"/>
                    </a:moveTo>
                    <a:lnTo>
                      <a:pt x="16915" y="98587"/>
                    </a:lnTo>
                    <a:cubicBezTo>
                      <a:pt x="6008" y="87679"/>
                      <a:pt x="0" y="73177"/>
                      <a:pt x="0" y="57751"/>
                    </a:cubicBezTo>
                    <a:cubicBezTo>
                      <a:pt x="0" y="42325"/>
                      <a:pt x="6007" y="27822"/>
                      <a:pt x="16915" y="16915"/>
                    </a:cubicBezTo>
                    <a:cubicBezTo>
                      <a:pt x="27823" y="6008"/>
                      <a:pt x="42325" y="0"/>
                      <a:pt x="57751" y="0"/>
                    </a:cubicBezTo>
                    <a:cubicBezTo>
                      <a:pt x="69873" y="0"/>
                      <a:pt x="81424" y="3710"/>
                      <a:pt x="91110" y="10591"/>
                    </a:cubicBezTo>
                    <a:cubicBezTo>
                      <a:pt x="100796" y="3709"/>
                      <a:pt x="112348" y="0"/>
                      <a:pt x="124469" y="0"/>
                    </a:cubicBezTo>
                    <a:cubicBezTo>
                      <a:pt x="139895" y="0"/>
                      <a:pt x="154397" y="6007"/>
                      <a:pt x="165305" y="16914"/>
                    </a:cubicBezTo>
                    <a:cubicBezTo>
                      <a:pt x="187822" y="39431"/>
                      <a:pt x="187823" y="76069"/>
                      <a:pt x="165306" y="98587"/>
                    </a:cubicBezTo>
                    <a:close/>
                    <a:moveTo>
                      <a:pt x="57751" y="25958"/>
                    </a:moveTo>
                    <a:cubicBezTo>
                      <a:pt x="49260" y="25958"/>
                      <a:pt x="41275" y="29266"/>
                      <a:pt x="35271" y="35270"/>
                    </a:cubicBezTo>
                    <a:cubicBezTo>
                      <a:pt x="29267" y="41274"/>
                      <a:pt x="25959" y="49259"/>
                      <a:pt x="25959" y="57750"/>
                    </a:cubicBezTo>
                    <a:cubicBezTo>
                      <a:pt x="25959" y="66242"/>
                      <a:pt x="29266" y="74225"/>
                      <a:pt x="35271" y="80230"/>
                    </a:cubicBezTo>
                    <a:lnTo>
                      <a:pt x="91113" y="136072"/>
                    </a:lnTo>
                    <a:lnTo>
                      <a:pt x="146951" y="80231"/>
                    </a:lnTo>
                    <a:cubicBezTo>
                      <a:pt x="159345" y="67835"/>
                      <a:pt x="159345" y="47666"/>
                      <a:pt x="146950" y="35271"/>
                    </a:cubicBezTo>
                    <a:cubicBezTo>
                      <a:pt x="140944" y="29266"/>
                      <a:pt x="132960" y="25958"/>
                      <a:pt x="124469" y="25958"/>
                    </a:cubicBezTo>
                    <a:cubicBezTo>
                      <a:pt x="115978" y="25958"/>
                      <a:pt x="107993" y="29266"/>
                      <a:pt x="101989" y="35270"/>
                    </a:cubicBezTo>
                    <a:lnTo>
                      <a:pt x="91114" y="46152"/>
                    </a:lnTo>
                    <a:lnTo>
                      <a:pt x="80232" y="35270"/>
                    </a:lnTo>
                    <a:cubicBezTo>
                      <a:pt x="74226" y="29266"/>
                      <a:pt x="66243" y="25958"/>
                      <a:pt x="57751" y="25958"/>
                    </a:cubicBezTo>
                    <a:close/>
                  </a:path>
                </a:pathLst>
              </a:custGeom>
              <a:solidFill>
                <a:schemeClr val="accent3"/>
              </a:solidFill>
              <a:ln w="856" cap="flat">
                <a:noFill/>
                <a:prstDash val="solid"/>
                <a:miter/>
              </a:ln>
            </p:spPr>
            <p:txBody>
              <a:bodyPr rtlCol="0" anchor="ctr"/>
              <a:lstStyle/>
              <a:p>
                <a:endParaRPr lang="nl-NL"/>
              </a:p>
            </p:txBody>
          </p:sp>
          <p:sp>
            <p:nvSpPr>
              <p:cNvPr id="73" name="Vrije vorm: vorm 72">
                <a:extLst>
                  <a:ext uri="{FF2B5EF4-FFF2-40B4-BE49-F238E27FC236}">
                    <a16:creationId xmlns:a16="http://schemas.microsoft.com/office/drawing/2014/main" id="{F21FB13E-8A3D-1A23-EA78-099346AD0BD9}"/>
                  </a:ext>
                </a:extLst>
              </p:cNvPr>
              <p:cNvSpPr/>
              <p:nvPr/>
            </p:nvSpPr>
            <p:spPr>
              <a:xfrm>
                <a:off x="1602137" y="3183603"/>
                <a:ext cx="371240" cy="443025"/>
              </a:xfrm>
              <a:custGeom>
                <a:avLst/>
                <a:gdLst>
                  <a:gd name="connsiteX0" fmla="*/ 260309 w 371240"/>
                  <a:gd name="connsiteY0" fmla="*/ 443025 h 443025"/>
                  <a:gd name="connsiteX1" fmla="*/ 69992 w 371240"/>
                  <a:gd name="connsiteY1" fmla="*/ 443025 h 443025"/>
                  <a:gd name="connsiteX2" fmla="*/ 69992 w 371240"/>
                  <a:gd name="connsiteY2" fmla="*/ 307900 h 443025"/>
                  <a:gd name="connsiteX3" fmla="*/ 9 w 371240"/>
                  <a:gd name="connsiteY3" fmla="*/ 168530 h 443025"/>
                  <a:gd name="connsiteX4" fmla="*/ 50392 w 371240"/>
                  <a:gd name="connsiteY4" fmla="*/ 49160 h 443025"/>
                  <a:gd name="connsiteX5" fmla="*/ 170275 w 371240"/>
                  <a:gd name="connsiteY5" fmla="*/ 0 h 443025"/>
                  <a:gd name="connsiteX6" fmla="*/ 170278 w 371240"/>
                  <a:gd name="connsiteY6" fmla="*/ 0 h 443025"/>
                  <a:gd name="connsiteX7" fmla="*/ 340551 w 371240"/>
                  <a:gd name="connsiteY7" fmla="*/ 170277 h 443025"/>
                  <a:gd name="connsiteX8" fmla="*/ 339686 w 371240"/>
                  <a:gd name="connsiteY8" fmla="*/ 187449 h 443025"/>
                  <a:gd name="connsiteX9" fmla="*/ 365721 w 371240"/>
                  <a:gd name="connsiteY9" fmla="*/ 227649 h 443025"/>
                  <a:gd name="connsiteX10" fmla="*/ 371241 w 371240"/>
                  <a:gd name="connsiteY10" fmla="*/ 246324 h 443025"/>
                  <a:gd name="connsiteX11" fmla="*/ 336886 w 371240"/>
                  <a:gd name="connsiteY11" fmla="*/ 280678 h 443025"/>
                  <a:gd name="connsiteX12" fmla="*/ 329214 w 371240"/>
                  <a:gd name="connsiteY12" fmla="*/ 280678 h 443025"/>
                  <a:gd name="connsiteX13" fmla="*/ 329214 w 371240"/>
                  <a:gd name="connsiteY13" fmla="*/ 324309 h 443025"/>
                  <a:gd name="connsiteX14" fmla="*/ 279258 w 371240"/>
                  <a:gd name="connsiteY14" fmla="*/ 374265 h 443025"/>
                  <a:gd name="connsiteX15" fmla="*/ 260310 w 371240"/>
                  <a:gd name="connsiteY15" fmla="*/ 374265 h 443025"/>
                  <a:gd name="connsiteX16" fmla="*/ 260310 w 371240"/>
                  <a:gd name="connsiteY16" fmla="*/ 443025 h 443025"/>
                  <a:gd name="connsiteX17" fmla="*/ 95952 w 371240"/>
                  <a:gd name="connsiteY17" fmla="*/ 417066 h 443025"/>
                  <a:gd name="connsiteX18" fmla="*/ 234350 w 371240"/>
                  <a:gd name="connsiteY18" fmla="*/ 417066 h 443025"/>
                  <a:gd name="connsiteX19" fmla="*/ 234350 w 371240"/>
                  <a:gd name="connsiteY19" fmla="*/ 348305 h 443025"/>
                  <a:gd name="connsiteX20" fmla="*/ 279257 w 371240"/>
                  <a:gd name="connsiteY20" fmla="*/ 348305 h 443025"/>
                  <a:gd name="connsiteX21" fmla="*/ 303254 w 371240"/>
                  <a:gd name="connsiteY21" fmla="*/ 324308 h 443025"/>
                  <a:gd name="connsiteX22" fmla="*/ 303254 w 371240"/>
                  <a:gd name="connsiteY22" fmla="*/ 254718 h 443025"/>
                  <a:gd name="connsiteX23" fmla="*/ 336885 w 371240"/>
                  <a:gd name="connsiteY23" fmla="*/ 254718 h 443025"/>
                  <a:gd name="connsiteX24" fmla="*/ 345281 w 371240"/>
                  <a:gd name="connsiteY24" fmla="*/ 246323 h 443025"/>
                  <a:gd name="connsiteX25" fmla="*/ 343932 w 371240"/>
                  <a:gd name="connsiteY25" fmla="*/ 241761 h 443025"/>
                  <a:gd name="connsiteX26" fmla="*/ 312775 w 371240"/>
                  <a:gd name="connsiteY26" fmla="*/ 193653 h 443025"/>
                  <a:gd name="connsiteX27" fmla="*/ 313387 w 371240"/>
                  <a:gd name="connsiteY27" fmla="*/ 188929 h 443025"/>
                  <a:gd name="connsiteX28" fmla="*/ 314591 w 371240"/>
                  <a:gd name="connsiteY28" fmla="*/ 170277 h 443025"/>
                  <a:gd name="connsiteX29" fmla="*/ 170277 w 371240"/>
                  <a:gd name="connsiteY29" fmla="*/ 25959 h 443025"/>
                  <a:gd name="connsiteX30" fmla="*/ 68652 w 371240"/>
                  <a:gd name="connsiteY30" fmla="*/ 67611 h 443025"/>
                  <a:gd name="connsiteX31" fmla="*/ 25965 w 371240"/>
                  <a:gd name="connsiteY31" fmla="*/ 168791 h 443025"/>
                  <a:gd name="connsiteX32" fmla="*/ 90185 w 371240"/>
                  <a:gd name="connsiteY32" fmla="*/ 290345 h 443025"/>
                  <a:gd name="connsiteX33" fmla="*/ 95951 w 371240"/>
                  <a:gd name="connsiteY33" fmla="*/ 294200 h 443025"/>
                  <a:gd name="connsiteX34" fmla="*/ 95951 w 371240"/>
                  <a:gd name="connsiteY34" fmla="*/ 417066 h 443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71240" h="443025">
                    <a:moveTo>
                      <a:pt x="260309" y="443025"/>
                    </a:moveTo>
                    <a:lnTo>
                      <a:pt x="69992" y="443025"/>
                    </a:lnTo>
                    <a:lnTo>
                      <a:pt x="69992" y="307900"/>
                    </a:lnTo>
                    <a:cubicBezTo>
                      <a:pt x="25487" y="275459"/>
                      <a:pt x="-548" y="223877"/>
                      <a:pt x="9" y="168530"/>
                    </a:cubicBezTo>
                    <a:cubicBezTo>
                      <a:pt x="462" y="123259"/>
                      <a:pt x="18356" y="80866"/>
                      <a:pt x="50392" y="49160"/>
                    </a:cubicBezTo>
                    <a:cubicBezTo>
                      <a:pt x="82423" y="17460"/>
                      <a:pt x="125001" y="0"/>
                      <a:pt x="170275" y="0"/>
                    </a:cubicBezTo>
                    <a:lnTo>
                      <a:pt x="170278" y="0"/>
                    </a:lnTo>
                    <a:cubicBezTo>
                      <a:pt x="264167" y="1"/>
                      <a:pt x="340551" y="76387"/>
                      <a:pt x="340551" y="170277"/>
                    </a:cubicBezTo>
                    <a:cubicBezTo>
                      <a:pt x="340551" y="175986"/>
                      <a:pt x="340260" y="181743"/>
                      <a:pt x="339686" y="187449"/>
                    </a:cubicBezTo>
                    <a:lnTo>
                      <a:pt x="365721" y="227649"/>
                    </a:lnTo>
                    <a:cubicBezTo>
                      <a:pt x="369332" y="233222"/>
                      <a:pt x="371241" y="239681"/>
                      <a:pt x="371241" y="246324"/>
                    </a:cubicBezTo>
                    <a:cubicBezTo>
                      <a:pt x="371241" y="265267"/>
                      <a:pt x="355829" y="280678"/>
                      <a:pt x="336886" y="280678"/>
                    </a:cubicBezTo>
                    <a:lnTo>
                      <a:pt x="329214" y="280678"/>
                    </a:lnTo>
                    <a:lnTo>
                      <a:pt x="329214" y="324309"/>
                    </a:lnTo>
                    <a:cubicBezTo>
                      <a:pt x="329214" y="351855"/>
                      <a:pt x="306805" y="374265"/>
                      <a:pt x="279258" y="374265"/>
                    </a:cubicBezTo>
                    <a:lnTo>
                      <a:pt x="260310" y="374265"/>
                    </a:lnTo>
                    <a:lnTo>
                      <a:pt x="260310" y="443025"/>
                    </a:lnTo>
                    <a:close/>
                    <a:moveTo>
                      <a:pt x="95952" y="417066"/>
                    </a:moveTo>
                    <a:lnTo>
                      <a:pt x="234350" y="417066"/>
                    </a:lnTo>
                    <a:lnTo>
                      <a:pt x="234350" y="348305"/>
                    </a:lnTo>
                    <a:lnTo>
                      <a:pt x="279257" y="348305"/>
                    </a:lnTo>
                    <a:cubicBezTo>
                      <a:pt x="292490" y="348305"/>
                      <a:pt x="303254" y="337539"/>
                      <a:pt x="303254" y="324308"/>
                    </a:cubicBezTo>
                    <a:lnTo>
                      <a:pt x="303254" y="254718"/>
                    </a:lnTo>
                    <a:lnTo>
                      <a:pt x="336885" y="254718"/>
                    </a:lnTo>
                    <a:cubicBezTo>
                      <a:pt x="341515" y="254718"/>
                      <a:pt x="345281" y="250952"/>
                      <a:pt x="345281" y="246323"/>
                    </a:cubicBezTo>
                    <a:cubicBezTo>
                      <a:pt x="345281" y="244700"/>
                      <a:pt x="344814" y="243122"/>
                      <a:pt x="343932" y="241761"/>
                    </a:cubicBezTo>
                    <a:lnTo>
                      <a:pt x="312775" y="193653"/>
                    </a:lnTo>
                    <a:lnTo>
                      <a:pt x="313387" y="188929"/>
                    </a:lnTo>
                    <a:cubicBezTo>
                      <a:pt x="314186" y="182762"/>
                      <a:pt x="314591" y="176487"/>
                      <a:pt x="314591" y="170277"/>
                    </a:cubicBezTo>
                    <a:cubicBezTo>
                      <a:pt x="314591" y="90701"/>
                      <a:pt x="249852" y="25961"/>
                      <a:pt x="170277" y="25959"/>
                    </a:cubicBezTo>
                    <a:cubicBezTo>
                      <a:pt x="131883" y="25959"/>
                      <a:pt x="95792" y="40751"/>
                      <a:pt x="68652" y="67611"/>
                    </a:cubicBezTo>
                    <a:cubicBezTo>
                      <a:pt x="41511" y="94472"/>
                      <a:pt x="26351" y="130406"/>
                      <a:pt x="25965" y="168791"/>
                    </a:cubicBezTo>
                    <a:cubicBezTo>
                      <a:pt x="25475" y="217695"/>
                      <a:pt x="49481" y="263136"/>
                      <a:pt x="90185" y="290345"/>
                    </a:cubicBezTo>
                    <a:lnTo>
                      <a:pt x="95951" y="294200"/>
                    </a:lnTo>
                    <a:lnTo>
                      <a:pt x="95951" y="417066"/>
                    </a:lnTo>
                    <a:close/>
                  </a:path>
                </a:pathLst>
              </a:custGeom>
              <a:solidFill>
                <a:schemeClr val="tx2"/>
              </a:solidFill>
              <a:ln w="856" cap="flat">
                <a:noFill/>
                <a:prstDash val="solid"/>
                <a:miter/>
              </a:ln>
            </p:spPr>
            <p:txBody>
              <a:bodyPr rtlCol="0" anchor="ctr"/>
              <a:lstStyle/>
              <a:p>
                <a:endParaRPr lang="nl-NL"/>
              </a:p>
            </p:txBody>
          </p:sp>
        </p:grpSp>
      </p:grpSp>
      <p:grpSp>
        <p:nvGrpSpPr>
          <p:cNvPr id="77" name="Groep 76">
            <a:extLst>
              <a:ext uri="{FF2B5EF4-FFF2-40B4-BE49-F238E27FC236}">
                <a16:creationId xmlns:a16="http://schemas.microsoft.com/office/drawing/2014/main" id="{15862D11-C1AE-F5A9-3681-4375F6B6C832}"/>
              </a:ext>
            </a:extLst>
          </p:cNvPr>
          <p:cNvGrpSpPr/>
          <p:nvPr/>
        </p:nvGrpSpPr>
        <p:grpSpPr>
          <a:xfrm>
            <a:off x="7896066" y="2800444"/>
            <a:ext cx="778034" cy="769704"/>
            <a:chOff x="7862960" y="3067844"/>
            <a:chExt cx="564846" cy="558799"/>
          </a:xfrm>
        </p:grpSpPr>
        <p:sp>
          <p:nvSpPr>
            <p:cNvPr id="46" name="Vrije vorm: vorm 45">
              <a:extLst>
                <a:ext uri="{FF2B5EF4-FFF2-40B4-BE49-F238E27FC236}">
                  <a16:creationId xmlns:a16="http://schemas.microsoft.com/office/drawing/2014/main" id="{620DB665-EBB5-8CB8-3203-8E5A9D342E88}"/>
                </a:ext>
              </a:extLst>
            </p:cNvPr>
            <p:cNvSpPr/>
            <p:nvPr/>
          </p:nvSpPr>
          <p:spPr>
            <a:xfrm>
              <a:off x="7862960" y="3067844"/>
              <a:ext cx="366005" cy="548622"/>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rtlCol="0" anchor="ctr"/>
            <a:lstStyle/>
            <a:p>
              <a:endParaRPr lang="nl-NL"/>
            </a:p>
          </p:txBody>
        </p:sp>
        <p:sp>
          <p:nvSpPr>
            <p:cNvPr id="68" name="Graphic 66">
              <a:extLst>
                <a:ext uri="{FF2B5EF4-FFF2-40B4-BE49-F238E27FC236}">
                  <a16:creationId xmlns:a16="http://schemas.microsoft.com/office/drawing/2014/main" id="{25766828-B448-3043-2A6D-E352A94DAB9F}"/>
                </a:ext>
              </a:extLst>
            </p:cNvPr>
            <p:cNvSpPr/>
            <p:nvPr/>
          </p:nvSpPr>
          <p:spPr>
            <a:xfrm>
              <a:off x="7984767" y="3183604"/>
              <a:ext cx="443039" cy="443039"/>
            </a:xfrm>
            <a:custGeom>
              <a:avLst/>
              <a:gdLst>
                <a:gd name="connsiteX0" fmla="*/ 433106 w 443039"/>
                <a:gd name="connsiteY0" fmla="*/ 248361 h 443039"/>
                <a:gd name="connsiteX1" fmla="*/ 431634 w 443039"/>
                <a:gd name="connsiteY1" fmla="*/ 194853 h 443039"/>
                <a:gd name="connsiteX2" fmla="*/ 336032 w 443039"/>
                <a:gd name="connsiteY2" fmla="*/ 99250 h 443039"/>
                <a:gd name="connsiteX3" fmla="*/ 363798 w 443039"/>
                <a:gd name="connsiteY3" fmla="*/ 52784 h 443039"/>
                <a:gd name="connsiteX4" fmla="*/ 311014 w 443039"/>
                <a:gd name="connsiteY4" fmla="*/ 0 h 443039"/>
                <a:gd name="connsiteX5" fmla="*/ 258230 w 443039"/>
                <a:gd name="connsiteY5" fmla="*/ 52784 h 443039"/>
                <a:gd name="connsiteX6" fmla="*/ 271511 w 443039"/>
                <a:gd name="connsiteY6" fmla="*/ 87739 h 443039"/>
                <a:gd name="connsiteX7" fmla="*/ 241076 w 443039"/>
                <a:gd name="connsiteY7" fmla="*/ 108335 h 443039"/>
                <a:gd name="connsiteX8" fmla="*/ 213109 w 443039"/>
                <a:gd name="connsiteY8" fmla="*/ 161247 h 443039"/>
                <a:gd name="connsiteX9" fmla="*/ 142725 w 443039"/>
                <a:gd name="connsiteY9" fmla="*/ 142051 h 443039"/>
                <a:gd name="connsiteX10" fmla="*/ 119602 w 443039"/>
                <a:gd name="connsiteY10" fmla="*/ 101586 h 443039"/>
                <a:gd name="connsiteX11" fmla="*/ 152295 w 443039"/>
                <a:gd name="connsiteY11" fmla="*/ 52784 h 443039"/>
                <a:gd name="connsiteX12" fmla="*/ 99511 w 443039"/>
                <a:gd name="connsiteY12" fmla="*/ 0 h 443039"/>
                <a:gd name="connsiteX13" fmla="*/ 46727 w 443039"/>
                <a:gd name="connsiteY13" fmla="*/ 52784 h 443039"/>
                <a:gd name="connsiteX14" fmla="*/ 60042 w 443039"/>
                <a:gd name="connsiteY14" fmla="*/ 87779 h 443039"/>
                <a:gd name="connsiteX15" fmla="*/ 0 w 443039"/>
                <a:gd name="connsiteY15" fmla="*/ 179119 h 443039"/>
                <a:gd name="connsiteX16" fmla="*/ 0 w 443039"/>
                <a:gd name="connsiteY16" fmla="*/ 300263 h 443039"/>
                <a:gd name="connsiteX17" fmla="*/ 12980 w 443039"/>
                <a:gd name="connsiteY17" fmla="*/ 313242 h 443039"/>
                <a:gd name="connsiteX18" fmla="*/ 22984 w 443039"/>
                <a:gd name="connsiteY18" fmla="*/ 313242 h 443039"/>
                <a:gd name="connsiteX19" fmla="*/ 1344 w 443039"/>
                <a:gd name="connsiteY19" fmla="*/ 394005 h 443039"/>
                <a:gd name="connsiteX20" fmla="*/ 5233 w 443039"/>
                <a:gd name="connsiteY20" fmla="*/ 423552 h 443039"/>
                <a:gd name="connsiteX21" fmla="*/ 28877 w 443039"/>
                <a:gd name="connsiteY21" fmla="*/ 441694 h 443039"/>
                <a:gd name="connsiteX22" fmla="*/ 39020 w 443039"/>
                <a:gd name="connsiteY22" fmla="*/ 443039 h 443039"/>
                <a:gd name="connsiteX23" fmla="*/ 58426 w 443039"/>
                <a:gd name="connsiteY23" fmla="*/ 437806 h 443039"/>
                <a:gd name="connsiteX24" fmla="*/ 76568 w 443039"/>
                <a:gd name="connsiteY24" fmla="*/ 414161 h 443039"/>
                <a:gd name="connsiteX25" fmla="*/ 82683 w 443039"/>
                <a:gd name="connsiteY25" fmla="*/ 391339 h 443039"/>
                <a:gd name="connsiteX26" fmla="*/ 88802 w 443039"/>
                <a:gd name="connsiteY26" fmla="*/ 414175 h 443039"/>
                <a:gd name="connsiteX27" fmla="*/ 126423 w 443039"/>
                <a:gd name="connsiteY27" fmla="*/ 443039 h 443039"/>
                <a:gd name="connsiteX28" fmla="*/ 136491 w 443039"/>
                <a:gd name="connsiteY28" fmla="*/ 441708 h 443039"/>
                <a:gd name="connsiteX29" fmla="*/ 164025 w 443039"/>
                <a:gd name="connsiteY29" fmla="*/ 394018 h 443039"/>
                <a:gd name="connsiteX30" fmla="*/ 138450 w 443039"/>
                <a:gd name="connsiteY30" fmla="*/ 298569 h 443039"/>
                <a:gd name="connsiteX31" fmla="*/ 138450 w 443039"/>
                <a:gd name="connsiteY31" fmla="*/ 221610 h 443039"/>
                <a:gd name="connsiteX32" fmla="*/ 204492 w 443039"/>
                <a:gd name="connsiteY32" fmla="*/ 239621 h 443039"/>
                <a:gd name="connsiteX33" fmla="*/ 211504 w 443039"/>
                <a:gd name="connsiteY33" fmla="*/ 240845 h 443039"/>
                <a:gd name="connsiteX34" fmla="*/ 211504 w 443039"/>
                <a:gd name="connsiteY34" fmla="*/ 300263 h 443039"/>
                <a:gd name="connsiteX35" fmla="*/ 224483 w 443039"/>
                <a:gd name="connsiteY35" fmla="*/ 313242 h 443039"/>
                <a:gd name="connsiteX36" fmla="*/ 237463 w 443039"/>
                <a:gd name="connsiteY36" fmla="*/ 313242 h 443039"/>
                <a:gd name="connsiteX37" fmla="*/ 237463 w 443039"/>
                <a:gd name="connsiteY37" fmla="*/ 430059 h 443039"/>
                <a:gd name="connsiteX38" fmla="*/ 250443 w 443039"/>
                <a:gd name="connsiteY38" fmla="*/ 443039 h 443039"/>
                <a:gd name="connsiteX39" fmla="*/ 311014 w 443039"/>
                <a:gd name="connsiteY39" fmla="*/ 443039 h 443039"/>
                <a:gd name="connsiteX40" fmla="*/ 323881 w 443039"/>
                <a:gd name="connsiteY40" fmla="*/ 431774 h 443039"/>
                <a:gd name="connsiteX41" fmla="*/ 341113 w 443039"/>
                <a:gd name="connsiteY41" fmla="*/ 302527 h 443039"/>
                <a:gd name="connsiteX42" fmla="*/ 357125 w 443039"/>
                <a:gd name="connsiteY42" fmla="*/ 230475 h 443039"/>
                <a:gd name="connsiteX43" fmla="*/ 375055 w 443039"/>
                <a:gd name="connsiteY43" fmla="*/ 248405 h 443039"/>
                <a:gd name="connsiteX44" fmla="*/ 365161 w 443039"/>
                <a:gd name="connsiteY44" fmla="*/ 274303 h 443039"/>
                <a:gd name="connsiteX45" fmla="*/ 365161 w 443039"/>
                <a:gd name="connsiteY45" fmla="*/ 282957 h 443039"/>
                <a:gd name="connsiteX46" fmla="*/ 378141 w 443039"/>
                <a:gd name="connsiteY46" fmla="*/ 295936 h 443039"/>
                <a:gd name="connsiteX47" fmla="*/ 391120 w 443039"/>
                <a:gd name="connsiteY47" fmla="*/ 282957 h 443039"/>
                <a:gd name="connsiteX48" fmla="*/ 391120 w 443039"/>
                <a:gd name="connsiteY48" fmla="*/ 274303 h 443039"/>
                <a:gd name="connsiteX49" fmla="*/ 404100 w 443039"/>
                <a:gd name="connsiteY49" fmla="*/ 261324 h 443039"/>
                <a:gd name="connsiteX50" fmla="*/ 417080 w 443039"/>
                <a:gd name="connsiteY50" fmla="*/ 274303 h 443039"/>
                <a:gd name="connsiteX51" fmla="*/ 417080 w 443039"/>
                <a:gd name="connsiteY51" fmla="*/ 430059 h 443039"/>
                <a:gd name="connsiteX52" fmla="*/ 430059 w 443039"/>
                <a:gd name="connsiteY52" fmla="*/ 443039 h 443039"/>
                <a:gd name="connsiteX53" fmla="*/ 443039 w 443039"/>
                <a:gd name="connsiteY53" fmla="*/ 430059 h 443039"/>
                <a:gd name="connsiteX54" fmla="*/ 443039 w 443039"/>
                <a:gd name="connsiteY54" fmla="*/ 274303 h 443039"/>
                <a:gd name="connsiteX55" fmla="*/ 433106 w 443039"/>
                <a:gd name="connsiteY55" fmla="*/ 248361 h 443039"/>
                <a:gd name="connsiteX56" fmla="*/ 284190 w 443039"/>
                <a:gd name="connsiteY56" fmla="*/ 52784 h 443039"/>
                <a:gd name="connsiteX57" fmla="*/ 311014 w 443039"/>
                <a:gd name="connsiteY57" fmla="*/ 25959 h 443039"/>
                <a:gd name="connsiteX58" fmla="*/ 337839 w 443039"/>
                <a:gd name="connsiteY58" fmla="*/ 52784 h 443039"/>
                <a:gd name="connsiteX59" fmla="*/ 311014 w 443039"/>
                <a:gd name="connsiteY59" fmla="*/ 79609 h 443039"/>
                <a:gd name="connsiteX60" fmla="*/ 284190 w 443039"/>
                <a:gd name="connsiteY60" fmla="*/ 52784 h 443039"/>
                <a:gd name="connsiteX61" fmla="*/ 72686 w 443039"/>
                <a:gd name="connsiteY61" fmla="*/ 52784 h 443039"/>
                <a:gd name="connsiteX62" fmla="*/ 99511 w 443039"/>
                <a:gd name="connsiteY62" fmla="*/ 25959 h 443039"/>
                <a:gd name="connsiteX63" fmla="*/ 126335 w 443039"/>
                <a:gd name="connsiteY63" fmla="*/ 52784 h 443039"/>
                <a:gd name="connsiteX64" fmla="*/ 99511 w 443039"/>
                <a:gd name="connsiteY64" fmla="*/ 79609 h 443039"/>
                <a:gd name="connsiteX65" fmla="*/ 72686 w 443039"/>
                <a:gd name="connsiteY65" fmla="*/ 52784 h 443039"/>
                <a:gd name="connsiteX66" fmla="*/ 51493 w 443039"/>
                <a:gd name="connsiteY66" fmla="*/ 407443 h 443039"/>
                <a:gd name="connsiteX67" fmla="*/ 45445 w 443039"/>
                <a:gd name="connsiteY67" fmla="*/ 415323 h 443039"/>
                <a:gd name="connsiteX68" fmla="*/ 35596 w 443039"/>
                <a:gd name="connsiteY68" fmla="*/ 416619 h 443039"/>
                <a:gd name="connsiteX69" fmla="*/ 26419 w 443039"/>
                <a:gd name="connsiteY69" fmla="*/ 400723 h 443039"/>
                <a:gd name="connsiteX70" fmla="*/ 49858 w 443039"/>
                <a:gd name="connsiteY70" fmla="*/ 313242 h 443039"/>
                <a:gd name="connsiteX71" fmla="*/ 61756 w 443039"/>
                <a:gd name="connsiteY71" fmla="*/ 313242 h 443039"/>
                <a:gd name="connsiteX72" fmla="*/ 69245 w 443039"/>
                <a:gd name="connsiteY72" fmla="*/ 341189 h 443039"/>
                <a:gd name="connsiteX73" fmla="*/ 137654 w 443039"/>
                <a:gd name="connsiteY73" fmla="*/ 410586 h 443039"/>
                <a:gd name="connsiteX74" fmla="*/ 129772 w 443039"/>
                <a:gd name="connsiteY74" fmla="*/ 416632 h 443039"/>
                <a:gd name="connsiteX75" fmla="*/ 113876 w 443039"/>
                <a:gd name="connsiteY75" fmla="*/ 407456 h 443039"/>
                <a:gd name="connsiteX76" fmla="*/ 88631 w 443039"/>
                <a:gd name="connsiteY76" fmla="*/ 313242 h 443039"/>
                <a:gd name="connsiteX77" fmla="*/ 115506 w 443039"/>
                <a:gd name="connsiteY77" fmla="*/ 313242 h 443039"/>
                <a:gd name="connsiteX78" fmla="*/ 138950 w 443039"/>
                <a:gd name="connsiteY78" fmla="*/ 400736 h 443039"/>
                <a:gd name="connsiteX79" fmla="*/ 137654 w 443039"/>
                <a:gd name="connsiteY79" fmla="*/ 410586 h 443039"/>
                <a:gd name="connsiteX80" fmla="*/ 108905 w 443039"/>
                <a:gd name="connsiteY80" fmla="*/ 186644 h 443039"/>
                <a:gd name="connsiteX81" fmla="*/ 95394 w 443039"/>
                <a:gd name="connsiteY81" fmla="*/ 175735 h 443039"/>
                <a:gd name="connsiteX82" fmla="*/ 85072 w 443039"/>
                <a:gd name="connsiteY82" fmla="*/ 155836 h 443039"/>
                <a:gd name="connsiteX83" fmla="*/ 67574 w 443039"/>
                <a:gd name="connsiteY83" fmla="*/ 150291 h 443039"/>
                <a:gd name="connsiteX84" fmla="*/ 62028 w 443039"/>
                <a:gd name="connsiteY84" fmla="*/ 167791 h 443039"/>
                <a:gd name="connsiteX85" fmla="*/ 72350 w 443039"/>
                <a:gd name="connsiteY85" fmla="*/ 187689 h 443039"/>
                <a:gd name="connsiteX86" fmla="*/ 102075 w 443039"/>
                <a:gd name="connsiteY86" fmla="*/ 211690 h 443039"/>
                <a:gd name="connsiteX87" fmla="*/ 112490 w 443039"/>
                <a:gd name="connsiteY87" fmla="*/ 214530 h 443039"/>
                <a:gd name="connsiteX88" fmla="*/ 112490 w 443039"/>
                <a:gd name="connsiteY88" fmla="*/ 287283 h 443039"/>
                <a:gd name="connsiteX89" fmla="*/ 25959 w 443039"/>
                <a:gd name="connsiteY89" fmla="*/ 287283 h 443039"/>
                <a:gd name="connsiteX90" fmla="*/ 25959 w 443039"/>
                <a:gd name="connsiteY90" fmla="*/ 179119 h 443039"/>
                <a:gd name="connsiteX91" fmla="*/ 92185 w 443039"/>
                <a:gd name="connsiteY91" fmla="*/ 105930 h 443039"/>
                <a:gd name="connsiteX92" fmla="*/ 122853 w 443039"/>
                <a:gd name="connsiteY92" fmla="*/ 159600 h 443039"/>
                <a:gd name="connsiteX93" fmla="*/ 130707 w 443039"/>
                <a:gd name="connsiteY93" fmla="*/ 165681 h 443039"/>
                <a:gd name="connsiteX94" fmla="*/ 218151 w 443039"/>
                <a:gd name="connsiteY94" fmla="*/ 189531 h 443039"/>
                <a:gd name="connsiteX95" fmla="*/ 226005 w 443039"/>
                <a:gd name="connsiteY95" fmla="*/ 195613 h 443039"/>
                <a:gd name="connsiteX96" fmla="*/ 227257 w 443039"/>
                <a:gd name="connsiteY96" fmla="*/ 205469 h 443039"/>
                <a:gd name="connsiteX97" fmla="*/ 211320 w 443039"/>
                <a:gd name="connsiteY97" fmla="*/ 214575 h 443039"/>
                <a:gd name="connsiteX98" fmla="*/ 299650 w 443039"/>
                <a:gd name="connsiteY98" fmla="*/ 417080 h 443039"/>
                <a:gd name="connsiteX99" fmla="*/ 263422 w 443039"/>
                <a:gd name="connsiteY99" fmla="*/ 417080 h 443039"/>
                <a:gd name="connsiteX100" fmla="*/ 263422 w 443039"/>
                <a:gd name="connsiteY100" fmla="*/ 313242 h 443039"/>
                <a:gd name="connsiteX101" fmla="*/ 313495 w 443039"/>
                <a:gd name="connsiteY101" fmla="*/ 313242 h 443039"/>
                <a:gd name="connsiteX102" fmla="*/ 317908 w 443039"/>
                <a:gd name="connsiteY102" fmla="*/ 287283 h 443039"/>
                <a:gd name="connsiteX103" fmla="*/ 237463 w 443039"/>
                <a:gd name="connsiteY103" fmla="*/ 287283 h 443039"/>
                <a:gd name="connsiteX104" fmla="*/ 237463 w 443039"/>
                <a:gd name="connsiteY104" fmla="*/ 233643 h 443039"/>
                <a:gd name="connsiteX105" fmla="*/ 252303 w 443039"/>
                <a:gd name="connsiteY105" fmla="*/ 212301 h 443039"/>
                <a:gd name="connsiteX106" fmla="*/ 248546 w 443039"/>
                <a:gd name="connsiteY106" fmla="*/ 182735 h 443039"/>
                <a:gd name="connsiteX107" fmla="*/ 237949 w 443039"/>
                <a:gd name="connsiteY107" fmla="*/ 170778 h 443039"/>
                <a:gd name="connsiteX108" fmla="*/ 305822 w 443039"/>
                <a:gd name="connsiteY108" fmla="*/ 105752 h 443039"/>
                <a:gd name="connsiteX109" fmla="*/ 413278 w 443039"/>
                <a:gd name="connsiteY109" fmla="*/ 213210 h 443039"/>
                <a:gd name="connsiteX110" fmla="*/ 413278 w 443039"/>
                <a:gd name="connsiteY110" fmla="*/ 231564 h 443039"/>
                <a:gd name="connsiteX111" fmla="*/ 404102 w 443039"/>
                <a:gd name="connsiteY111" fmla="*/ 235366 h 443039"/>
                <a:gd name="connsiteX112" fmla="*/ 394924 w 443039"/>
                <a:gd name="connsiteY112" fmla="*/ 231565 h 443039"/>
                <a:gd name="connsiteX113" fmla="*/ 302886 w 443039"/>
                <a:gd name="connsiteY113" fmla="*/ 139524 h 443039"/>
                <a:gd name="connsiteX114" fmla="*/ 284530 w 443039"/>
                <a:gd name="connsiteY114" fmla="*/ 139524 h 443039"/>
                <a:gd name="connsiteX115" fmla="*/ 284530 w 443039"/>
                <a:gd name="connsiteY115" fmla="*/ 157880 h 443039"/>
                <a:gd name="connsiteX116" fmla="*/ 335367 w 443039"/>
                <a:gd name="connsiteY116" fmla="*/ 208717 h 44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43039" h="443039">
                  <a:moveTo>
                    <a:pt x="433106" y="248361"/>
                  </a:moveTo>
                  <a:cubicBezTo>
                    <a:pt x="446796" y="233091"/>
                    <a:pt x="446307" y="209526"/>
                    <a:pt x="431634" y="194853"/>
                  </a:cubicBezTo>
                  <a:lnTo>
                    <a:pt x="336032" y="99250"/>
                  </a:lnTo>
                  <a:cubicBezTo>
                    <a:pt x="352550" y="90321"/>
                    <a:pt x="363798" y="72843"/>
                    <a:pt x="363798" y="52784"/>
                  </a:cubicBezTo>
                  <a:cubicBezTo>
                    <a:pt x="363798" y="23678"/>
                    <a:pt x="340120" y="0"/>
                    <a:pt x="311014" y="0"/>
                  </a:cubicBezTo>
                  <a:cubicBezTo>
                    <a:pt x="281909" y="0"/>
                    <a:pt x="258230" y="23678"/>
                    <a:pt x="258230" y="52784"/>
                  </a:cubicBezTo>
                  <a:cubicBezTo>
                    <a:pt x="258230" y="66182"/>
                    <a:pt x="263256" y="78421"/>
                    <a:pt x="271511" y="87739"/>
                  </a:cubicBezTo>
                  <a:cubicBezTo>
                    <a:pt x="260314" y="92583"/>
                    <a:pt x="250002" y="99512"/>
                    <a:pt x="241076" y="108335"/>
                  </a:cubicBezTo>
                  <a:cubicBezTo>
                    <a:pt x="226349" y="122890"/>
                    <a:pt x="216715" y="141265"/>
                    <a:pt x="213109" y="161247"/>
                  </a:cubicBezTo>
                  <a:lnTo>
                    <a:pt x="142725" y="142051"/>
                  </a:lnTo>
                  <a:lnTo>
                    <a:pt x="119602" y="101586"/>
                  </a:lnTo>
                  <a:cubicBezTo>
                    <a:pt x="138769" y="93666"/>
                    <a:pt x="152295" y="74778"/>
                    <a:pt x="152295" y="52784"/>
                  </a:cubicBezTo>
                  <a:cubicBezTo>
                    <a:pt x="152295" y="23678"/>
                    <a:pt x="128616" y="0"/>
                    <a:pt x="99511" y="0"/>
                  </a:cubicBezTo>
                  <a:cubicBezTo>
                    <a:pt x="70405" y="0"/>
                    <a:pt x="46727" y="23678"/>
                    <a:pt x="46727" y="52784"/>
                  </a:cubicBezTo>
                  <a:cubicBezTo>
                    <a:pt x="46727" y="66201"/>
                    <a:pt x="51766" y="78457"/>
                    <a:pt x="60042" y="87779"/>
                  </a:cubicBezTo>
                  <a:cubicBezTo>
                    <a:pt x="24750" y="103088"/>
                    <a:pt x="0" y="138265"/>
                    <a:pt x="0" y="179119"/>
                  </a:cubicBezTo>
                  <a:lnTo>
                    <a:pt x="0" y="300263"/>
                  </a:lnTo>
                  <a:cubicBezTo>
                    <a:pt x="0" y="307431"/>
                    <a:pt x="5811" y="313242"/>
                    <a:pt x="12980" y="313242"/>
                  </a:cubicBezTo>
                  <a:lnTo>
                    <a:pt x="22984" y="313242"/>
                  </a:lnTo>
                  <a:lnTo>
                    <a:pt x="1344" y="394005"/>
                  </a:lnTo>
                  <a:cubicBezTo>
                    <a:pt x="-1348" y="404052"/>
                    <a:pt x="33" y="414544"/>
                    <a:pt x="5233" y="423552"/>
                  </a:cubicBezTo>
                  <a:cubicBezTo>
                    <a:pt x="10434" y="432559"/>
                    <a:pt x="18831" y="439002"/>
                    <a:pt x="28877" y="441694"/>
                  </a:cubicBezTo>
                  <a:cubicBezTo>
                    <a:pt x="32232" y="442594"/>
                    <a:pt x="35637" y="443039"/>
                    <a:pt x="39020" y="443039"/>
                  </a:cubicBezTo>
                  <a:cubicBezTo>
                    <a:pt x="45766" y="443039"/>
                    <a:pt x="52427" y="441269"/>
                    <a:pt x="58426" y="437806"/>
                  </a:cubicBezTo>
                  <a:cubicBezTo>
                    <a:pt x="67434" y="432604"/>
                    <a:pt x="73876" y="424207"/>
                    <a:pt x="76568" y="414161"/>
                  </a:cubicBezTo>
                  <a:lnTo>
                    <a:pt x="82683" y="391339"/>
                  </a:lnTo>
                  <a:lnTo>
                    <a:pt x="88802" y="414175"/>
                  </a:lnTo>
                  <a:cubicBezTo>
                    <a:pt x="93457" y="431551"/>
                    <a:pt x="109230" y="443039"/>
                    <a:pt x="126423" y="443039"/>
                  </a:cubicBezTo>
                  <a:cubicBezTo>
                    <a:pt x="129749" y="443039"/>
                    <a:pt x="133130" y="442609"/>
                    <a:pt x="136491" y="441708"/>
                  </a:cubicBezTo>
                  <a:cubicBezTo>
                    <a:pt x="157230" y="436151"/>
                    <a:pt x="169582" y="414757"/>
                    <a:pt x="164025" y="394018"/>
                  </a:cubicBezTo>
                  <a:lnTo>
                    <a:pt x="138450" y="298569"/>
                  </a:lnTo>
                  <a:lnTo>
                    <a:pt x="138450" y="221610"/>
                  </a:lnTo>
                  <a:lnTo>
                    <a:pt x="204492" y="239621"/>
                  </a:lnTo>
                  <a:cubicBezTo>
                    <a:pt x="206828" y="240258"/>
                    <a:pt x="209172" y="240650"/>
                    <a:pt x="211504" y="240845"/>
                  </a:cubicBezTo>
                  <a:lnTo>
                    <a:pt x="211504" y="300263"/>
                  </a:lnTo>
                  <a:cubicBezTo>
                    <a:pt x="211504" y="307431"/>
                    <a:pt x="217315" y="313242"/>
                    <a:pt x="224483" y="313242"/>
                  </a:cubicBezTo>
                  <a:lnTo>
                    <a:pt x="237463" y="313242"/>
                  </a:lnTo>
                  <a:lnTo>
                    <a:pt x="237463" y="430059"/>
                  </a:lnTo>
                  <a:cubicBezTo>
                    <a:pt x="237463" y="437228"/>
                    <a:pt x="243274" y="443039"/>
                    <a:pt x="250443" y="443039"/>
                  </a:cubicBezTo>
                  <a:lnTo>
                    <a:pt x="311014" y="443039"/>
                  </a:lnTo>
                  <a:cubicBezTo>
                    <a:pt x="317520" y="443039"/>
                    <a:pt x="323020" y="438224"/>
                    <a:pt x="323881" y="431774"/>
                  </a:cubicBezTo>
                  <a:lnTo>
                    <a:pt x="341113" y="302527"/>
                  </a:lnTo>
                  <a:lnTo>
                    <a:pt x="357125" y="230475"/>
                  </a:lnTo>
                  <a:lnTo>
                    <a:pt x="375055" y="248405"/>
                  </a:lnTo>
                  <a:cubicBezTo>
                    <a:pt x="368907" y="255293"/>
                    <a:pt x="365161" y="264367"/>
                    <a:pt x="365161" y="274303"/>
                  </a:cubicBezTo>
                  <a:lnTo>
                    <a:pt x="365161" y="282957"/>
                  </a:lnTo>
                  <a:cubicBezTo>
                    <a:pt x="365161" y="290125"/>
                    <a:pt x="370972" y="295936"/>
                    <a:pt x="378141" y="295936"/>
                  </a:cubicBezTo>
                  <a:cubicBezTo>
                    <a:pt x="385309" y="295936"/>
                    <a:pt x="391120" y="290125"/>
                    <a:pt x="391120" y="282957"/>
                  </a:cubicBezTo>
                  <a:lnTo>
                    <a:pt x="391120" y="274303"/>
                  </a:lnTo>
                  <a:cubicBezTo>
                    <a:pt x="391120" y="267146"/>
                    <a:pt x="396943" y="261324"/>
                    <a:pt x="404100" y="261324"/>
                  </a:cubicBezTo>
                  <a:cubicBezTo>
                    <a:pt x="411257" y="261324"/>
                    <a:pt x="417080" y="267146"/>
                    <a:pt x="417080" y="274303"/>
                  </a:cubicBezTo>
                  <a:lnTo>
                    <a:pt x="417080" y="430059"/>
                  </a:lnTo>
                  <a:cubicBezTo>
                    <a:pt x="417080" y="437228"/>
                    <a:pt x="422891" y="443039"/>
                    <a:pt x="430059" y="443039"/>
                  </a:cubicBezTo>
                  <a:cubicBezTo>
                    <a:pt x="437228" y="443039"/>
                    <a:pt x="443039" y="437228"/>
                    <a:pt x="443039" y="430059"/>
                  </a:cubicBezTo>
                  <a:lnTo>
                    <a:pt x="443039" y="274303"/>
                  </a:lnTo>
                  <a:cubicBezTo>
                    <a:pt x="443039" y="264345"/>
                    <a:pt x="439278" y="255253"/>
                    <a:pt x="433106" y="248361"/>
                  </a:cubicBezTo>
                  <a:close/>
                  <a:moveTo>
                    <a:pt x="284190" y="52784"/>
                  </a:moveTo>
                  <a:cubicBezTo>
                    <a:pt x="284190" y="37992"/>
                    <a:pt x="296224" y="25959"/>
                    <a:pt x="311014" y="25959"/>
                  </a:cubicBezTo>
                  <a:cubicBezTo>
                    <a:pt x="325805" y="25959"/>
                    <a:pt x="337839" y="37992"/>
                    <a:pt x="337839" y="52784"/>
                  </a:cubicBezTo>
                  <a:cubicBezTo>
                    <a:pt x="337839" y="67576"/>
                    <a:pt x="325805" y="79609"/>
                    <a:pt x="311014" y="79609"/>
                  </a:cubicBezTo>
                  <a:cubicBezTo>
                    <a:pt x="296224" y="79609"/>
                    <a:pt x="284190" y="67576"/>
                    <a:pt x="284190" y="52784"/>
                  </a:cubicBezTo>
                  <a:close/>
                  <a:moveTo>
                    <a:pt x="72686" y="52784"/>
                  </a:moveTo>
                  <a:cubicBezTo>
                    <a:pt x="72686" y="37992"/>
                    <a:pt x="84720" y="25959"/>
                    <a:pt x="99511" y="25959"/>
                  </a:cubicBezTo>
                  <a:cubicBezTo>
                    <a:pt x="114301" y="25959"/>
                    <a:pt x="126335" y="37992"/>
                    <a:pt x="126335" y="52784"/>
                  </a:cubicBezTo>
                  <a:cubicBezTo>
                    <a:pt x="126335" y="67576"/>
                    <a:pt x="114301" y="79609"/>
                    <a:pt x="99511" y="79609"/>
                  </a:cubicBezTo>
                  <a:cubicBezTo>
                    <a:pt x="84720" y="79609"/>
                    <a:pt x="72686" y="67576"/>
                    <a:pt x="72686" y="52784"/>
                  </a:cubicBezTo>
                  <a:close/>
                  <a:moveTo>
                    <a:pt x="51493" y="407443"/>
                  </a:moveTo>
                  <a:cubicBezTo>
                    <a:pt x="50596" y="410791"/>
                    <a:pt x="48448" y="413590"/>
                    <a:pt x="45445" y="415323"/>
                  </a:cubicBezTo>
                  <a:cubicBezTo>
                    <a:pt x="42443" y="417058"/>
                    <a:pt x="38945" y="417518"/>
                    <a:pt x="35596" y="416619"/>
                  </a:cubicBezTo>
                  <a:cubicBezTo>
                    <a:pt x="28683" y="414767"/>
                    <a:pt x="24566" y="407636"/>
                    <a:pt x="26419" y="400723"/>
                  </a:cubicBezTo>
                  <a:lnTo>
                    <a:pt x="49858" y="313242"/>
                  </a:lnTo>
                  <a:lnTo>
                    <a:pt x="61756" y="313242"/>
                  </a:lnTo>
                  <a:lnTo>
                    <a:pt x="69245" y="341189"/>
                  </a:lnTo>
                  <a:close/>
                  <a:moveTo>
                    <a:pt x="137654" y="410586"/>
                  </a:moveTo>
                  <a:cubicBezTo>
                    <a:pt x="135920" y="413588"/>
                    <a:pt x="133121" y="415736"/>
                    <a:pt x="129772" y="416632"/>
                  </a:cubicBezTo>
                  <a:cubicBezTo>
                    <a:pt x="122861" y="418487"/>
                    <a:pt x="115729" y="414368"/>
                    <a:pt x="113876" y="407456"/>
                  </a:cubicBezTo>
                  <a:lnTo>
                    <a:pt x="88631" y="313242"/>
                  </a:lnTo>
                  <a:lnTo>
                    <a:pt x="115506" y="313242"/>
                  </a:lnTo>
                  <a:lnTo>
                    <a:pt x="138950" y="400736"/>
                  </a:lnTo>
                  <a:cubicBezTo>
                    <a:pt x="139847" y="404084"/>
                    <a:pt x="139387" y="407583"/>
                    <a:pt x="137654" y="410586"/>
                  </a:cubicBezTo>
                  <a:close/>
                  <a:moveTo>
                    <a:pt x="108905" y="186644"/>
                  </a:moveTo>
                  <a:cubicBezTo>
                    <a:pt x="103093" y="185060"/>
                    <a:pt x="98169" y="181083"/>
                    <a:pt x="95394" y="175735"/>
                  </a:cubicBezTo>
                  <a:lnTo>
                    <a:pt x="85072" y="155836"/>
                  </a:lnTo>
                  <a:cubicBezTo>
                    <a:pt x="81772" y="149474"/>
                    <a:pt x="73936" y="146991"/>
                    <a:pt x="67574" y="150291"/>
                  </a:cubicBezTo>
                  <a:cubicBezTo>
                    <a:pt x="61210" y="153592"/>
                    <a:pt x="58728" y="161426"/>
                    <a:pt x="62028" y="167791"/>
                  </a:cubicBezTo>
                  <a:lnTo>
                    <a:pt x="72350" y="187689"/>
                  </a:lnTo>
                  <a:cubicBezTo>
                    <a:pt x="78453" y="199455"/>
                    <a:pt x="89288" y="208202"/>
                    <a:pt x="102075" y="211690"/>
                  </a:cubicBezTo>
                  <a:lnTo>
                    <a:pt x="112490" y="214530"/>
                  </a:lnTo>
                  <a:lnTo>
                    <a:pt x="112490" y="287283"/>
                  </a:lnTo>
                  <a:lnTo>
                    <a:pt x="25959" y="287283"/>
                  </a:lnTo>
                  <a:lnTo>
                    <a:pt x="25959" y="179119"/>
                  </a:lnTo>
                  <a:cubicBezTo>
                    <a:pt x="25959" y="141035"/>
                    <a:pt x="55056" y="109620"/>
                    <a:pt x="92185" y="105930"/>
                  </a:cubicBezTo>
                  <a:lnTo>
                    <a:pt x="122853" y="159600"/>
                  </a:lnTo>
                  <a:cubicBezTo>
                    <a:pt x="124502" y="162484"/>
                    <a:pt x="127249" y="164738"/>
                    <a:pt x="130707" y="165681"/>
                  </a:cubicBezTo>
                  <a:lnTo>
                    <a:pt x="218151" y="189531"/>
                  </a:lnTo>
                  <a:cubicBezTo>
                    <a:pt x="221496" y="190443"/>
                    <a:pt x="224285" y="192603"/>
                    <a:pt x="226005" y="195613"/>
                  </a:cubicBezTo>
                  <a:cubicBezTo>
                    <a:pt x="227726" y="198623"/>
                    <a:pt x="228170" y="202124"/>
                    <a:pt x="227257" y="205469"/>
                  </a:cubicBezTo>
                  <a:cubicBezTo>
                    <a:pt x="225374" y="212373"/>
                    <a:pt x="218224" y="216461"/>
                    <a:pt x="211320" y="214575"/>
                  </a:cubicBezTo>
                  <a:close/>
                  <a:moveTo>
                    <a:pt x="299650" y="417080"/>
                  </a:moveTo>
                  <a:lnTo>
                    <a:pt x="263422" y="417080"/>
                  </a:lnTo>
                  <a:lnTo>
                    <a:pt x="263422" y="313242"/>
                  </a:lnTo>
                  <a:lnTo>
                    <a:pt x="313495" y="313242"/>
                  </a:lnTo>
                  <a:close/>
                  <a:moveTo>
                    <a:pt x="317908" y="287283"/>
                  </a:moveTo>
                  <a:lnTo>
                    <a:pt x="237463" y="287283"/>
                  </a:lnTo>
                  <a:lnTo>
                    <a:pt x="237463" y="233643"/>
                  </a:lnTo>
                  <a:cubicBezTo>
                    <a:pt x="244468" y="228613"/>
                    <a:pt x="249862" y="221250"/>
                    <a:pt x="252303" y="212301"/>
                  </a:cubicBezTo>
                  <a:cubicBezTo>
                    <a:pt x="255041" y="202266"/>
                    <a:pt x="253706" y="191768"/>
                    <a:pt x="248546" y="182735"/>
                  </a:cubicBezTo>
                  <a:cubicBezTo>
                    <a:pt x="245830" y="177981"/>
                    <a:pt x="242218" y="173944"/>
                    <a:pt x="237949" y="170778"/>
                  </a:cubicBezTo>
                  <a:cubicBezTo>
                    <a:pt x="241934" y="135905"/>
                    <a:pt x="270612" y="108247"/>
                    <a:pt x="305822" y="105752"/>
                  </a:cubicBezTo>
                  <a:lnTo>
                    <a:pt x="413278" y="213210"/>
                  </a:lnTo>
                  <a:cubicBezTo>
                    <a:pt x="418339" y="218270"/>
                    <a:pt x="418339" y="226503"/>
                    <a:pt x="413278" y="231564"/>
                  </a:cubicBezTo>
                  <a:cubicBezTo>
                    <a:pt x="410827" y="234015"/>
                    <a:pt x="407568" y="235366"/>
                    <a:pt x="404102" y="235366"/>
                  </a:cubicBezTo>
                  <a:cubicBezTo>
                    <a:pt x="400635" y="235366"/>
                    <a:pt x="397376" y="234015"/>
                    <a:pt x="394924" y="231565"/>
                  </a:cubicBezTo>
                  <a:lnTo>
                    <a:pt x="302886" y="139524"/>
                  </a:lnTo>
                  <a:cubicBezTo>
                    <a:pt x="297817" y="134455"/>
                    <a:pt x="289599" y="134455"/>
                    <a:pt x="284530" y="139524"/>
                  </a:cubicBezTo>
                  <a:cubicBezTo>
                    <a:pt x="279461" y="144593"/>
                    <a:pt x="279461" y="152811"/>
                    <a:pt x="284530" y="157880"/>
                  </a:cubicBezTo>
                  <a:lnTo>
                    <a:pt x="335367" y="208717"/>
                  </a:lnTo>
                  <a:close/>
                </a:path>
              </a:pathLst>
            </a:custGeom>
            <a:solidFill>
              <a:schemeClr val="tx2"/>
            </a:solidFill>
            <a:ln w="856" cap="flat">
              <a:noFill/>
              <a:prstDash val="solid"/>
              <a:miter/>
            </a:ln>
          </p:spPr>
          <p:txBody>
            <a:bodyPr rtlCol="0" anchor="ctr"/>
            <a:lstStyle/>
            <a:p>
              <a:endParaRPr lang="nl-NL"/>
            </a:p>
          </p:txBody>
        </p:sp>
      </p:grpSp>
      <p:grpSp>
        <p:nvGrpSpPr>
          <p:cNvPr id="76" name="Groep 75">
            <a:extLst>
              <a:ext uri="{FF2B5EF4-FFF2-40B4-BE49-F238E27FC236}">
                <a16:creationId xmlns:a16="http://schemas.microsoft.com/office/drawing/2014/main" id="{B93864A5-F524-30CE-1EF8-7EAC3BD57A65}"/>
              </a:ext>
            </a:extLst>
          </p:cNvPr>
          <p:cNvGrpSpPr/>
          <p:nvPr/>
        </p:nvGrpSpPr>
        <p:grpSpPr>
          <a:xfrm>
            <a:off x="5714272" y="2800444"/>
            <a:ext cx="741276" cy="769704"/>
            <a:chOff x="5726930" y="3067844"/>
            <a:chExt cx="538160" cy="558799"/>
          </a:xfrm>
        </p:grpSpPr>
        <p:sp>
          <p:nvSpPr>
            <p:cNvPr id="42" name="Vrije vorm: vorm 41">
              <a:extLst>
                <a:ext uri="{FF2B5EF4-FFF2-40B4-BE49-F238E27FC236}">
                  <a16:creationId xmlns:a16="http://schemas.microsoft.com/office/drawing/2014/main" id="{50722A74-AA6B-1972-199D-7167B09EFEC3}"/>
                </a:ext>
              </a:extLst>
            </p:cNvPr>
            <p:cNvSpPr/>
            <p:nvPr/>
          </p:nvSpPr>
          <p:spPr>
            <a:xfrm>
              <a:off x="5726930" y="3067844"/>
              <a:ext cx="366005" cy="548622"/>
            </a:xfrm>
            <a:custGeom>
              <a:avLst/>
              <a:gdLst>
                <a:gd name="connsiteX0" fmla="*/ 655519 w 655519"/>
                <a:gd name="connsiteY0" fmla="*/ 348613 h 982588"/>
                <a:gd name="connsiteX1" fmla="*/ 655519 w 655519"/>
                <a:gd name="connsiteY1" fmla="*/ 982589 h 982588"/>
                <a:gd name="connsiteX2" fmla="*/ 617225 w 655519"/>
                <a:gd name="connsiteY2" fmla="*/ 968599 h 982588"/>
                <a:gd name="connsiteX3" fmla="*/ 586260 w 655519"/>
                <a:gd name="connsiteY3" fmla="*/ 942466 h 982588"/>
                <a:gd name="connsiteX4" fmla="*/ 111350 w 655519"/>
                <a:gd name="connsiteY4" fmla="*/ 541285 h 982588"/>
                <a:gd name="connsiteX5" fmla="*/ 78538 w 655519"/>
                <a:gd name="connsiteY5" fmla="*/ 98174 h 982588"/>
                <a:gd name="connsiteX6" fmla="*/ 292266 w 655519"/>
                <a:gd name="connsiteY6" fmla="*/ 264 h 982588"/>
                <a:gd name="connsiteX7" fmla="*/ 304429 w 655519"/>
                <a:gd name="connsiteY7" fmla="*/ 0 h 982588"/>
                <a:gd name="connsiteX8" fmla="*/ 655519 w 655519"/>
                <a:gd name="connsiteY8" fmla="*/ 348633 h 982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55519" h="982588">
                  <a:moveTo>
                    <a:pt x="655519" y="348613"/>
                  </a:moveTo>
                  <a:lnTo>
                    <a:pt x="655519" y="982589"/>
                  </a:lnTo>
                  <a:cubicBezTo>
                    <a:pt x="641507" y="982572"/>
                    <a:pt x="627947" y="977620"/>
                    <a:pt x="617225" y="968599"/>
                  </a:cubicBezTo>
                  <a:lnTo>
                    <a:pt x="586260" y="942466"/>
                  </a:lnTo>
                  <a:lnTo>
                    <a:pt x="111350" y="541285"/>
                  </a:lnTo>
                  <a:cubicBezTo>
                    <a:pt x="-21850" y="428735"/>
                    <a:pt x="-38966" y="226926"/>
                    <a:pt x="78538" y="98174"/>
                  </a:cubicBezTo>
                  <a:cubicBezTo>
                    <a:pt x="130315" y="41036"/>
                    <a:pt x="204285" y="3005"/>
                    <a:pt x="292266" y="264"/>
                  </a:cubicBezTo>
                  <a:cubicBezTo>
                    <a:pt x="296327" y="0"/>
                    <a:pt x="300246" y="0"/>
                    <a:pt x="304429" y="0"/>
                  </a:cubicBezTo>
                  <a:cubicBezTo>
                    <a:pt x="497629" y="0"/>
                    <a:pt x="654098" y="155677"/>
                    <a:pt x="655519" y="348633"/>
                  </a:cubicBezTo>
                </a:path>
              </a:pathLst>
            </a:custGeom>
            <a:solidFill>
              <a:schemeClr val="accent2"/>
            </a:solidFill>
            <a:ln w="20272" cap="flat">
              <a:noFill/>
              <a:prstDash val="solid"/>
              <a:miter/>
            </a:ln>
          </p:spPr>
          <p:txBody>
            <a:bodyPr rtlCol="0" anchor="ctr"/>
            <a:lstStyle/>
            <a:p>
              <a:endParaRPr lang="nl-NL"/>
            </a:p>
          </p:txBody>
        </p:sp>
        <p:sp>
          <p:nvSpPr>
            <p:cNvPr id="70" name="Graphic 68">
              <a:extLst>
                <a:ext uri="{FF2B5EF4-FFF2-40B4-BE49-F238E27FC236}">
                  <a16:creationId xmlns:a16="http://schemas.microsoft.com/office/drawing/2014/main" id="{460DE7A4-FCE4-50A5-FF6E-01370C32B9B5}"/>
                </a:ext>
              </a:extLst>
            </p:cNvPr>
            <p:cNvSpPr/>
            <p:nvPr/>
          </p:nvSpPr>
          <p:spPr>
            <a:xfrm>
              <a:off x="5890610" y="3183604"/>
              <a:ext cx="374480" cy="443039"/>
            </a:xfrm>
            <a:custGeom>
              <a:avLst/>
              <a:gdLst>
                <a:gd name="connsiteX0" fmla="*/ 331299 w 374480"/>
                <a:gd name="connsiteY0" fmla="*/ 136182 h 443039"/>
                <a:gd name="connsiteX1" fmla="*/ 348669 w 374480"/>
                <a:gd name="connsiteY1" fmla="*/ 118811 h 443039"/>
                <a:gd name="connsiteX2" fmla="*/ 348669 w 374480"/>
                <a:gd name="connsiteY2" fmla="*/ 94370 h 443039"/>
                <a:gd name="connsiteX3" fmla="*/ 324228 w 374480"/>
                <a:gd name="connsiteY3" fmla="*/ 94370 h 443039"/>
                <a:gd name="connsiteX4" fmla="*/ 306857 w 374480"/>
                <a:gd name="connsiteY4" fmla="*/ 111740 h 443039"/>
                <a:gd name="connsiteX5" fmla="*/ 204524 w 374480"/>
                <a:gd name="connsiteY5" fmla="*/ 69353 h 443039"/>
                <a:gd name="connsiteX6" fmla="*/ 204524 w 374480"/>
                <a:gd name="connsiteY6" fmla="*/ 34568 h 443039"/>
                <a:gd name="connsiteX7" fmla="*/ 221232 w 374480"/>
                <a:gd name="connsiteY7" fmla="*/ 34568 h 443039"/>
                <a:gd name="connsiteX8" fmla="*/ 238515 w 374480"/>
                <a:gd name="connsiteY8" fmla="*/ 17283 h 443039"/>
                <a:gd name="connsiteX9" fmla="*/ 221232 w 374480"/>
                <a:gd name="connsiteY9" fmla="*/ 0 h 443039"/>
                <a:gd name="connsiteX10" fmla="*/ 153248 w 374480"/>
                <a:gd name="connsiteY10" fmla="*/ 0 h 443039"/>
                <a:gd name="connsiteX11" fmla="*/ 135965 w 374480"/>
                <a:gd name="connsiteY11" fmla="*/ 17283 h 443039"/>
                <a:gd name="connsiteX12" fmla="*/ 153248 w 374480"/>
                <a:gd name="connsiteY12" fmla="*/ 34568 h 443039"/>
                <a:gd name="connsiteX13" fmla="*/ 169956 w 374480"/>
                <a:gd name="connsiteY13" fmla="*/ 34568 h 443039"/>
                <a:gd name="connsiteX14" fmla="*/ 169956 w 374480"/>
                <a:gd name="connsiteY14" fmla="*/ 69353 h 443039"/>
                <a:gd name="connsiteX15" fmla="*/ 0 w 374480"/>
                <a:gd name="connsiteY15" fmla="*/ 255797 h 443039"/>
                <a:gd name="connsiteX16" fmla="*/ 187242 w 374480"/>
                <a:gd name="connsiteY16" fmla="*/ 443039 h 443039"/>
                <a:gd name="connsiteX17" fmla="*/ 374480 w 374480"/>
                <a:gd name="connsiteY17" fmla="*/ 255797 h 443039"/>
                <a:gd name="connsiteX18" fmla="*/ 331299 w 374480"/>
                <a:gd name="connsiteY18" fmla="*/ 136182 h 443039"/>
                <a:gd name="connsiteX19" fmla="*/ 187238 w 374480"/>
                <a:gd name="connsiteY19" fmla="*/ 408471 h 443039"/>
                <a:gd name="connsiteX20" fmla="*/ 34565 w 374480"/>
                <a:gd name="connsiteY20" fmla="*/ 255797 h 443039"/>
                <a:gd name="connsiteX21" fmla="*/ 187238 w 374480"/>
                <a:gd name="connsiteY21" fmla="*/ 103127 h 443039"/>
                <a:gd name="connsiteX22" fmla="*/ 339912 w 374480"/>
                <a:gd name="connsiteY22" fmla="*/ 255797 h 443039"/>
                <a:gd name="connsiteX23" fmla="*/ 187238 w 374480"/>
                <a:gd name="connsiteY23" fmla="*/ 408471 h 443039"/>
                <a:gd name="connsiteX24" fmla="*/ 267337 w 374480"/>
                <a:gd name="connsiteY24" fmla="*/ 175702 h 443039"/>
                <a:gd name="connsiteX25" fmla="*/ 267337 w 374480"/>
                <a:gd name="connsiteY25" fmla="*/ 200144 h 443039"/>
                <a:gd name="connsiteX26" fmla="*/ 199461 w 374480"/>
                <a:gd name="connsiteY26" fmla="*/ 268020 h 443039"/>
                <a:gd name="connsiteX27" fmla="*/ 175019 w 374480"/>
                <a:gd name="connsiteY27" fmla="*/ 268020 h 443039"/>
                <a:gd name="connsiteX28" fmla="*/ 175019 w 374480"/>
                <a:gd name="connsiteY28" fmla="*/ 243578 h 443039"/>
                <a:gd name="connsiteX29" fmla="*/ 242892 w 374480"/>
                <a:gd name="connsiteY29" fmla="*/ 175702 h 443039"/>
                <a:gd name="connsiteX30" fmla="*/ 267337 w 374480"/>
                <a:gd name="connsiteY30" fmla="*/ 175702 h 443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74480" h="443039">
                  <a:moveTo>
                    <a:pt x="331299" y="136182"/>
                  </a:moveTo>
                  <a:lnTo>
                    <a:pt x="348669" y="118811"/>
                  </a:lnTo>
                  <a:cubicBezTo>
                    <a:pt x="355420" y="112061"/>
                    <a:pt x="355420" y="101116"/>
                    <a:pt x="348669" y="94370"/>
                  </a:cubicBezTo>
                  <a:cubicBezTo>
                    <a:pt x="341919" y="87619"/>
                    <a:pt x="330978" y="87619"/>
                    <a:pt x="324228" y="94370"/>
                  </a:cubicBezTo>
                  <a:lnTo>
                    <a:pt x="306857" y="111740"/>
                  </a:lnTo>
                  <a:cubicBezTo>
                    <a:pt x="277714" y="87457"/>
                    <a:pt x="242300" y="72787"/>
                    <a:pt x="204524" y="69353"/>
                  </a:cubicBezTo>
                  <a:lnTo>
                    <a:pt x="204524" y="34568"/>
                  </a:lnTo>
                  <a:lnTo>
                    <a:pt x="221232" y="34568"/>
                  </a:lnTo>
                  <a:cubicBezTo>
                    <a:pt x="230778" y="34568"/>
                    <a:pt x="238515" y="26828"/>
                    <a:pt x="238515" y="17283"/>
                  </a:cubicBezTo>
                  <a:cubicBezTo>
                    <a:pt x="238515" y="7737"/>
                    <a:pt x="230778" y="0"/>
                    <a:pt x="221232" y="0"/>
                  </a:cubicBezTo>
                  <a:lnTo>
                    <a:pt x="153248" y="0"/>
                  </a:lnTo>
                  <a:cubicBezTo>
                    <a:pt x="143702" y="0"/>
                    <a:pt x="135965" y="7737"/>
                    <a:pt x="135965" y="17283"/>
                  </a:cubicBezTo>
                  <a:cubicBezTo>
                    <a:pt x="135965" y="26828"/>
                    <a:pt x="143702" y="34568"/>
                    <a:pt x="153248" y="34568"/>
                  </a:cubicBezTo>
                  <a:lnTo>
                    <a:pt x="169956" y="34568"/>
                  </a:lnTo>
                  <a:lnTo>
                    <a:pt x="169956" y="69353"/>
                  </a:lnTo>
                  <a:cubicBezTo>
                    <a:pt x="75394" y="77952"/>
                    <a:pt x="0" y="157392"/>
                    <a:pt x="0" y="255797"/>
                  </a:cubicBezTo>
                  <a:cubicBezTo>
                    <a:pt x="0" y="359283"/>
                    <a:pt x="83742" y="443039"/>
                    <a:pt x="187242" y="443039"/>
                  </a:cubicBezTo>
                  <a:cubicBezTo>
                    <a:pt x="290724" y="443039"/>
                    <a:pt x="374480" y="359297"/>
                    <a:pt x="374480" y="255797"/>
                  </a:cubicBezTo>
                  <a:cubicBezTo>
                    <a:pt x="374480" y="211592"/>
                    <a:pt x="359256" y="169729"/>
                    <a:pt x="331299" y="136182"/>
                  </a:cubicBezTo>
                  <a:close/>
                  <a:moveTo>
                    <a:pt x="187238" y="408471"/>
                  </a:moveTo>
                  <a:cubicBezTo>
                    <a:pt x="103056" y="408471"/>
                    <a:pt x="34565" y="339983"/>
                    <a:pt x="34565" y="255797"/>
                  </a:cubicBezTo>
                  <a:cubicBezTo>
                    <a:pt x="34565" y="171615"/>
                    <a:pt x="103056" y="103127"/>
                    <a:pt x="187238" y="103127"/>
                  </a:cubicBezTo>
                  <a:cubicBezTo>
                    <a:pt x="271424" y="103127"/>
                    <a:pt x="339912" y="171615"/>
                    <a:pt x="339912" y="255797"/>
                  </a:cubicBezTo>
                  <a:cubicBezTo>
                    <a:pt x="339912" y="339983"/>
                    <a:pt x="271424" y="408471"/>
                    <a:pt x="187238" y="408471"/>
                  </a:cubicBezTo>
                  <a:close/>
                  <a:moveTo>
                    <a:pt x="267337" y="175702"/>
                  </a:moveTo>
                  <a:cubicBezTo>
                    <a:pt x="274087" y="182452"/>
                    <a:pt x="274087" y="193397"/>
                    <a:pt x="267337" y="200144"/>
                  </a:cubicBezTo>
                  <a:lnTo>
                    <a:pt x="199461" y="268020"/>
                  </a:lnTo>
                  <a:cubicBezTo>
                    <a:pt x="192711" y="274770"/>
                    <a:pt x="181766" y="274770"/>
                    <a:pt x="175019" y="268020"/>
                  </a:cubicBezTo>
                  <a:cubicBezTo>
                    <a:pt x="168269" y="261270"/>
                    <a:pt x="168269" y="250325"/>
                    <a:pt x="175019" y="243578"/>
                  </a:cubicBezTo>
                  <a:lnTo>
                    <a:pt x="242892" y="175702"/>
                  </a:lnTo>
                  <a:cubicBezTo>
                    <a:pt x="249642" y="168952"/>
                    <a:pt x="260587" y="168952"/>
                    <a:pt x="267337" y="175702"/>
                  </a:cubicBezTo>
                  <a:close/>
                </a:path>
              </a:pathLst>
            </a:custGeom>
            <a:solidFill>
              <a:schemeClr val="tx2"/>
            </a:solidFill>
            <a:ln w="856" cap="flat">
              <a:noFill/>
              <a:prstDash val="solid"/>
              <a:miter/>
            </a:ln>
          </p:spPr>
          <p:txBody>
            <a:bodyPr rtlCol="0" anchor="ctr"/>
            <a:lstStyle/>
            <a:p>
              <a:endParaRPr lang="nl-NL" dirty="0"/>
            </a:p>
          </p:txBody>
        </p:sp>
      </p:grpSp>
      <p:pic>
        <p:nvPicPr>
          <p:cNvPr id="22" name="Afbeelding 21" descr="Afbeelding met meeuw, zeemeeuw, vogel, vleugel&#10;&#10;Automatisch gegenereerde beschrijving">
            <a:extLst>
              <a:ext uri="{FF2B5EF4-FFF2-40B4-BE49-F238E27FC236}">
                <a16:creationId xmlns:a16="http://schemas.microsoft.com/office/drawing/2014/main" id="{8AD469CA-C062-73DC-F84F-F294D1DE2FA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3776" r="-1"/>
          <a:stretch/>
        </p:blipFill>
        <p:spPr>
          <a:xfrm rot="443764" flipH="1">
            <a:off x="8483532" y="1315085"/>
            <a:ext cx="1780148" cy="1562318"/>
          </a:xfrm>
          <a:prstGeom prst="rect">
            <a:avLst/>
          </a:prstGeom>
        </p:spPr>
      </p:pic>
      <p:sp>
        <p:nvSpPr>
          <p:cNvPr id="2" name="Tijdelijke aanduiding voor tekst 48">
            <a:extLst>
              <a:ext uri="{FF2B5EF4-FFF2-40B4-BE49-F238E27FC236}">
                <a16:creationId xmlns:a16="http://schemas.microsoft.com/office/drawing/2014/main" id="{B9F3F002-7C2A-386C-32D9-0D4DAA6365D7}"/>
              </a:ext>
            </a:extLst>
          </p:cNvPr>
          <p:cNvSpPr txBox="1">
            <a:spLocks/>
          </p:cNvSpPr>
          <p:nvPr/>
        </p:nvSpPr>
        <p:spPr>
          <a:xfrm>
            <a:off x="719139" y="6270625"/>
            <a:ext cx="1316183" cy="301625"/>
          </a:xfrm>
          <a:prstGeom prst="rect">
            <a:avLst/>
          </a:prstGeom>
          <a:blipFill>
            <a:blip r:embed="rId6"/>
            <a:srcRect/>
            <a:stretch>
              <a:fillRect t="107" b="107"/>
            </a:stretch>
          </a:blipFill>
        </p:spPr>
        <p:txBody>
          <a:bodyPr wrap="square" anchor="b">
            <a:noAutofit/>
          </a:bodyPr>
          <a:lstStyle>
            <a:lvl1pPr marL="0" indent="0" algn="ctr" defTabSz="914400" rtl="0" eaLnBrk="1" latinLnBrk="0" hangingPunct="1">
              <a:lnSpc>
                <a:spcPct val="95000"/>
              </a:lnSpc>
              <a:spcBef>
                <a:spcPts val="500"/>
              </a:spcBef>
              <a:spcAft>
                <a:spcPts val="500"/>
              </a:spcAft>
              <a:buClr>
                <a:schemeClr val="accent1"/>
              </a:buClr>
              <a:buSzPct val="75000"/>
              <a:buFontTx/>
              <a:buNone/>
              <a:defRPr sz="100" kern="1200" baseline="0">
                <a:solidFill>
                  <a:schemeClr val="tx1">
                    <a:alpha val="0"/>
                  </a:schemeClr>
                </a:solidFill>
                <a:latin typeface="+mn-lt"/>
                <a:ea typeface="+mn-ea"/>
                <a:cs typeface="+mn-cs"/>
              </a:defRPr>
            </a:lvl1pPr>
            <a:lvl2pPr marL="355600" indent="-177800" algn="l" defTabSz="914400" rtl="0" eaLnBrk="1" latinLnBrk="0" hangingPunct="1">
              <a:lnSpc>
                <a:spcPct val="95000"/>
              </a:lnSpc>
              <a:spcBef>
                <a:spcPts val="500"/>
              </a:spcBef>
              <a:spcAft>
                <a:spcPts val="500"/>
              </a:spcAft>
              <a:buClr>
                <a:schemeClr val="accent2">
                  <a:lumMod val="90000"/>
                </a:schemeClr>
              </a:buClr>
              <a:buSzPct val="110000"/>
              <a:buFont typeface="Arial" panose="020B0604020202020204" pitchFamily="34" charset="0"/>
              <a:buChar char="•"/>
              <a:tabLst/>
              <a:defRPr sz="1600" kern="1200" baseline="0">
                <a:solidFill>
                  <a:schemeClr val="tx2">
                    <a:lumMod val="90000"/>
                    <a:lumOff val="10000"/>
                  </a:schemeClr>
                </a:solidFill>
                <a:latin typeface="+mn-lt"/>
                <a:ea typeface="+mn-ea"/>
                <a:cs typeface="+mn-cs"/>
              </a:defRPr>
            </a:lvl2pPr>
            <a:lvl3pPr marL="531813" indent="-171450" algn="l" defTabSz="914400" rtl="0" eaLnBrk="1" latinLnBrk="0" hangingPunct="1">
              <a:lnSpc>
                <a:spcPct val="95000"/>
              </a:lnSpc>
              <a:spcBef>
                <a:spcPts val="500"/>
              </a:spcBef>
              <a:spcAft>
                <a:spcPts val="500"/>
              </a:spcAft>
              <a:buClr>
                <a:schemeClr val="accent3"/>
              </a:buClr>
              <a:buFont typeface="Segoe UI Light" panose="020B0502040204020203" pitchFamily="34" charset="0"/>
              <a:buChar char="–"/>
              <a:defRPr sz="1600" kern="1200" baseline="0">
                <a:solidFill>
                  <a:schemeClr val="tx2">
                    <a:lumMod val="90000"/>
                    <a:lumOff val="10000"/>
                  </a:schemeClr>
                </a:solidFill>
                <a:latin typeface="+mn-lt"/>
                <a:ea typeface="+mn-ea"/>
                <a:cs typeface="+mn-cs"/>
              </a:defRPr>
            </a:lvl3pPr>
            <a:lvl4pPr marL="0" indent="0" algn="l" defTabSz="914400" rtl="0" eaLnBrk="1" latinLnBrk="0" hangingPunct="1">
              <a:lnSpc>
                <a:spcPct val="95000"/>
              </a:lnSpc>
              <a:spcBef>
                <a:spcPts val="500"/>
              </a:spcBef>
              <a:spcAft>
                <a:spcPts val="500"/>
              </a:spcAft>
              <a:buFont typeface="Arial" panose="020B0604020202020204" pitchFamily="34" charset="0"/>
              <a:buNone/>
              <a:defRPr sz="1600" kern="1200" baseline="0">
                <a:solidFill>
                  <a:schemeClr val="tx2">
                    <a:lumMod val="90000"/>
                    <a:lumOff val="10000"/>
                  </a:schemeClr>
                </a:solidFill>
                <a:latin typeface="+mn-lt"/>
                <a:ea typeface="+mn-ea"/>
                <a:cs typeface="+mn-cs"/>
              </a:defRPr>
            </a:lvl4pPr>
            <a:lvl5pPr marL="0" indent="0" algn="l" defTabSz="914400" rtl="0" eaLnBrk="1" latinLnBrk="0" hangingPunct="1">
              <a:lnSpc>
                <a:spcPct val="90000"/>
              </a:lnSpc>
              <a:spcBef>
                <a:spcPts val="600"/>
              </a:spcBef>
              <a:spcAft>
                <a:spcPts val="600"/>
              </a:spcAft>
              <a:buFont typeface="Arial" panose="020B0604020202020204" pitchFamily="34" charset="0"/>
              <a:buNone/>
              <a:defRPr sz="2800" b="0" kern="1200" spc="-30" baseline="0">
                <a:ln w="6350">
                  <a:noFill/>
                </a:ln>
                <a:solidFill>
                  <a:schemeClr val="accent1"/>
                </a:solidFill>
                <a:latin typeface="+mj-lt"/>
                <a:ea typeface="+mn-ea"/>
                <a:cs typeface="+mn-cs"/>
              </a:defRPr>
            </a:lvl5pPr>
            <a:lvl6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2400" b="0" kern="1200" cap="none" spc="-50" baseline="0">
                <a:ln w="12700">
                  <a:noFill/>
                </a:ln>
                <a:solidFill>
                  <a:schemeClr val="accent3"/>
                </a:solidFill>
                <a:latin typeface="Arial" panose="020B0604020202020204" pitchFamily="34" charset="0"/>
                <a:ea typeface="+mn-ea"/>
                <a:cs typeface="+mn-cs"/>
              </a:defRPr>
            </a:lvl6pPr>
            <a:lvl7pPr marL="268288" indent="-268288" algn="l" defTabSz="914400" rtl="0" eaLnBrk="1" latinLnBrk="0" hangingPunct="1">
              <a:lnSpc>
                <a:spcPct val="95000"/>
              </a:lnSpc>
              <a:spcBef>
                <a:spcPts val="500"/>
              </a:spcBef>
              <a:spcAft>
                <a:spcPts val="500"/>
              </a:spcAft>
              <a:buClr>
                <a:schemeClr val="accent1"/>
              </a:buClr>
              <a:buFont typeface="+mj-lt"/>
              <a:buAutoNum type="arabicPeriod"/>
              <a:tabLst/>
              <a:defRPr sz="1600" kern="1200" baseline="0">
                <a:solidFill>
                  <a:schemeClr val="tx2">
                    <a:lumMod val="90000"/>
                    <a:lumOff val="10000"/>
                  </a:schemeClr>
                </a:solidFill>
                <a:latin typeface="+mn-lt"/>
                <a:ea typeface="+mn-ea"/>
                <a:cs typeface="+mn-cs"/>
              </a:defRPr>
            </a:lvl7pPr>
            <a:lvl8pPr marL="536575" indent="-268288" algn="l" defTabSz="914400" rtl="0" eaLnBrk="1" latinLnBrk="0" hangingPunct="1">
              <a:lnSpc>
                <a:spcPct val="95000"/>
              </a:lnSpc>
              <a:spcBef>
                <a:spcPts val="500"/>
              </a:spcBef>
              <a:spcAft>
                <a:spcPts val="500"/>
              </a:spcAft>
              <a:buClr>
                <a:schemeClr val="accent2">
                  <a:lumMod val="90000"/>
                </a:schemeClr>
              </a:buClr>
              <a:buFont typeface="+mj-lt"/>
              <a:buAutoNum type="alphaLcPeriod"/>
              <a:defRPr sz="1600" kern="1200" baseline="0">
                <a:solidFill>
                  <a:schemeClr val="tx2">
                    <a:lumMod val="90000"/>
                    <a:lumOff val="10000"/>
                  </a:schemeClr>
                </a:solidFill>
                <a:latin typeface="+mn-lt"/>
                <a:ea typeface="+mn-ea"/>
                <a:cs typeface="+mn-cs"/>
              </a:defRPr>
            </a:lvl8pPr>
            <a:lvl9pPr marL="0" indent="0" algn="l" defTabSz="914400" rtl="0" eaLnBrk="1" latinLnBrk="0" hangingPunct="1">
              <a:lnSpc>
                <a:spcPct val="90000"/>
              </a:lnSpc>
              <a:spcBef>
                <a:spcPts val="600"/>
              </a:spcBef>
              <a:spcAft>
                <a:spcPts val="600"/>
              </a:spcAft>
              <a:buClr>
                <a:schemeClr val="accent1"/>
              </a:buClr>
              <a:buFont typeface="Arial" panose="020B0604020202020204" pitchFamily="34" charset="0"/>
              <a:buNone/>
              <a:defRPr sz="1800" b="1" i="0" kern="1200" spc="50" baseline="0">
                <a:ln w="12700" cap="rnd">
                  <a:solidFill>
                    <a:schemeClr val="bg2">
                      <a:lumMod val="75000"/>
                    </a:schemeClr>
                  </a:solidFill>
                </a:ln>
                <a:solidFill>
                  <a:schemeClr val="bg2">
                    <a:lumMod val="75000"/>
                  </a:schemeClr>
                </a:solidFill>
                <a:latin typeface="Arial" panose="020B0604020202020204" pitchFamily="34" charset="0"/>
                <a:ea typeface="+mn-ea"/>
                <a:cs typeface="+mn-cs"/>
              </a:defRPr>
            </a:lvl9pPr>
          </a:lstStyle>
          <a:p>
            <a:r>
              <a:rPr lang="nl-NL"/>
              <a:t>(leeg)</a:t>
            </a:r>
            <a:endParaRPr lang="nl-NL" dirty="0"/>
          </a:p>
        </p:txBody>
      </p:sp>
      <p:sp>
        <p:nvSpPr>
          <p:cNvPr id="3" name="Tijdelijke aanduiding voor datum 2">
            <a:extLst>
              <a:ext uri="{FF2B5EF4-FFF2-40B4-BE49-F238E27FC236}">
                <a16:creationId xmlns:a16="http://schemas.microsoft.com/office/drawing/2014/main" id="{47EEFEA3-1C05-4A6D-8ECA-C0754DF7BD32}"/>
              </a:ext>
            </a:extLst>
          </p:cNvPr>
          <p:cNvSpPr>
            <a:spLocks noGrp="1"/>
          </p:cNvSpPr>
          <p:nvPr>
            <p:ph type="dt" sz="half" idx="27"/>
          </p:nvPr>
        </p:nvSpPr>
        <p:spPr/>
        <p:txBody>
          <a:bodyPr/>
          <a:lstStyle/>
          <a:p>
            <a:fld id="{DE7329F4-6A6D-4364-B28D-043D6AA8A4F3}" type="datetime4">
              <a:rPr lang="nl-NL" smtClean="0"/>
              <a:t>10 oktober 2023</a:t>
            </a:fld>
            <a:endParaRPr lang="nl-NL" dirty="0"/>
          </a:p>
        </p:txBody>
      </p:sp>
      <p:sp>
        <p:nvSpPr>
          <p:cNvPr id="4" name="Tijdelijke aanduiding voor voettekst 3">
            <a:extLst>
              <a:ext uri="{FF2B5EF4-FFF2-40B4-BE49-F238E27FC236}">
                <a16:creationId xmlns:a16="http://schemas.microsoft.com/office/drawing/2014/main" id="{187B2FEE-6D11-15F6-6B7B-F03CB714995E}"/>
              </a:ext>
            </a:extLst>
          </p:cNvPr>
          <p:cNvSpPr>
            <a:spLocks noGrp="1"/>
          </p:cNvSpPr>
          <p:nvPr>
            <p:ph type="ftr" sz="quarter" idx="28"/>
          </p:nvPr>
        </p:nvSpPr>
        <p:spPr/>
        <p:txBody>
          <a:bodyPr/>
          <a:lstStyle/>
          <a:p>
            <a:pPr algn="r"/>
            <a:r>
              <a:rPr lang="nl-NL"/>
              <a:t>Zeeuwse Zorg Coalitie  |  Plaats hier je voettekst</a:t>
            </a:r>
            <a:endParaRPr lang="nl-NL" dirty="0"/>
          </a:p>
        </p:txBody>
      </p:sp>
      <p:sp>
        <p:nvSpPr>
          <p:cNvPr id="6" name="Tijdelijke aanduiding voor dianummer 5">
            <a:extLst>
              <a:ext uri="{FF2B5EF4-FFF2-40B4-BE49-F238E27FC236}">
                <a16:creationId xmlns:a16="http://schemas.microsoft.com/office/drawing/2014/main" id="{4F06CC67-DE0F-7109-8F50-F60B7B24F4E1}"/>
              </a:ext>
            </a:extLst>
          </p:cNvPr>
          <p:cNvSpPr>
            <a:spLocks noGrp="1"/>
          </p:cNvSpPr>
          <p:nvPr>
            <p:ph type="sldNum" sz="quarter" idx="29"/>
          </p:nvPr>
        </p:nvSpPr>
        <p:spPr/>
        <p:txBody>
          <a:bodyPr/>
          <a:lstStyle/>
          <a:p>
            <a:fld id="{9E843DB9-9987-4157-AB9C-CEA8D7D910BB}" type="slidenum">
              <a:rPr lang="nl-NL" smtClean="0"/>
              <a:pPr/>
              <a:t>8</a:t>
            </a:fld>
            <a:endParaRPr lang="nl-NL" dirty="0"/>
          </a:p>
        </p:txBody>
      </p:sp>
    </p:spTree>
    <p:extLst>
      <p:ext uri="{BB962C8B-B14F-4D97-AF65-F5344CB8AC3E}">
        <p14:creationId xmlns:p14="http://schemas.microsoft.com/office/powerpoint/2010/main" val="863370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16="http://schemas.microsoft.com/office/drawing/2014/main" xmlns="">
      <p:transition spd="med">
        <p:fade/>
      </p:transition>
    </mc:Fallback>
  </mc:AlternateContent>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500"/>
                                            <p:tgtEl>
                                              <p:spTgt spid="22"/>
                                            </p:tgtEl>
                                          </p:cBhvr>
                                        </p:animEffect>
                                      </p:childTnLst>
                                    </p:cTn>
                                  </p:par>
                                  <p:par>
                                    <p:cTn id="8" presetID="6" presetClass="emph" presetSubtype="0" decel="100000" fill="hold" nodeType="withEffect">
                                      <p:stCondLst>
                                        <p:cond delay="0"/>
                                      </p:stCondLst>
                                      <p:childTnLst>
                                        <p:animScale>
                                          <p:cBhvr>
                                            <p:cTn id="9" dur="5000" fill="hold"/>
                                            <p:tgtEl>
                                              <p:spTgt spid="22"/>
                                            </p:tgtEl>
                                          </p:cBhvr>
                                          <p:by x="102500" y="102500"/>
                                        </p:animScale>
                                      </p:childTnLst>
                                    </p:cTn>
                                  </p:par>
                                  <p:par>
                                    <p:cTn id="10" presetID="42" presetClass="path" presetSubtype="0" decel="100000" fill="hold" nodeType="withEffect">
                                      <p:stCondLst>
                                        <p:cond delay="0"/>
                                      </p:stCondLst>
                                      <p:childTnLst>
                                        <p:animMotion origin="layout" path="M 1.11022E-16 4.44444E-6 L -0.00352 -0.022 " pathEditMode="relative" rAng="0" ptsTypes="AA">
                                          <p:cBhvr>
                                            <p:cTn id="11" dur="5000" fill="hold"/>
                                            <p:tgtEl>
                                              <p:spTgt spid="22"/>
                                            </p:tgtEl>
                                            <p:attrNameLst>
                                              <p:attrName>ppt_x</p:attrName>
                                              <p:attrName>ppt_y</p:attrName>
                                            </p:attrNameLst>
                                          </p:cBhvr>
                                          <p:rCtr x="-182" y="-1111"/>
                                        </p:animMotion>
                                      </p:childTnLst>
                                    </p:cTn>
                                  </p:par>
                                  <p:par>
                                    <p:cTn id="12" presetID="10" presetClass="entr" presetSubtype="0"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fade">
                                          <p:cBhvr>
                                            <p:cTn id="14" dur="1500"/>
                                            <p:tgtEl>
                                              <p:spTgt spid="84"/>
                                            </p:tgtEl>
                                          </p:cBhvr>
                                        </p:animEffect>
                                      </p:childTnLst>
                                    </p:cTn>
                                  </p:par>
                                  <p:par>
                                    <p:cTn id="15" presetID="6" presetClass="emph" presetSubtype="0" decel="100000" fill="hold" nodeType="withEffect">
                                      <p:stCondLst>
                                        <p:cond delay="0"/>
                                      </p:stCondLst>
                                      <p:childTnLst>
                                        <p:animScale>
                                          <p:cBhvr>
                                            <p:cTn id="16" dur="5000" fill="hold"/>
                                            <p:tgtEl>
                                              <p:spTgt spid="84"/>
                                            </p:tgtEl>
                                          </p:cBhvr>
                                          <p:by x="105000" y="105000"/>
                                        </p:animScale>
                                      </p:childTnLst>
                                    </p:cTn>
                                  </p:par>
                                  <p:par>
                                    <p:cTn id="17" presetID="2" presetClass="entr" presetSubtype="4" decel="100000" fill="hold" nodeType="withEffect">
                                      <p:stCondLst>
                                        <p:cond delay="0"/>
                                      </p:stCondLst>
                                      <p:childTnLst>
                                        <p:set>
                                          <p:cBhvr>
                                            <p:cTn id="18" dur="1" fill="hold">
                                              <p:stCondLst>
                                                <p:cond delay="0"/>
                                              </p:stCondLst>
                                            </p:cTn>
                                            <p:tgtEl>
                                              <p:spTgt spid="90"/>
                                            </p:tgtEl>
                                            <p:attrNameLst>
                                              <p:attrName>style.visibility</p:attrName>
                                            </p:attrNameLst>
                                          </p:cBhvr>
                                          <p:to>
                                            <p:strVal val="visible"/>
                                          </p:to>
                                        </p:set>
                                        <p:anim calcmode="lin" valueType="num">
                                          <p:cBhvr additive="base">
                                            <p:cTn id="19" dur="1500" fill="hold"/>
                                            <p:tgtEl>
                                              <p:spTgt spid="90"/>
                                            </p:tgtEl>
                                            <p:attrNameLst>
                                              <p:attrName>ppt_x</p:attrName>
                                            </p:attrNameLst>
                                          </p:cBhvr>
                                          <p:tavLst>
                                            <p:tav tm="0">
                                              <p:val>
                                                <p:strVal val="#ppt_x"/>
                                              </p:val>
                                            </p:tav>
                                            <p:tav tm="100000">
                                              <p:val>
                                                <p:strVal val="#ppt_x"/>
                                              </p:val>
                                            </p:tav>
                                          </p:tavLst>
                                        </p:anim>
                                        <p:anim calcmode="lin" valueType="num">
                                          <p:cBhvr additive="base">
                                            <p:cTn id="20" dur="1500" fill="hold"/>
                                            <p:tgtEl>
                                              <p:spTgt spid="90"/>
                                            </p:tgtEl>
                                            <p:attrNameLst>
                                              <p:attrName>ppt_y</p:attrName>
                                            </p:attrNameLst>
                                          </p:cBhvr>
                                          <p:tavLst>
                                            <p:tav tm="0">
                                              <p:val>
                                                <p:strVal val="1+#ppt_h/2"/>
                                              </p:val>
                                            </p:tav>
                                            <p:tav tm="100000">
                                              <p:val>
                                                <p:strVal val="#ppt_y"/>
                                              </p:val>
                                            </p:tav>
                                          </p:tavLst>
                                        </p:anim>
                                      </p:childTnLst>
                                    </p:cTn>
                                  </p:par>
                                  <p:par>
                                    <p:cTn id="21" presetID="6" presetClass="emph" presetSubtype="0" decel="100000" fill="hold" nodeType="withEffect">
                                      <p:stCondLst>
                                        <p:cond delay="0"/>
                                      </p:stCondLst>
                                      <p:childTnLst>
                                        <p:animScale>
                                          <p:cBhvr>
                                            <p:cTn id="22" dur="5000" fill="hold"/>
                                            <p:tgtEl>
                                              <p:spTgt spid="90"/>
                                            </p:tgtEl>
                                          </p:cBhvr>
                                          <p:by x="102500" y="102500"/>
                                        </p:animScale>
                                      </p:childTnLst>
                                    </p:cTn>
                                  </p:par>
                                  <p:par>
                                    <p:cTn id="23" presetID="10" presetClass="entr" presetSubtype="0" fill="hold" grpId="0" nodeType="withEffect">
                                      <p:stCondLst>
                                        <p:cond delay="0"/>
                                      </p:stCondLst>
                                      <p:iterate type="lt">
                                        <p:tmPct val="10000"/>
                                      </p:iterate>
                                      <p:childTnLst>
                                        <p:set>
                                          <p:cBhvr>
                                            <p:cTn id="24" dur="1" fill="hold">
                                              <p:stCondLst>
                                                <p:cond delay="0"/>
                                              </p:stCondLst>
                                            </p:cTn>
                                            <p:tgtEl>
                                              <p:spTgt spid="5"/>
                                            </p:tgtEl>
                                            <p:attrNameLst>
                                              <p:attrName>style.visibility</p:attrName>
                                            </p:attrNameLst>
                                          </p:cBhvr>
                                          <p:to>
                                            <p:strVal val="visible"/>
                                          </p:to>
                                        </p:set>
                                        <p:animEffect transition="in" filter="fade">
                                          <p:cBhvr>
                                            <p:cTn id="25" dur="400"/>
                                            <p:tgtEl>
                                              <p:spTgt spid="5"/>
                                            </p:tgtEl>
                                          </p:cBhvr>
                                        </p:animEffect>
                                      </p:childTnLst>
                                    </p:cTn>
                                  </p:par>
                                  <p:par>
                                    <p:cTn id="26" presetID="42" presetClass="path" presetSubtype="0" decel="100000" fill="hold" grpId="1" nodeType="withEffect">
                                      <p:stCondLst>
                                        <p:cond delay="0"/>
                                      </p:stCondLst>
                                      <p:iterate type="lt">
                                        <p:tmPct val="10000"/>
                                      </p:iterate>
                                      <p:childTnLst>
                                        <p:animMotion origin="layout" path="M -0.01719 -0.00023 L 2.08333E-7 -3.33333E-6 " pathEditMode="relative" rAng="0" ptsTypes="AA">
                                          <p:cBhvr>
                                            <p:cTn id="27" dur="400" fill="hold"/>
                                            <p:tgtEl>
                                              <p:spTgt spid="5"/>
                                            </p:tgtEl>
                                            <p:attrNameLst>
                                              <p:attrName>ppt_x</p:attrName>
                                              <p:attrName>ppt_y</p:attrName>
                                            </p:attrNameLst>
                                          </p:cBhvr>
                                          <p:rCtr x="859" y="0"/>
                                        </p:animMotion>
                                      </p:childTnLst>
                                    </p:cTn>
                                  </p:par>
                                  <p:par>
                                    <p:cTn id="28" presetID="2" presetClass="entr" presetSubtype="4" decel="100000" fill="hold" grpId="0" nodeType="withEffect">
                                      <p:stCondLst>
                                        <p:cond delay="2500"/>
                                      </p:stCondLst>
                                      <p:childTnLst>
                                        <p:set>
                                          <p:cBhvr>
                                            <p:cTn id="29" dur="1" fill="hold">
                                              <p:stCondLst>
                                                <p:cond delay="0"/>
                                              </p:stCondLst>
                                            </p:cTn>
                                            <p:tgtEl>
                                              <p:spTgt spid="20"/>
                                            </p:tgtEl>
                                            <p:attrNameLst>
                                              <p:attrName>style.visibility</p:attrName>
                                            </p:attrNameLst>
                                          </p:cBhvr>
                                          <p:to>
                                            <p:strVal val="visible"/>
                                          </p:to>
                                        </p:set>
                                        <p:anim calcmode="lin" valueType="num">
                                          <p:cBhvr additive="base">
                                            <p:cTn id="30" dur="1000" fill="hold"/>
                                            <p:tgtEl>
                                              <p:spTgt spid="20"/>
                                            </p:tgtEl>
                                            <p:attrNameLst>
                                              <p:attrName>ppt_x</p:attrName>
                                            </p:attrNameLst>
                                          </p:cBhvr>
                                          <p:tavLst>
                                            <p:tav tm="0">
                                              <p:val>
                                                <p:strVal val="#ppt_x"/>
                                              </p:val>
                                            </p:tav>
                                            <p:tav tm="100000">
                                              <p:val>
                                                <p:strVal val="#ppt_x"/>
                                              </p:val>
                                            </p:tav>
                                          </p:tavLst>
                                        </p:anim>
                                        <p:anim calcmode="lin" valueType="num">
                                          <p:cBhvr additive="base">
                                            <p:cTn id="31" dur="1000" fill="hold"/>
                                            <p:tgtEl>
                                              <p:spTgt spid="20"/>
                                            </p:tgtEl>
                                            <p:attrNameLst>
                                              <p:attrName>ppt_y</p:attrName>
                                            </p:attrNameLst>
                                          </p:cBhvr>
                                          <p:tavLst>
                                            <p:tav tm="0">
                                              <p:val>
                                                <p:strVal val="1+#ppt_h/2"/>
                                              </p:val>
                                            </p:tav>
                                            <p:tav tm="100000">
                                              <p:val>
                                                <p:strVal val="#ppt_y"/>
                                              </p:val>
                                            </p:tav>
                                          </p:tavLst>
                                        </p:anim>
                                      </p:childTnLst>
                                    </p:cTn>
                                  </p:par>
                                  <p:par>
                                    <p:cTn id="32" presetID="10" presetClass="entr" presetSubtype="0" fill="hold" grpId="0" nodeType="withEffect">
                                      <p:stCondLst>
                                        <p:cond delay="275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par>
                                    <p:cTn id="35" presetID="42" presetClass="path" presetSubtype="0" decel="100000" fill="hold" grpId="1" nodeType="withEffect">
                                      <p:stCondLst>
                                        <p:cond delay="2750"/>
                                      </p:stCondLst>
                                      <p:childTnLst>
                                        <p:animMotion origin="layout" path="M 2.5E-6 0.03889 L 2.5E-6 2.59259E-6 " pathEditMode="relative" rAng="0" ptsTypes="AA">
                                          <p:cBhvr>
                                            <p:cTn id="36" dur="750" fill="hold"/>
                                            <p:tgtEl>
                                              <p:spTgt spid="24"/>
                                            </p:tgtEl>
                                            <p:attrNameLst>
                                              <p:attrName>ppt_x</p:attrName>
                                              <p:attrName>ppt_y</p:attrName>
                                            </p:attrNameLst>
                                          </p:cBhvr>
                                          <p:rCtr x="0" y="-1944"/>
                                        </p:animMotion>
                                      </p:childTnLst>
                                    </p:cTn>
                                  </p:par>
                                  <p:par>
                                    <p:cTn id="37" presetID="23" presetClass="entr" presetSubtype="16" fill="hold" nodeType="withEffect">
                                      <p:stCondLst>
                                        <p:cond delay="2750"/>
                                      </p:stCondLst>
                                      <p:childTnLst>
                                        <p:set>
                                          <p:cBhvr>
                                            <p:cTn id="38" dur="1" fill="hold">
                                              <p:stCondLst>
                                                <p:cond delay="0"/>
                                              </p:stCondLst>
                                            </p:cTn>
                                            <p:tgtEl>
                                              <p:spTgt spid="74"/>
                                            </p:tgtEl>
                                            <p:attrNameLst>
                                              <p:attrName>style.visibility</p:attrName>
                                            </p:attrNameLst>
                                          </p:cBhvr>
                                          <p:to>
                                            <p:strVal val="visible"/>
                                          </p:to>
                                        </p:set>
                                        <p:anim calcmode="lin" valueType="num">
                                          <p:cBhvr>
                                            <p:cTn id="39" dur="200" fill="hold"/>
                                            <p:tgtEl>
                                              <p:spTgt spid="74"/>
                                            </p:tgtEl>
                                            <p:attrNameLst>
                                              <p:attrName>ppt_w</p:attrName>
                                            </p:attrNameLst>
                                          </p:cBhvr>
                                          <p:tavLst>
                                            <p:tav tm="0">
                                              <p:val>
                                                <p:fltVal val="0"/>
                                              </p:val>
                                            </p:tav>
                                            <p:tav tm="100000">
                                              <p:val>
                                                <p:strVal val="#ppt_w"/>
                                              </p:val>
                                            </p:tav>
                                          </p:tavLst>
                                        </p:anim>
                                        <p:anim calcmode="lin" valueType="num">
                                          <p:cBhvr>
                                            <p:cTn id="40" dur="200" fill="hold"/>
                                            <p:tgtEl>
                                              <p:spTgt spid="74"/>
                                            </p:tgtEl>
                                            <p:attrNameLst>
                                              <p:attrName>ppt_h</p:attrName>
                                            </p:attrNameLst>
                                          </p:cBhvr>
                                          <p:tavLst>
                                            <p:tav tm="0">
                                              <p:val>
                                                <p:fltVal val="0"/>
                                              </p:val>
                                            </p:tav>
                                            <p:tav tm="100000">
                                              <p:val>
                                                <p:strVal val="#ppt_h"/>
                                              </p:val>
                                            </p:tav>
                                          </p:tavLst>
                                        </p:anim>
                                      </p:childTnLst>
                                    </p:cTn>
                                  </p:par>
                                  <p:par>
                                    <p:cTn id="41" presetID="6" presetClass="emph" presetSubtype="0" fill="hold" nodeType="withEffect" p14:presetBounceEnd="99000">
                                      <p:stCondLst>
                                        <p:cond delay="2750"/>
                                      </p:stCondLst>
                                      <p:childTnLst>
                                        <p:animScale p14:bounceEnd="99000">
                                          <p:cBhvr>
                                            <p:cTn id="42" dur="1000" fill="hold"/>
                                            <p:tgtEl>
                                              <p:spTgt spid="74"/>
                                            </p:tgtEl>
                                          </p:cBhvr>
                                          <p:by x="110000" y="110000"/>
                                        </p:animScale>
                                      </p:childTnLst>
                                    </p:cTn>
                                  </p:par>
                                  <p:par>
                                    <p:cTn id="43" presetID="6" presetClass="emph" presetSubtype="0" accel="50000" decel="50000" fill="hold" nodeType="withEffect">
                                      <p:stCondLst>
                                        <p:cond delay="2750"/>
                                      </p:stCondLst>
                                      <p:childTnLst>
                                        <p:animScale>
                                          <p:cBhvr>
                                            <p:cTn id="44" dur="250" fill="hold"/>
                                            <p:tgtEl>
                                              <p:spTgt spid="74"/>
                                            </p:tgtEl>
                                          </p:cBhvr>
                                          <p:by x="91000" y="91000"/>
                                        </p:animScale>
                                      </p:childTnLst>
                                    </p:cTn>
                                  </p:par>
                                  <p:par>
                                    <p:cTn id="45" presetID="2" presetClass="entr" presetSubtype="4" decel="100000" fill="hold" grpId="0" nodeType="withEffect">
                                      <p:stCondLst>
                                        <p:cond delay="3000"/>
                                      </p:stCondLst>
                                      <p:childTnLst>
                                        <p:set>
                                          <p:cBhvr>
                                            <p:cTn id="46" dur="1" fill="hold">
                                              <p:stCondLst>
                                                <p:cond delay="0"/>
                                              </p:stCondLst>
                                            </p:cTn>
                                            <p:tgtEl>
                                              <p:spTgt spid="18"/>
                                            </p:tgtEl>
                                            <p:attrNameLst>
                                              <p:attrName>style.visibility</p:attrName>
                                            </p:attrNameLst>
                                          </p:cBhvr>
                                          <p:to>
                                            <p:strVal val="visible"/>
                                          </p:to>
                                        </p:set>
                                        <p:anim calcmode="lin" valueType="num">
                                          <p:cBhvr additive="base">
                                            <p:cTn id="47" dur="1000" fill="hold"/>
                                            <p:tgtEl>
                                              <p:spTgt spid="18"/>
                                            </p:tgtEl>
                                            <p:attrNameLst>
                                              <p:attrName>ppt_x</p:attrName>
                                            </p:attrNameLst>
                                          </p:cBhvr>
                                          <p:tavLst>
                                            <p:tav tm="0">
                                              <p:val>
                                                <p:strVal val="#ppt_x"/>
                                              </p:val>
                                            </p:tav>
                                            <p:tav tm="100000">
                                              <p:val>
                                                <p:strVal val="#ppt_x"/>
                                              </p:val>
                                            </p:tav>
                                          </p:tavLst>
                                        </p:anim>
                                        <p:anim calcmode="lin" valueType="num">
                                          <p:cBhvr additive="base">
                                            <p:cTn id="48" dur="1000" fill="hold"/>
                                            <p:tgtEl>
                                              <p:spTgt spid="18"/>
                                            </p:tgtEl>
                                            <p:attrNameLst>
                                              <p:attrName>ppt_y</p:attrName>
                                            </p:attrNameLst>
                                          </p:cBhvr>
                                          <p:tavLst>
                                            <p:tav tm="0">
                                              <p:val>
                                                <p:strVal val="1+#ppt_h/2"/>
                                              </p:val>
                                            </p:tav>
                                            <p:tav tm="100000">
                                              <p:val>
                                                <p:strVal val="#ppt_y"/>
                                              </p:val>
                                            </p:tav>
                                          </p:tavLst>
                                        </p:anim>
                                      </p:childTnLst>
                                    </p:cTn>
                                  </p:par>
                                  <p:par>
                                    <p:cTn id="49" presetID="10" presetClass="entr" presetSubtype="0" fill="hold" grpId="0" nodeType="withEffect">
                                      <p:stCondLst>
                                        <p:cond delay="325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par>
                                    <p:cTn id="52" presetID="42" presetClass="path" presetSubtype="0" decel="100000" fill="hold" grpId="1" nodeType="withEffect">
                                      <p:stCondLst>
                                        <p:cond delay="3250"/>
                                      </p:stCondLst>
                                      <p:childTnLst>
                                        <p:animMotion origin="layout" path="M -2.91667E-6 0.03889 L -2.91667E-6 2.59259E-6 " pathEditMode="relative" rAng="0" ptsTypes="AA">
                                          <p:cBhvr>
                                            <p:cTn id="53" dur="750" fill="hold"/>
                                            <p:tgtEl>
                                              <p:spTgt spid="30"/>
                                            </p:tgtEl>
                                            <p:attrNameLst>
                                              <p:attrName>ppt_x</p:attrName>
                                              <p:attrName>ppt_y</p:attrName>
                                            </p:attrNameLst>
                                          </p:cBhvr>
                                          <p:rCtr x="0" y="-1944"/>
                                        </p:animMotion>
                                      </p:childTnLst>
                                    </p:cTn>
                                  </p:par>
                                  <p:par>
                                    <p:cTn id="54" presetID="23" presetClass="entr" presetSubtype="16" fill="hold" nodeType="withEffect">
                                      <p:stCondLst>
                                        <p:cond delay="3250"/>
                                      </p:stCondLst>
                                      <p:childTnLst>
                                        <p:set>
                                          <p:cBhvr>
                                            <p:cTn id="55" dur="1" fill="hold">
                                              <p:stCondLst>
                                                <p:cond delay="0"/>
                                              </p:stCondLst>
                                            </p:cTn>
                                            <p:tgtEl>
                                              <p:spTgt spid="75"/>
                                            </p:tgtEl>
                                            <p:attrNameLst>
                                              <p:attrName>style.visibility</p:attrName>
                                            </p:attrNameLst>
                                          </p:cBhvr>
                                          <p:to>
                                            <p:strVal val="visible"/>
                                          </p:to>
                                        </p:set>
                                        <p:anim calcmode="lin" valueType="num">
                                          <p:cBhvr>
                                            <p:cTn id="56" dur="200" fill="hold"/>
                                            <p:tgtEl>
                                              <p:spTgt spid="75"/>
                                            </p:tgtEl>
                                            <p:attrNameLst>
                                              <p:attrName>ppt_w</p:attrName>
                                            </p:attrNameLst>
                                          </p:cBhvr>
                                          <p:tavLst>
                                            <p:tav tm="0">
                                              <p:val>
                                                <p:fltVal val="0"/>
                                              </p:val>
                                            </p:tav>
                                            <p:tav tm="100000">
                                              <p:val>
                                                <p:strVal val="#ppt_w"/>
                                              </p:val>
                                            </p:tav>
                                          </p:tavLst>
                                        </p:anim>
                                        <p:anim calcmode="lin" valueType="num">
                                          <p:cBhvr>
                                            <p:cTn id="57" dur="200" fill="hold"/>
                                            <p:tgtEl>
                                              <p:spTgt spid="75"/>
                                            </p:tgtEl>
                                            <p:attrNameLst>
                                              <p:attrName>ppt_h</p:attrName>
                                            </p:attrNameLst>
                                          </p:cBhvr>
                                          <p:tavLst>
                                            <p:tav tm="0">
                                              <p:val>
                                                <p:fltVal val="0"/>
                                              </p:val>
                                            </p:tav>
                                            <p:tav tm="100000">
                                              <p:val>
                                                <p:strVal val="#ppt_h"/>
                                              </p:val>
                                            </p:tav>
                                          </p:tavLst>
                                        </p:anim>
                                      </p:childTnLst>
                                    </p:cTn>
                                  </p:par>
                                  <p:par>
                                    <p:cTn id="58" presetID="6" presetClass="emph" presetSubtype="0" fill="hold" nodeType="withEffect" p14:presetBounceEnd="99000">
                                      <p:stCondLst>
                                        <p:cond delay="3250"/>
                                      </p:stCondLst>
                                      <p:childTnLst>
                                        <p:animScale p14:bounceEnd="99000">
                                          <p:cBhvr>
                                            <p:cTn id="59" dur="1000" fill="hold"/>
                                            <p:tgtEl>
                                              <p:spTgt spid="75"/>
                                            </p:tgtEl>
                                          </p:cBhvr>
                                          <p:by x="110000" y="110000"/>
                                        </p:animScale>
                                      </p:childTnLst>
                                    </p:cTn>
                                  </p:par>
                                  <p:par>
                                    <p:cTn id="60" presetID="6" presetClass="emph" presetSubtype="0" accel="50000" decel="50000" fill="hold" nodeType="withEffect">
                                      <p:stCondLst>
                                        <p:cond delay="3250"/>
                                      </p:stCondLst>
                                      <p:childTnLst>
                                        <p:animScale>
                                          <p:cBhvr>
                                            <p:cTn id="61" dur="250" fill="hold"/>
                                            <p:tgtEl>
                                              <p:spTgt spid="75"/>
                                            </p:tgtEl>
                                          </p:cBhvr>
                                          <p:by x="91000" y="91000"/>
                                        </p:animScale>
                                      </p:childTnLst>
                                    </p:cTn>
                                  </p:par>
                                  <p:par>
                                    <p:cTn id="62" presetID="2" presetClass="entr" presetSubtype="4" decel="100000" fill="hold" grpId="0" nodeType="withEffect">
                                      <p:stCondLst>
                                        <p:cond delay="3500"/>
                                      </p:stCondLst>
                                      <p:childTnLst>
                                        <p:set>
                                          <p:cBhvr>
                                            <p:cTn id="63" dur="1" fill="hold">
                                              <p:stCondLst>
                                                <p:cond delay="0"/>
                                              </p:stCondLst>
                                            </p:cTn>
                                            <p:tgtEl>
                                              <p:spTgt spid="17"/>
                                            </p:tgtEl>
                                            <p:attrNameLst>
                                              <p:attrName>style.visibility</p:attrName>
                                            </p:attrNameLst>
                                          </p:cBhvr>
                                          <p:to>
                                            <p:strVal val="visible"/>
                                          </p:to>
                                        </p:set>
                                        <p:anim calcmode="lin" valueType="num">
                                          <p:cBhvr additive="base">
                                            <p:cTn id="64" dur="1000" fill="hold"/>
                                            <p:tgtEl>
                                              <p:spTgt spid="17"/>
                                            </p:tgtEl>
                                            <p:attrNameLst>
                                              <p:attrName>ppt_x</p:attrName>
                                            </p:attrNameLst>
                                          </p:cBhvr>
                                          <p:tavLst>
                                            <p:tav tm="0">
                                              <p:val>
                                                <p:strVal val="#ppt_x"/>
                                              </p:val>
                                            </p:tav>
                                            <p:tav tm="100000">
                                              <p:val>
                                                <p:strVal val="#ppt_x"/>
                                              </p:val>
                                            </p:tav>
                                          </p:tavLst>
                                        </p:anim>
                                        <p:anim calcmode="lin" valueType="num">
                                          <p:cBhvr additive="base">
                                            <p:cTn id="65" dur="1000" fill="hold"/>
                                            <p:tgtEl>
                                              <p:spTgt spid="17"/>
                                            </p:tgtEl>
                                            <p:attrNameLst>
                                              <p:attrName>ppt_y</p:attrName>
                                            </p:attrNameLst>
                                          </p:cBhvr>
                                          <p:tavLst>
                                            <p:tav tm="0">
                                              <p:val>
                                                <p:strVal val="1+#ppt_h/2"/>
                                              </p:val>
                                            </p:tav>
                                            <p:tav tm="100000">
                                              <p:val>
                                                <p:strVal val="#ppt_y"/>
                                              </p:val>
                                            </p:tav>
                                          </p:tavLst>
                                        </p:anim>
                                      </p:childTnLst>
                                    </p:cTn>
                                  </p:par>
                                  <p:par>
                                    <p:cTn id="66" presetID="10" presetClass="entr" presetSubtype="0" fill="hold" grpId="0" nodeType="withEffect">
                                      <p:stCondLst>
                                        <p:cond delay="3750"/>
                                      </p:stCondLst>
                                      <p:childTnLst>
                                        <p:set>
                                          <p:cBhvr>
                                            <p:cTn id="67" dur="1" fill="hold">
                                              <p:stCondLst>
                                                <p:cond delay="0"/>
                                              </p:stCondLst>
                                            </p:cTn>
                                            <p:tgtEl>
                                              <p:spTgt spid="31"/>
                                            </p:tgtEl>
                                            <p:attrNameLst>
                                              <p:attrName>style.visibility</p:attrName>
                                            </p:attrNameLst>
                                          </p:cBhvr>
                                          <p:to>
                                            <p:strVal val="visible"/>
                                          </p:to>
                                        </p:set>
                                        <p:animEffect transition="in" filter="fade">
                                          <p:cBhvr>
                                            <p:cTn id="68" dur="500"/>
                                            <p:tgtEl>
                                              <p:spTgt spid="31"/>
                                            </p:tgtEl>
                                          </p:cBhvr>
                                        </p:animEffect>
                                      </p:childTnLst>
                                    </p:cTn>
                                  </p:par>
                                  <p:par>
                                    <p:cTn id="69" presetID="42" presetClass="path" presetSubtype="0" decel="100000" fill="hold" grpId="1" nodeType="withEffect">
                                      <p:stCondLst>
                                        <p:cond delay="3750"/>
                                      </p:stCondLst>
                                      <p:childTnLst>
                                        <p:animMotion origin="layout" path="M 0 0.03889 L 0 2.59259E-6 " pathEditMode="relative" rAng="0" ptsTypes="AA">
                                          <p:cBhvr>
                                            <p:cTn id="70" dur="750" fill="hold"/>
                                            <p:tgtEl>
                                              <p:spTgt spid="31"/>
                                            </p:tgtEl>
                                            <p:attrNameLst>
                                              <p:attrName>ppt_x</p:attrName>
                                              <p:attrName>ppt_y</p:attrName>
                                            </p:attrNameLst>
                                          </p:cBhvr>
                                          <p:rCtr x="0" y="-1944"/>
                                        </p:animMotion>
                                      </p:childTnLst>
                                    </p:cTn>
                                  </p:par>
                                  <p:par>
                                    <p:cTn id="71" presetID="23" presetClass="entr" presetSubtype="16" fill="hold" nodeType="withEffect">
                                      <p:stCondLst>
                                        <p:cond delay="3750"/>
                                      </p:stCondLst>
                                      <p:childTnLst>
                                        <p:set>
                                          <p:cBhvr>
                                            <p:cTn id="72" dur="1" fill="hold">
                                              <p:stCondLst>
                                                <p:cond delay="0"/>
                                              </p:stCondLst>
                                            </p:cTn>
                                            <p:tgtEl>
                                              <p:spTgt spid="76"/>
                                            </p:tgtEl>
                                            <p:attrNameLst>
                                              <p:attrName>style.visibility</p:attrName>
                                            </p:attrNameLst>
                                          </p:cBhvr>
                                          <p:to>
                                            <p:strVal val="visible"/>
                                          </p:to>
                                        </p:set>
                                        <p:anim calcmode="lin" valueType="num">
                                          <p:cBhvr>
                                            <p:cTn id="73" dur="200" fill="hold"/>
                                            <p:tgtEl>
                                              <p:spTgt spid="76"/>
                                            </p:tgtEl>
                                            <p:attrNameLst>
                                              <p:attrName>ppt_w</p:attrName>
                                            </p:attrNameLst>
                                          </p:cBhvr>
                                          <p:tavLst>
                                            <p:tav tm="0">
                                              <p:val>
                                                <p:fltVal val="0"/>
                                              </p:val>
                                            </p:tav>
                                            <p:tav tm="100000">
                                              <p:val>
                                                <p:strVal val="#ppt_w"/>
                                              </p:val>
                                            </p:tav>
                                          </p:tavLst>
                                        </p:anim>
                                        <p:anim calcmode="lin" valueType="num">
                                          <p:cBhvr>
                                            <p:cTn id="74" dur="200" fill="hold"/>
                                            <p:tgtEl>
                                              <p:spTgt spid="76"/>
                                            </p:tgtEl>
                                            <p:attrNameLst>
                                              <p:attrName>ppt_h</p:attrName>
                                            </p:attrNameLst>
                                          </p:cBhvr>
                                          <p:tavLst>
                                            <p:tav tm="0">
                                              <p:val>
                                                <p:fltVal val="0"/>
                                              </p:val>
                                            </p:tav>
                                            <p:tav tm="100000">
                                              <p:val>
                                                <p:strVal val="#ppt_h"/>
                                              </p:val>
                                            </p:tav>
                                          </p:tavLst>
                                        </p:anim>
                                      </p:childTnLst>
                                    </p:cTn>
                                  </p:par>
                                  <p:par>
                                    <p:cTn id="75" presetID="6" presetClass="emph" presetSubtype="0" fill="hold" nodeType="withEffect" p14:presetBounceEnd="99000">
                                      <p:stCondLst>
                                        <p:cond delay="3750"/>
                                      </p:stCondLst>
                                      <p:childTnLst>
                                        <p:animScale p14:bounceEnd="99000">
                                          <p:cBhvr>
                                            <p:cTn id="76" dur="1000" fill="hold"/>
                                            <p:tgtEl>
                                              <p:spTgt spid="76"/>
                                            </p:tgtEl>
                                          </p:cBhvr>
                                          <p:by x="110000" y="110000"/>
                                        </p:animScale>
                                      </p:childTnLst>
                                    </p:cTn>
                                  </p:par>
                                  <p:par>
                                    <p:cTn id="77" presetID="6" presetClass="emph" presetSubtype="0" accel="50000" decel="50000" fill="hold" nodeType="withEffect">
                                      <p:stCondLst>
                                        <p:cond delay="3750"/>
                                      </p:stCondLst>
                                      <p:childTnLst>
                                        <p:animScale>
                                          <p:cBhvr>
                                            <p:cTn id="78" dur="250" fill="hold"/>
                                            <p:tgtEl>
                                              <p:spTgt spid="76"/>
                                            </p:tgtEl>
                                          </p:cBhvr>
                                          <p:by x="91000" y="91000"/>
                                        </p:animScale>
                                      </p:childTnLst>
                                    </p:cTn>
                                  </p:par>
                                  <p:par>
                                    <p:cTn id="79" presetID="2" presetClass="entr" presetSubtype="4" decel="100000" fill="hold" grpId="0" nodeType="withEffect">
                                      <p:stCondLst>
                                        <p:cond delay="4000"/>
                                      </p:stCondLst>
                                      <p:childTnLst>
                                        <p:set>
                                          <p:cBhvr>
                                            <p:cTn id="80" dur="1" fill="hold">
                                              <p:stCondLst>
                                                <p:cond delay="0"/>
                                              </p:stCondLst>
                                            </p:cTn>
                                            <p:tgtEl>
                                              <p:spTgt spid="16"/>
                                            </p:tgtEl>
                                            <p:attrNameLst>
                                              <p:attrName>style.visibility</p:attrName>
                                            </p:attrNameLst>
                                          </p:cBhvr>
                                          <p:to>
                                            <p:strVal val="visible"/>
                                          </p:to>
                                        </p:set>
                                        <p:anim calcmode="lin" valueType="num">
                                          <p:cBhvr additive="base">
                                            <p:cTn id="81" dur="1000" fill="hold"/>
                                            <p:tgtEl>
                                              <p:spTgt spid="16"/>
                                            </p:tgtEl>
                                            <p:attrNameLst>
                                              <p:attrName>ppt_x</p:attrName>
                                            </p:attrNameLst>
                                          </p:cBhvr>
                                          <p:tavLst>
                                            <p:tav tm="0">
                                              <p:val>
                                                <p:strVal val="#ppt_x"/>
                                              </p:val>
                                            </p:tav>
                                            <p:tav tm="100000">
                                              <p:val>
                                                <p:strVal val="#ppt_x"/>
                                              </p:val>
                                            </p:tav>
                                          </p:tavLst>
                                        </p:anim>
                                        <p:anim calcmode="lin" valueType="num">
                                          <p:cBhvr additive="base">
                                            <p:cTn id="82" dur="1000" fill="hold"/>
                                            <p:tgtEl>
                                              <p:spTgt spid="16"/>
                                            </p:tgtEl>
                                            <p:attrNameLst>
                                              <p:attrName>ppt_y</p:attrName>
                                            </p:attrNameLst>
                                          </p:cBhvr>
                                          <p:tavLst>
                                            <p:tav tm="0">
                                              <p:val>
                                                <p:strVal val="1+#ppt_h/2"/>
                                              </p:val>
                                            </p:tav>
                                            <p:tav tm="100000">
                                              <p:val>
                                                <p:strVal val="#ppt_y"/>
                                              </p:val>
                                            </p:tav>
                                          </p:tavLst>
                                        </p:anim>
                                      </p:childTnLst>
                                    </p:cTn>
                                  </p:par>
                                  <p:par>
                                    <p:cTn id="83" presetID="10" presetClass="entr" presetSubtype="0" fill="hold" grpId="0" nodeType="withEffect">
                                      <p:stCondLst>
                                        <p:cond delay="4250"/>
                                      </p:stCondLst>
                                      <p:childTnLst>
                                        <p:set>
                                          <p:cBhvr>
                                            <p:cTn id="84" dur="1" fill="hold">
                                              <p:stCondLst>
                                                <p:cond delay="0"/>
                                              </p:stCondLst>
                                            </p:cTn>
                                            <p:tgtEl>
                                              <p:spTgt spid="32"/>
                                            </p:tgtEl>
                                            <p:attrNameLst>
                                              <p:attrName>style.visibility</p:attrName>
                                            </p:attrNameLst>
                                          </p:cBhvr>
                                          <p:to>
                                            <p:strVal val="visible"/>
                                          </p:to>
                                        </p:set>
                                        <p:animEffect transition="in" filter="fade">
                                          <p:cBhvr>
                                            <p:cTn id="85" dur="500"/>
                                            <p:tgtEl>
                                              <p:spTgt spid="32"/>
                                            </p:tgtEl>
                                          </p:cBhvr>
                                        </p:animEffect>
                                      </p:childTnLst>
                                    </p:cTn>
                                  </p:par>
                                  <p:par>
                                    <p:cTn id="86" presetID="42" presetClass="path" presetSubtype="0" decel="100000" fill="hold" grpId="1" nodeType="withEffect">
                                      <p:stCondLst>
                                        <p:cond delay="4250"/>
                                      </p:stCondLst>
                                      <p:childTnLst>
                                        <p:animMotion origin="layout" path="M 3.125E-6 0.03889 L 3.125E-6 2.59259E-6 " pathEditMode="relative" rAng="0" ptsTypes="AA">
                                          <p:cBhvr>
                                            <p:cTn id="87" dur="750" fill="hold"/>
                                            <p:tgtEl>
                                              <p:spTgt spid="32"/>
                                            </p:tgtEl>
                                            <p:attrNameLst>
                                              <p:attrName>ppt_x</p:attrName>
                                              <p:attrName>ppt_y</p:attrName>
                                            </p:attrNameLst>
                                          </p:cBhvr>
                                          <p:rCtr x="0" y="-1944"/>
                                        </p:animMotion>
                                      </p:childTnLst>
                                    </p:cTn>
                                  </p:par>
                                  <p:par>
                                    <p:cTn id="88" presetID="23" presetClass="entr" presetSubtype="16" fill="hold" nodeType="withEffect">
                                      <p:stCondLst>
                                        <p:cond delay="4250"/>
                                      </p:stCondLst>
                                      <p:childTnLst>
                                        <p:set>
                                          <p:cBhvr>
                                            <p:cTn id="89" dur="1" fill="hold">
                                              <p:stCondLst>
                                                <p:cond delay="0"/>
                                              </p:stCondLst>
                                            </p:cTn>
                                            <p:tgtEl>
                                              <p:spTgt spid="77"/>
                                            </p:tgtEl>
                                            <p:attrNameLst>
                                              <p:attrName>style.visibility</p:attrName>
                                            </p:attrNameLst>
                                          </p:cBhvr>
                                          <p:to>
                                            <p:strVal val="visible"/>
                                          </p:to>
                                        </p:set>
                                        <p:anim calcmode="lin" valueType="num">
                                          <p:cBhvr>
                                            <p:cTn id="90" dur="200" fill="hold"/>
                                            <p:tgtEl>
                                              <p:spTgt spid="77"/>
                                            </p:tgtEl>
                                            <p:attrNameLst>
                                              <p:attrName>ppt_w</p:attrName>
                                            </p:attrNameLst>
                                          </p:cBhvr>
                                          <p:tavLst>
                                            <p:tav tm="0">
                                              <p:val>
                                                <p:fltVal val="0"/>
                                              </p:val>
                                            </p:tav>
                                            <p:tav tm="100000">
                                              <p:val>
                                                <p:strVal val="#ppt_w"/>
                                              </p:val>
                                            </p:tav>
                                          </p:tavLst>
                                        </p:anim>
                                        <p:anim calcmode="lin" valueType="num">
                                          <p:cBhvr>
                                            <p:cTn id="91" dur="200" fill="hold"/>
                                            <p:tgtEl>
                                              <p:spTgt spid="77"/>
                                            </p:tgtEl>
                                            <p:attrNameLst>
                                              <p:attrName>ppt_h</p:attrName>
                                            </p:attrNameLst>
                                          </p:cBhvr>
                                          <p:tavLst>
                                            <p:tav tm="0">
                                              <p:val>
                                                <p:fltVal val="0"/>
                                              </p:val>
                                            </p:tav>
                                            <p:tav tm="100000">
                                              <p:val>
                                                <p:strVal val="#ppt_h"/>
                                              </p:val>
                                            </p:tav>
                                          </p:tavLst>
                                        </p:anim>
                                      </p:childTnLst>
                                    </p:cTn>
                                  </p:par>
                                  <p:par>
                                    <p:cTn id="92" presetID="6" presetClass="emph" presetSubtype="0" fill="hold" nodeType="withEffect" p14:presetBounceEnd="99000">
                                      <p:stCondLst>
                                        <p:cond delay="4250"/>
                                      </p:stCondLst>
                                      <p:childTnLst>
                                        <p:animScale p14:bounceEnd="99000">
                                          <p:cBhvr>
                                            <p:cTn id="93" dur="1000" fill="hold"/>
                                            <p:tgtEl>
                                              <p:spTgt spid="77"/>
                                            </p:tgtEl>
                                          </p:cBhvr>
                                          <p:by x="110000" y="110000"/>
                                        </p:animScale>
                                      </p:childTnLst>
                                    </p:cTn>
                                  </p:par>
                                  <p:par>
                                    <p:cTn id="94" presetID="6" presetClass="emph" presetSubtype="0" accel="50000" decel="50000" fill="hold" nodeType="withEffect">
                                      <p:stCondLst>
                                        <p:cond delay="4250"/>
                                      </p:stCondLst>
                                      <p:childTnLst>
                                        <p:animScale>
                                          <p:cBhvr>
                                            <p:cTn id="95" dur="250" fill="hold"/>
                                            <p:tgtEl>
                                              <p:spTgt spid="77"/>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16" grpId="0" animBg="1"/>
          <p:bldP spid="17" grpId="0" animBg="1"/>
          <p:bldP spid="18" grpId="0" animBg="1"/>
          <p:bldP spid="20" grpId="0" animBg="1"/>
          <p:bldP spid="24" grpId="0"/>
          <p:bldP spid="24" grpId="1"/>
          <p:bldP spid="30" grpId="0"/>
          <p:bldP spid="30" grpId="1"/>
          <p:bldP spid="31" grpId="0"/>
          <p:bldP spid="31" grpId="1"/>
          <p:bldP spid="32" grpId="0"/>
          <p:bldP spid="32" grpId="1"/>
        </p:bldLst>
      </p:timing>
    </mc:Choice>
    <mc:Fallback xmlns:a14="http://schemas.microsoft.com/office/drawing/2010/main" xmlns:a16="http://schemas.microsoft.com/office/drawing/2014/main"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1500"/>
                                            <p:tgtEl>
                                              <p:spTgt spid="22"/>
                                            </p:tgtEl>
                                          </p:cBhvr>
                                        </p:animEffect>
                                      </p:childTnLst>
                                    </p:cTn>
                                  </p:par>
                                  <p:par>
                                    <p:cTn id="8" presetID="6" presetClass="emph" presetSubtype="0" decel="100000" fill="hold" nodeType="withEffect">
                                      <p:stCondLst>
                                        <p:cond delay="0"/>
                                      </p:stCondLst>
                                      <p:childTnLst>
                                        <p:animScale>
                                          <p:cBhvr>
                                            <p:cTn id="9" dur="5000" fill="hold"/>
                                            <p:tgtEl>
                                              <p:spTgt spid="22"/>
                                            </p:tgtEl>
                                          </p:cBhvr>
                                          <p:by x="102500" y="102500"/>
                                        </p:animScale>
                                      </p:childTnLst>
                                    </p:cTn>
                                  </p:par>
                                  <p:par>
                                    <p:cTn id="10" presetID="42" presetClass="path" presetSubtype="0" decel="100000" fill="hold" nodeType="withEffect">
                                      <p:stCondLst>
                                        <p:cond delay="0"/>
                                      </p:stCondLst>
                                      <p:childTnLst>
                                        <p:animMotion origin="layout" path="M 1.11022E-16 4.44444E-6 L -0.00352 -0.022 " pathEditMode="relative" rAng="0" ptsTypes="AA">
                                          <p:cBhvr>
                                            <p:cTn id="11" dur="5000" fill="hold"/>
                                            <p:tgtEl>
                                              <p:spTgt spid="22"/>
                                            </p:tgtEl>
                                            <p:attrNameLst>
                                              <p:attrName>ppt_x</p:attrName>
                                              <p:attrName>ppt_y</p:attrName>
                                            </p:attrNameLst>
                                          </p:cBhvr>
                                          <p:rCtr x="-182" y="-1111"/>
                                        </p:animMotion>
                                      </p:childTnLst>
                                    </p:cTn>
                                  </p:par>
                                  <p:par>
                                    <p:cTn id="12" presetID="10" presetClass="entr" presetSubtype="0" fill="hold" nodeType="withEffect">
                                      <p:stCondLst>
                                        <p:cond delay="0"/>
                                      </p:stCondLst>
                                      <p:childTnLst>
                                        <p:set>
                                          <p:cBhvr>
                                            <p:cTn id="13" dur="1" fill="hold">
                                              <p:stCondLst>
                                                <p:cond delay="0"/>
                                              </p:stCondLst>
                                            </p:cTn>
                                            <p:tgtEl>
                                              <p:spTgt spid="84"/>
                                            </p:tgtEl>
                                            <p:attrNameLst>
                                              <p:attrName>style.visibility</p:attrName>
                                            </p:attrNameLst>
                                          </p:cBhvr>
                                          <p:to>
                                            <p:strVal val="visible"/>
                                          </p:to>
                                        </p:set>
                                        <p:animEffect transition="in" filter="fade">
                                          <p:cBhvr>
                                            <p:cTn id="14" dur="1500"/>
                                            <p:tgtEl>
                                              <p:spTgt spid="84"/>
                                            </p:tgtEl>
                                          </p:cBhvr>
                                        </p:animEffect>
                                      </p:childTnLst>
                                    </p:cTn>
                                  </p:par>
                                  <p:par>
                                    <p:cTn id="15" presetID="6" presetClass="emph" presetSubtype="0" decel="100000" fill="hold" nodeType="withEffect">
                                      <p:stCondLst>
                                        <p:cond delay="0"/>
                                      </p:stCondLst>
                                      <p:childTnLst>
                                        <p:animScale>
                                          <p:cBhvr>
                                            <p:cTn id="16" dur="5000" fill="hold"/>
                                            <p:tgtEl>
                                              <p:spTgt spid="84"/>
                                            </p:tgtEl>
                                          </p:cBhvr>
                                          <p:by x="105000" y="105000"/>
                                        </p:animScale>
                                      </p:childTnLst>
                                    </p:cTn>
                                  </p:par>
                                  <p:par>
                                    <p:cTn id="17" presetID="2" presetClass="entr" presetSubtype="4" decel="100000" fill="hold" nodeType="withEffect">
                                      <p:stCondLst>
                                        <p:cond delay="0"/>
                                      </p:stCondLst>
                                      <p:childTnLst>
                                        <p:set>
                                          <p:cBhvr>
                                            <p:cTn id="18" dur="1" fill="hold">
                                              <p:stCondLst>
                                                <p:cond delay="0"/>
                                              </p:stCondLst>
                                            </p:cTn>
                                            <p:tgtEl>
                                              <p:spTgt spid="90"/>
                                            </p:tgtEl>
                                            <p:attrNameLst>
                                              <p:attrName>style.visibility</p:attrName>
                                            </p:attrNameLst>
                                          </p:cBhvr>
                                          <p:to>
                                            <p:strVal val="visible"/>
                                          </p:to>
                                        </p:set>
                                        <p:anim calcmode="lin" valueType="num">
                                          <p:cBhvr additive="base">
                                            <p:cTn id="19" dur="1500" fill="hold"/>
                                            <p:tgtEl>
                                              <p:spTgt spid="90"/>
                                            </p:tgtEl>
                                            <p:attrNameLst>
                                              <p:attrName>ppt_x</p:attrName>
                                            </p:attrNameLst>
                                          </p:cBhvr>
                                          <p:tavLst>
                                            <p:tav tm="0">
                                              <p:val>
                                                <p:strVal val="#ppt_x"/>
                                              </p:val>
                                            </p:tav>
                                            <p:tav tm="100000">
                                              <p:val>
                                                <p:strVal val="#ppt_x"/>
                                              </p:val>
                                            </p:tav>
                                          </p:tavLst>
                                        </p:anim>
                                        <p:anim calcmode="lin" valueType="num">
                                          <p:cBhvr additive="base">
                                            <p:cTn id="20" dur="1500" fill="hold"/>
                                            <p:tgtEl>
                                              <p:spTgt spid="90"/>
                                            </p:tgtEl>
                                            <p:attrNameLst>
                                              <p:attrName>ppt_y</p:attrName>
                                            </p:attrNameLst>
                                          </p:cBhvr>
                                          <p:tavLst>
                                            <p:tav tm="0">
                                              <p:val>
                                                <p:strVal val="1+#ppt_h/2"/>
                                              </p:val>
                                            </p:tav>
                                            <p:tav tm="100000">
                                              <p:val>
                                                <p:strVal val="#ppt_y"/>
                                              </p:val>
                                            </p:tav>
                                          </p:tavLst>
                                        </p:anim>
                                      </p:childTnLst>
                                    </p:cTn>
                                  </p:par>
                                  <p:par>
                                    <p:cTn id="21" presetID="6" presetClass="emph" presetSubtype="0" decel="100000" fill="hold" nodeType="withEffect">
                                      <p:stCondLst>
                                        <p:cond delay="0"/>
                                      </p:stCondLst>
                                      <p:childTnLst>
                                        <p:animScale>
                                          <p:cBhvr>
                                            <p:cTn id="22" dur="5000" fill="hold"/>
                                            <p:tgtEl>
                                              <p:spTgt spid="90"/>
                                            </p:tgtEl>
                                          </p:cBhvr>
                                          <p:by x="102500" y="102500"/>
                                        </p:animScale>
                                      </p:childTnLst>
                                    </p:cTn>
                                  </p:par>
                                  <p:par>
                                    <p:cTn id="23" presetID="10" presetClass="entr" presetSubtype="0" fill="hold" grpId="0" nodeType="withEffect">
                                      <p:stCondLst>
                                        <p:cond delay="0"/>
                                      </p:stCondLst>
                                      <p:iterate type="lt">
                                        <p:tmPct val="10000"/>
                                      </p:iterate>
                                      <p:childTnLst>
                                        <p:set>
                                          <p:cBhvr>
                                            <p:cTn id="24" dur="1" fill="hold">
                                              <p:stCondLst>
                                                <p:cond delay="0"/>
                                              </p:stCondLst>
                                            </p:cTn>
                                            <p:tgtEl>
                                              <p:spTgt spid="5"/>
                                            </p:tgtEl>
                                            <p:attrNameLst>
                                              <p:attrName>style.visibility</p:attrName>
                                            </p:attrNameLst>
                                          </p:cBhvr>
                                          <p:to>
                                            <p:strVal val="visible"/>
                                          </p:to>
                                        </p:set>
                                        <p:animEffect transition="in" filter="fade">
                                          <p:cBhvr>
                                            <p:cTn id="25" dur="400"/>
                                            <p:tgtEl>
                                              <p:spTgt spid="5"/>
                                            </p:tgtEl>
                                          </p:cBhvr>
                                        </p:animEffect>
                                      </p:childTnLst>
                                    </p:cTn>
                                  </p:par>
                                  <p:par>
                                    <p:cTn id="26" presetID="42" presetClass="path" presetSubtype="0" decel="100000" fill="hold" grpId="1" nodeType="withEffect">
                                      <p:stCondLst>
                                        <p:cond delay="0"/>
                                      </p:stCondLst>
                                      <p:iterate type="lt">
                                        <p:tmPct val="10000"/>
                                      </p:iterate>
                                      <p:childTnLst>
                                        <p:animMotion origin="layout" path="M -0.01719 -0.00023 L 2.08333E-7 -3.33333E-6 " pathEditMode="relative" rAng="0" ptsTypes="AA">
                                          <p:cBhvr>
                                            <p:cTn id="27" dur="400" fill="hold"/>
                                            <p:tgtEl>
                                              <p:spTgt spid="5"/>
                                            </p:tgtEl>
                                            <p:attrNameLst>
                                              <p:attrName>ppt_x</p:attrName>
                                              <p:attrName>ppt_y</p:attrName>
                                            </p:attrNameLst>
                                          </p:cBhvr>
                                          <p:rCtr x="859" y="0"/>
                                        </p:animMotion>
                                      </p:childTnLst>
                                    </p:cTn>
                                  </p:par>
                                  <p:par>
                                    <p:cTn id="28" presetID="2" presetClass="entr" presetSubtype="4" decel="100000" fill="hold" grpId="0" nodeType="withEffect">
                                      <p:stCondLst>
                                        <p:cond delay="2500"/>
                                      </p:stCondLst>
                                      <p:childTnLst>
                                        <p:set>
                                          <p:cBhvr>
                                            <p:cTn id="29" dur="1" fill="hold">
                                              <p:stCondLst>
                                                <p:cond delay="0"/>
                                              </p:stCondLst>
                                            </p:cTn>
                                            <p:tgtEl>
                                              <p:spTgt spid="20"/>
                                            </p:tgtEl>
                                            <p:attrNameLst>
                                              <p:attrName>style.visibility</p:attrName>
                                            </p:attrNameLst>
                                          </p:cBhvr>
                                          <p:to>
                                            <p:strVal val="visible"/>
                                          </p:to>
                                        </p:set>
                                        <p:anim calcmode="lin" valueType="num">
                                          <p:cBhvr additive="base">
                                            <p:cTn id="30" dur="1000" fill="hold"/>
                                            <p:tgtEl>
                                              <p:spTgt spid="20"/>
                                            </p:tgtEl>
                                            <p:attrNameLst>
                                              <p:attrName>ppt_x</p:attrName>
                                            </p:attrNameLst>
                                          </p:cBhvr>
                                          <p:tavLst>
                                            <p:tav tm="0">
                                              <p:val>
                                                <p:strVal val="#ppt_x"/>
                                              </p:val>
                                            </p:tav>
                                            <p:tav tm="100000">
                                              <p:val>
                                                <p:strVal val="#ppt_x"/>
                                              </p:val>
                                            </p:tav>
                                          </p:tavLst>
                                        </p:anim>
                                        <p:anim calcmode="lin" valueType="num">
                                          <p:cBhvr additive="base">
                                            <p:cTn id="31" dur="1000" fill="hold"/>
                                            <p:tgtEl>
                                              <p:spTgt spid="20"/>
                                            </p:tgtEl>
                                            <p:attrNameLst>
                                              <p:attrName>ppt_y</p:attrName>
                                            </p:attrNameLst>
                                          </p:cBhvr>
                                          <p:tavLst>
                                            <p:tav tm="0">
                                              <p:val>
                                                <p:strVal val="1+#ppt_h/2"/>
                                              </p:val>
                                            </p:tav>
                                            <p:tav tm="100000">
                                              <p:val>
                                                <p:strVal val="#ppt_y"/>
                                              </p:val>
                                            </p:tav>
                                          </p:tavLst>
                                        </p:anim>
                                      </p:childTnLst>
                                    </p:cTn>
                                  </p:par>
                                  <p:par>
                                    <p:cTn id="32" presetID="10" presetClass="entr" presetSubtype="0" fill="hold" grpId="0" nodeType="withEffect">
                                      <p:stCondLst>
                                        <p:cond delay="275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par>
                                    <p:cTn id="35" presetID="42" presetClass="path" presetSubtype="0" decel="100000" fill="hold" grpId="1" nodeType="withEffect">
                                      <p:stCondLst>
                                        <p:cond delay="2750"/>
                                      </p:stCondLst>
                                      <p:childTnLst>
                                        <p:animMotion origin="layout" path="M 2.5E-6 0.03889 L 2.5E-6 2.59259E-6 " pathEditMode="relative" rAng="0" ptsTypes="AA">
                                          <p:cBhvr>
                                            <p:cTn id="36" dur="750" fill="hold"/>
                                            <p:tgtEl>
                                              <p:spTgt spid="24"/>
                                            </p:tgtEl>
                                            <p:attrNameLst>
                                              <p:attrName>ppt_x</p:attrName>
                                              <p:attrName>ppt_y</p:attrName>
                                            </p:attrNameLst>
                                          </p:cBhvr>
                                          <p:rCtr x="0" y="-1944"/>
                                        </p:animMotion>
                                      </p:childTnLst>
                                    </p:cTn>
                                  </p:par>
                                  <p:par>
                                    <p:cTn id="37" presetID="23" presetClass="entr" presetSubtype="16" fill="hold" nodeType="withEffect">
                                      <p:stCondLst>
                                        <p:cond delay="2750"/>
                                      </p:stCondLst>
                                      <p:childTnLst>
                                        <p:set>
                                          <p:cBhvr>
                                            <p:cTn id="38" dur="1" fill="hold">
                                              <p:stCondLst>
                                                <p:cond delay="0"/>
                                              </p:stCondLst>
                                            </p:cTn>
                                            <p:tgtEl>
                                              <p:spTgt spid="74"/>
                                            </p:tgtEl>
                                            <p:attrNameLst>
                                              <p:attrName>style.visibility</p:attrName>
                                            </p:attrNameLst>
                                          </p:cBhvr>
                                          <p:to>
                                            <p:strVal val="visible"/>
                                          </p:to>
                                        </p:set>
                                        <p:anim calcmode="lin" valueType="num">
                                          <p:cBhvr>
                                            <p:cTn id="39" dur="200" fill="hold"/>
                                            <p:tgtEl>
                                              <p:spTgt spid="74"/>
                                            </p:tgtEl>
                                            <p:attrNameLst>
                                              <p:attrName>ppt_w</p:attrName>
                                            </p:attrNameLst>
                                          </p:cBhvr>
                                          <p:tavLst>
                                            <p:tav tm="0">
                                              <p:val>
                                                <p:fltVal val="0"/>
                                              </p:val>
                                            </p:tav>
                                            <p:tav tm="100000">
                                              <p:val>
                                                <p:strVal val="#ppt_w"/>
                                              </p:val>
                                            </p:tav>
                                          </p:tavLst>
                                        </p:anim>
                                        <p:anim calcmode="lin" valueType="num">
                                          <p:cBhvr>
                                            <p:cTn id="40" dur="200" fill="hold"/>
                                            <p:tgtEl>
                                              <p:spTgt spid="74"/>
                                            </p:tgtEl>
                                            <p:attrNameLst>
                                              <p:attrName>ppt_h</p:attrName>
                                            </p:attrNameLst>
                                          </p:cBhvr>
                                          <p:tavLst>
                                            <p:tav tm="0">
                                              <p:val>
                                                <p:fltVal val="0"/>
                                              </p:val>
                                            </p:tav>
                                            <p:tav tm="100000">
                                              <p:val>
                                                <p:strVal val="#ppt_h"/>
                                              </p:val>
                                            </p:tav>
                                          </p:tavLst>
                                        </p:anim>
                                      </p:childTnLst>
                                    </p:cTn>
                                  </p:par>
                                  <p:par>
                                    <p:cTn id="41" presetID="6" presetClass="emph" presetSubtype="0" fill="hold" nodeType="withEffect">
                                      <p:stCondLst>
                                        <p:cond delay="2750"/>
                                      </p:stCondLst>
                                      <p:childTnLst>
                                        <p:animScale>
                                          <p:cBhvr>
                                            <p:cTn id="42" dur="1000" fill="hold"/>
                                            <p:tgtEl>
                                              <p:spTgt spid="74"/>
                                            </p:tgtEl>
                                          </p:cBhvr>
                                          <p:by x="110000" y="110000"/>
                                        </p:animScale>
                                      </p:childTnLst>
                                    </p:cTn>
                                  </p:par>
                                  <p:par>
                                    <p:cTn id="43" presetID="6" presetClass="emph" presetSubtype="0" accel="50000" decel="50000" fill="hold" nodeType="withEffect">
                                      <p:stCondLst>
                                        <p:cond delay="2750"/>
                                      </p:stCondLst>
                                      <p:childTnLst>
                                        <p:animScale>
                                          <p:cBhvr>
                                            <p:cTn id="44" dur="250" fill="hold"/>
                                            <p:tgtEl>
                                              <p:spTgt spid="74"/>
                                            </p:tgtEl>
                                          </p:cBhvr>
                                          <p:by x="91000" y="91000"/>
                                        </p:animScale>
                                      </p:childTnLst>
                                    </p:cTn>
                                  </p:par>
                                  <p:par>
                                    <p:cTn id="45" presetID="2" presetClass="entr" presetSubtype="4" decel="100000" fill="hold" grpId="0" nodeType="withEffect">
                                      <p:stCondLst>
                                        <p:cond delay="3000"/>
                                      </p:stCondLst>
                                      <p:childTnLst>
                                        <p:set>
                                          <p:cBhvr>
                                            <p:cTn id="46" dur="1" fill="hold">
                                              <p:stCondLst>
                                                <p:cond delay="0"/>
                                              </p:stCondLst>
                                            </p:cTn>
                                            <p:tgtEl>
                                              <p:spTgt spid="18"/>
                                            </p:tgtEl>
                                            <p:attrNameLst>
                                              <p:attrName>style.visibility</p:attrName>
                                            </p:attrNameLst>
                                          </p:cBhvr>
                                          <p:to>
                                            <p:strVal val="visible"/>
                                          </p:to>
                                        </p:set>
                                        <p:anim calcmode="lin" valueType="num">
                                          <p:cBhvr additive="base">
                                            <p:cTn id="47" dur="1000" fill="hold"/>
                                            <p:tgtEl>
                                              <p:spTgt spid="18"/>
                                            </p:tgtEl>
                                            <p:attrNameLst>
                                              <p:attrName>ppt_x</p:attrName>
                                            </p:attrNameLst>
                                          </p:cBhvr>
                                          <p:tavLst>
                                            <p:tav tm="0">
                                              <p:val>
                                                <p:strVal val="#ppt_x"/>
                                              </p:val>
                                            </p:tav>
                                            <p:tav tm="100000">
                                              <p:val>
                                                <p:strVal val="#ppt_x"/>
                                              </p:val>
                                            </p:tav>
                                          </p:tavLst>
                                        </p:anim>
                                        <p:anim calcmode="lin" valueType="num">
                                          <p:cBhvr additive="base">
                                            <p:cTn id="48" dur="1000" fill="hold"/>
                                            <p:tgtEl>
                                              <p:spTgt spid="18"/>
                                            </p:tgtEl>
                                            <p:attrNameLst>
                                              <p:attrName>ppt_y</p:attrName>
                                            </p:attrNameLst>
                                          </p:cBhvr>
                                          <p:tavLst>
                                            <p:tav tm="0">
                                              <p:val>
                                                <p:strVal val="1+#ppt_h/2"/>
                                              </p:val>
                                            </p:tav>
                                            <p:tav tm="100000">
                                              <p:val>
                                                <p:strVal val="#ppt_y"/>
                                              </p:val>
                                            </p:tav>
                                          </p:tavLst>
                                        </p:anim>
                                      </p:childTnLst>
                                    </p:cTn>
                                  </p:par>
                                  <p:par>
                                    <p:cTn id="49" presetID="10" presetClass="entr" presetSubtype="0" fill="hold" grpId="0" nodeType="withEffect">
                                      <p:stCondLst>
                                        <p:cond delay="3250"/>
                                      </p:stCondLst>
                                      <p:childTnLst>
                                        <p:set>
                                          <p:cBhvr>
                                            <p:cTn id="50" dur="1" fill="hold">
                                              <p:stCondLst>
                                                <p:cond delay="0"/>
                                              </p:stCondLst>
                                            </p:cTn>
                                            <p:tgtEl>
                                              <p:spTgt spid="30"/>
                                            </p:tgtEl>
                                            <p:attrNameLst>
                                              <p:attrName>style.visibility</p:attrName>
                                            </p:attrNameLst>
                                          </p:cBhvr>
                                          <p:to>
                                            <p:strVal val="visible"/>
                                          </p:to>
                                        </p:set>
                                        <p:animEffect transition="in" filter="fade">
                                          <p:cBhvr>
                                            <p:cTn id="51" dur="500"/>
                                            <p:tgtEl>
                                              <p:spTgt spid="30"/>
                                            </p:tgtEl>
                                          </p:cBhvr>
                                        </p:animEffect>
                                      </p:childTnLst>
                                    </p:cTn>
                                  </p:par>
                                  <p:par>
                                    <p:cTn id="52" presetID="42" presetClass="path" presetSubtype="0" decel="100000" fill="hold" grpId="1" nodeType="withEffect">
                                      <p:stCondLst>
                                        <p:cond delay="3250"/>
                                      </p:stCondLst>
                                      <p:childTnLst>
                                        <p:animMotion origin="layout" path="M -2.91667E-6 0.03889 L -2.91667E-6 2.59259E-6 " pathEditMode="relative" rAng="0" ptsTypes="AA">
                                          <p:cBhvr>
                                            <p:cTn id="53" dur="750" fill="hold"/>
                                            <p:tgtEl>
                                              <p:spTgt spid="30"/>
                                            </p:tgtEl>
                                            <p:attrNameLst>
                                              <p:attrName>ppt_x</p:attrName>
                                              <p:attrName>ppt_y</p:attrName>
                                            </p:attrNameLst>
                                          </p:cBhvr>
                                          <p:rCtr x="0" y="-1944"/>
                                        </p:animMotion>
                                      </p:childTnLst>
                                    </p:cTn>
                                  </p:par>
                                  <p:par>
                                    <p:cTn id="54" presetID="23" presetClass="entr" presetSubtype="16" fill="hold" nodeType="withEffect">
                                      <p:stCondLst>
                                        <p:cond delay="3250"/>
                                      </p:stCondLst>
                                      <p:childTnLst>
                                        <p:set>
                                          <p:cBhvr>
                                            <p:cTn id="55" dur="1" fill="hold">
                                              <p:stCondLst>
                                                <p:cond delay="0"/>
                                              </p:stCondLst>
                                            </p:cTn>
                                            <p:tgtEl>
                                              <p:spTgt spid="75"/>
                                            </p:tgtEl>
                                            <p:attrNameLst>
                                              <p:attrName>style.visibility</p:attrName>
                                            </p:attrNameLst>
                                          </p:cBhvr>
                                          <p:to>
                                            <p:strVal val="visible"/>
                                          </p:to>
                                        </p:set>
                                        <p:anim calcmode="lin" valueType="num">
                                          <p:cBhvr>
                                            <p:cTn id="56" dur="200" fill="hold"/>
                                            <p:tgtEl>
                                              <p:spTgt spid="75"/>
                                            </p:tgtEl>
                                            <p:attrNameLst>
                                              <p:attrName>ppt_w</p:attrName>
                                            </p:attrNameLst>
                                          </p:cBhvr>
                                          <p:tavLst>
                                            <p:tav tm="0">
                                              <p:val>
                                                <p:fltVal val="0"/>
                                              </p:val>
                                            </p:tav>
                                            <p:tav tm="100000">
                                              <p:val>
                                                <p:strVal val="#ppt_w"/>
                                              </p:val>
                                            </p:tav>
                                          </p:tavLst>
                                        </p:anim>
                                        <p:anim calcmode="lin" valueType="num">
                                          <p:cBhvr>
                                            <p:cTn id="57" dur="200" fill="hold"/>
                                            <p:tgtEl>
                                              <p:spTgt spid="75"/>
                                            </p:tgtEl>
                                            <p:attrNameLst>
                                              <p:attrName>ppt_h</p:attrName>
                                            </p:attrNameLst>
                                          </p:cBhvr>
                                          <p:tavLst>
                                            <p:tav tm="0">
                                              <p:val>
                                                <p:fltVal val="0"/>
                                              </p:val>
                                            </p:tav>
                                            <p:tav tm="100000">
                                              <p:val>
                                                <p:strVal val="#ppt_h"/>
                                              </p:val>
                                            </p:tav>
                                          </p:tavLst>
                                        </p:anim>
                                      </p:childTnLst>
                                    </p:cTn>
                                  </p:par>
                                  <p:par>
                                    <p:cTn id="58" presetID="6" presetClass="emph" presetSubtype="0" fill="hold" nodeType="withEffect">
                                      <p:stCondLst>
                                        <p:cond delay="3250"/>
                                      </p:stCondLst>
                                      <p:childTnLst>
                                        <p:animScale>
                                          <p:cBhvr>
                                            <p:cTn id="59" dur="1000" fill="hold"/>
                                            <p:tgtEl>
                                              <p:spTgt spid="75"/>
                                            </p:tgtEl>
                                          </p:cBhvr>
                                          <p:by x="110000" y="110000"/>
                                        </p:animScale>
                                      </p:childTnLst>
                                    </p:cTn>
                                  </p:par>
                                  <p:par>
                                    <p:cTn id="60" presetID="6" presetClass="emph" presetSubtype="0" accel="50000" decel="50000" fill="hold" nodeType="withEffect">
                                      <p:stCondLst>
                                        <p:cond delay="3250"/>
                                      </p:stCondLst>
                                      <p:childTnLst>
                                        <p:animScale>
                                          <p:cBhvr>
                                            <p:cTn id="61" dur="250" fill="hold"/>
                                            <p:tgtEl>
                                              <p:spTgt spid="75"/>
                                            </p:tgtEl>
                                          </p:cBhvr>
                                          <p:by x="91000" y="91000"/>
                                        </p:animScale>
                                      </p:childTnLst>
                                    </p:cTn>
                                  </p:par>
                                  <p:par>
                                    <p:cTn id="62" presetID="2" presetClass="entr" presetSubtype="4" decel="100000" fill="hold" grpId="0" nodeType="withEffect">
                                      <p:stCondLst>
                                        <p:cond delay="3500"/>
                                      </p:stCondLst>
                                      <p:childTnLst>
                                        <p:set>
                                          <p:cBhvr>
                                            <p:cTn id="63" dur="1" fill="hold">
                                              <p:stCondLst>
                                                <p:cond delay="0"/>
                                              </p:stCondLst>
                                            </p:cTn>
                                            <p:tgtEl>
                                              <p:spTgt spid="17"/>
                                            </p:tgtEl>
                                            <p:attrNameLst>
                                              <p:attrName>style.visibility</p:attrName>
                                            </p:attrNameLst>
                                          </p:cBhvr>
                                          <p:to>
                                            <p:strVal val="visible"/>
                                          </p:to>
                                        </p:set>
                                        <p:anim calcmode="lin" valueType="num">
                                          <p:cBhvr additive="base">
                                            <p:cTn id="64" dur="1000" fill="hold"/>
                                            <p:tgtEl>
                                              <p:spTgt spid="17"/>
                                            </p:tgtEl>
                                            <p:attrNameLst>
                                              <p:attrName>ppt_x</p:attrName>
                                            </p:attrNameLst>
                                          </p:cBhvr>
                                          <p:tavLst>
                                            <p:tav tm="0">
                                              <p:val>
                                                <p:strVal val="#ppt_x"/>
                                              </p:val>
                                            </p:tav>
                                            <p:tav tm="100000">
                                              <p:val>
                                                <p:strVal val="#ppt_x"/>
                                              </p:val>
                                            </p:tav>
                                          </p:tavLst>
                                        </p:anim>
                                        <p:anim calcmode="lin" valueType="num">
                                          <p:cBhvr additive="base">
                                            <p:cTn id="65" dur="1000" fill="hold"/>
                                            <p:tgtEl>
                                              <p:spTgt spid="17"/>
                                            </p:tgtEl>
                                            <p:attrNameLst>
                                              <p:attrName>ppt_y</p:attrName>
                                            </p:attrNameLst>
                                          </p:cBhvr>
                                          <p:tavLst>
                                            <p:tav tm="0">
                                              <p:val>
                                                <p:strVal val="1+#ppt_h/2"/>
                                              </p:val>
                                            </p:tav>
                                            <p:tav tm="100000">
                                              <p:val>
                                                <p:strVal val="#ppt_y"/>
                                              </p:val>
                                            </p:tav>
                                          </p:tavLst>
                                        </p:anim>
                                      </p:childTnLst>
                                    </p:cTn>
                                  </p:par>
                                  <p:par>
                                    <p:cTn id="66" presetID="10" presetClass="entr" presetSubtype="0" fill="hold" grpId="0" nodeType="withEffect">
                                      <p:stCondLst>
                                        <p:cond delay="3750"/>
                                      </p:stCondLst>
                                      <p:childTnLst>
                                        <p:set>
                                          <p:cBhvr>
                                            <p:cTn id="67" dur="1" fill="hold">
                                              <p:stCondLst>
                                                <p:cond delay="0"/>
                                              </p:stCondLst>
                                            </p:cTn>
                                            <p:tgtEl>
                                              <p:spTgt spid="31"/>
                                            </p:tgtEl>
                                            <p:attrNameLst>
                                              <p:attrName>style.visibility</p:attrName>
                                            </p:attrNameLst>
                                          </p:cBhvr>
                                          <p:to>
                                            <p:strVal val="visible"/>
                                          </p:to>
                                        </p:set>
                                        <p:animEffect transition="in" filter="fade">
                                          <p:cBhvr>
                                            <p:cTn id="68" dur="500"/>
                                            <p:tgtEl>
                                              <p:spTgt spid="31"/>
                                            </p:tgtEl>
                                          </p:cBhvr>
                                        </p:animEffect>
                                      </p:childTnLst>
                                    </p:cTn>
                                  </p:par>
                                  <p:par>
                                    <p:cTn id="69" presetID="42" presetClass="path" presetSubtype="0" decel="100000" fill="hold" grpId="1" nodeType="withEffect">
                                      <p:stCondLst>
                                        <p:cond delay="3750"/>
                                      </p:stCondLst>
                                      <p:childTnLst>
                                        <p:animMotion origin="layout" path="M 0 0.03889 L 0 2.59259E-6 " pathEditMode="relative" rAng="0" ptsTypes="AA">
                                          <p:cBhvr>
                                            <p:cTn id="70" dur="750" fill="hold"/>
                                            <p:tgtEl>
                                              <p:spTgt spid="31"/>
                                            </p:tgtEl>
                                            <p:attrNameLst>
                                              <p:attrName>ppt_x</p:attrName>
                                              <p:attrName>ppt_y</p:attrName>
                                            </p:attrNameLst>
                                          </p:cBhvr>
                                          <p:rCtr x="0" y="-1944"/>
                                        </p:animMotion>
                                      </p:childTnLst>
                                    </p:cTn>
                                  </p:par>
                                  <p:par>
                                    <p:cTn id="71" presetID="23" presetClass="entr" presetSubtype="16" fill="hold" nodeType="withEffect">
                                      <p:stCondLst>
                                        <p:cond delay="3750"/>
                                      </p:stCondLst>
                                      <p:childTnLst>
                                        <p:set>
                                          <p:cBhvr>
                                            <p:cTn id="72" dur="1" fill="hold">
                                              <p:stCondLst>
                                                <p:cond delay="0"/>
                                              </p:stCondLst>
                                            </p:cTn>
                                            <p:tgtEl>
                                              <p:spTgt spid="76"/>
                                            </p:tgtEl>
                                            <p:attrNameLst>
                                              <p:attrName>style.visibility</p:attrName>
                                            </p:attrNameLst>
                                          </p:cBhvr>
                                          <p:to>
                                            <p:strVal val="visible"/>
                                          </p:to>
                                        </p:set>
                                        <p:anim calcmode="lin" valueType="num">
                                          <p:cBhvr>
                                            <p:cTn id="73" dur="200" fill="hold"/>
                                            <p:tgtEl>
                                              <p:spTgt spid="76"/>
                                            </p:tgtEl>
                                            <p:attrNameLst>
                                              <p:attrName>ppt_w</p:attrName>
                                            </p:attrNameLst>
                                          </p:cBhvr>
                                          <p:tavLst>
                                            <p:tav tm="0">
                                              <p:val>
                                                <p:fltVal val="0"/>
                                              </p:val>
                                            </p:tav>
                                            <p:tav tm="100000">
                                              <p:val>
                                                <p:strVal val="#ppt_w"/>
                                              </p:val>
                                            </p:tav>
                                          </p:tavLst>
                                        </p:anim>
                                        <p:anim calcmode="lin" valueType="num">
                                          <p:cBhvr>
                                            <p:cTn id="74" dur="200" fill="hold"/>
                                            <p:tgtEl>
                                              <p:spTgt spid="76"/>
                                            </p:tgtEl>
                                            <p:attrNameLst>
                                              <p:attrName>ppt_h</p:attrName>
                                            </p:attrNameLst>
                                          </p:cBhvr>
                                          <p:tavLst>
                                            <p:tav tm="0">
                                              <p:val>
                                                <p:fltVal val="0"/>
                                              </p:val>
                                            </p:tav>
                                            <p:tav tm="100000">
                                              <p:val>
                                                <p:strVal val="#ppt_h"/>
                                              </p:val>
                                            </p:tav>
                                          </p:tavLst>
                                        </p:anim>
                                      </p:childTnLst>
                                    </p:cTn>
                                  </p:par>
                                  <p:par>
                                    <p:cTn id="75" presetID="6" presetClass="emph" presetSubtype="0" fill="hold" nodeType="withEffect">
                                      <p:stCondLst>
                                        <p:cond delay="3750"/>
                                      </p:stCondLst>
                                      <p:childTnLst>
                                        <p:animScale>
                                          <p:cBhvr>
                                            <p:cTn id="76" dur="1000" fill="hold"/>
                                            <p:tgtEl>
                                              <p:spTgt spid="76"/>
                                            </p:tgtEl>
                                          </p:cBhvr>
                                          <p:by x="110000" y="110000"/>
                                        </p:animScale>
                                      </p:childTnLst>
                                    </p:cTn>
                                  </p:par>
                                  <p:par>
                                    <p:cTn id="77" presetID="6" presetClass="emph" presetSubtype="0" accel="50000" decel="50000" fill="hold" nodeType="withEffect">
                                      <p:stCondLst>
                                        <p:cond delay="3750"/>
                                      </p:stCondLst>
                                      <p:childTnLst>
                                        <p:animScale>
                                          <p:cBhvr>
                                            <p:cTn id="78" dur="250" fill="hold"/>
                                            <p:tgtEl>
                                              <p:spTgt spid="76"/>
                                            </p:tgtEl>
                                          </p:cBhvr>
                                          <p:by x="91000" y="91000"/>
                                        </p:animScale>
                                      </p:childTnLst>
                                    </p:cTn>
                                  </p:par>
                                  <p:par>
                                    <p:cTn id="79" presetID="2" presetClass="entr" presetSubtype="4" decel="100000" fill="hold" grpId="0" nodeType="withEffect">
                                      <p:stCondLst>
                                        <p:cond delay="4000"/>
                                      </p:stCondLst>
                                      <p:childTnLst>
                                        <p:set>
                                          <p:cBhvr>
                                            <p:cTn id="80" dur="1" fill="hold">
                                              <p:stCondLst>
                                                <p:cond delay="0"/>
                                              </p:stCondLst>
                                            </p:cTn>
                                            <p:tgtEl>
                                              <p:spTgt spid="16"/>
                                            </p:tgtEl>
                                            <p:attrNameLst>
                                              <p:attrName>style.visibility</p:attrName>
                                            </p:attrNameLst>
                                          </p:cBhvr>
                                          <p:to>
                                            <p:strVal val="visible"/>
                                          </p:to>
                                        </p:set>
                                        <p:anim calcmode="lin" valueType="num">
                                          <p:cBhvr additive="base">
                                            <p:cTn id="81" dur="1000" fill="hold"/>
                                            <p:tgtEl>
                                              <p:spTgt spid="16"/>
                                            </p:tgtEl>
                                            <p:attrNameLst>
                                              <p:attrName>ppt_x</p:attrName>
                                            </p:attrNameLst>
                                          </p:cBhvr>
                                          <p:tavLst>
                                            <p:tav tm="0">
                                              <p:val>
                                                <p:strVal val="#ppt_x"/>
                                              </p:val>
                                            </p:tav>
                                            <p:tav tm="100000">
                                              <p:val>
                                                <p:strVal val="#ppt_x"/>
                                              </p:val>
                                            </p:tav>
                                          </p:tavLst>
                                        </p:anim>
                                        <p:anim calcmode="lin" valueType="num">
                                          <p:cBhvr additive="base">
                                            <p:cTn id="82" dur="1000" fill="hold"/>
                                            <p:tgtEl>
                                              <p:spTgt spid="16"/>
                                            </p:tgtEl>
                                            <p:attrNameLst>
                                              <p:attrName>ppt_y</p:attrName>
                                            </p:attrNameLst>
                                          </p:cBhvr>
                                          <p:tavLst>
                                            <p:tav tm="0">
                                              <p:val>
                                                <p:strVal val="1+#ppt_h/2"/>
                                              </p:val>
                                            </p:tav>
                                            <p:tav tm="100000">
                                              <p:val>
                                                <p:strVal val="#ppt_y"/>
                                              </p:val>
                                            </p:tav>
                                          </p:tavLst>
                                        </p:anim>
                                      </p:childTnLst>
                                    </p:cTn>
                                  </p:par>
                                  <p:par>
                                    <p:cTn id="83" presetID="10" presetClass="entr" presetSubtype="0" fill="hold" grpId="0" nodeType="withEffect">
                                      <p:stCondLst>
                                        <p:cond delay="4250"/>
                                      </p:stCondLst>
                                      <p:childTnLst>
                                        <p:set>
                                          <p:cBhvr>
                                            <p:cTn id="84" dur="1" fill="hold">
                                              <p:stCondLst>
                                                <p:cond delay="0"/>
                                              </p:stCondLst>
                                            </p:cTn>
                                            <p:tgtEl>
                                              <p:spTgt spid="32"/>
                                            </p:tgtEl>
                                            <p:attrNameLst>
                                              <p:attrName>style.visibility</p:attrName>
                                            </p:attrNameLst>
                                          </p:cBhvr>
                                          <p:to>
                                            <p:strVal val="visible"/>
                                          </p:to>
                                        </p:set>
                                        <p:animEffect transition="in" filter="fade">
                                          <p:cBhvr>
                                            <p:cTn id="85" dur="500"/>
                                            <p:tgtEl>
                                              <p:spTgt spid="32"/>
                                            </p:tgtEl>
                                          </p:cBhvr>
                                        </p:animEffect>
                                      </p:childTnLst>
                                    </p:cTn>
                                  </p:par>
                                  <p:par>
                                    <p:cTn id="86" presetID="42" presetClass="path" presetSubtype="0" decel="100000" fill="hold" grpId="1" nodeType="withEffect">
                                      <p:stCondLst>
                                        <p:cond delay="4250"/>
                                      </p:stCondLst>
                                      <p:childTnLst>
                                        <p:animMotion origin="layout" path="M 3.125E-6 0.03889 L 3.125E-6 2.59259E-6 " pathEditMode="relative" rAng="0" ptsTypes="AA">
                                          <p:cBhvr>
                                            <p:cTn id="87" dur="750" fill="hold"/>
                                            <p:tgtEl>
                                              <p:spTgt spid="32"/>
                                            </p:tgtEl>
                                            <p:attrNameLst>
                                              <p:attrName>ppt_x</p:attrName>
                                              <p:attrName>ppt_y</p:attrName>
                                            </p:attrNameLst>
                                          </p:cBhvr>
                                          <p:rCtr x="0" y="-1944"/>
                                        </p:animMotion>
                                      </p:childTnLst>
                                    </p:cTn>
                                  </p:par>
                                  <p:par>
                                    <p:cTn id="88" presetID="23" presetClass="entr" presetSubtype="16" fill="hold" nodeType="withEffect">
                                      <p:stCondLst>
                                        <p:cond delay="4250"/>
                                      </p:stCondLst>
                                      <p:childTnLst>
                                        <p:set>
                                          <p:cBhvr>
                                            <p:cTn id="89" dur="1" fill="hold">
                                              <p:stCondLst>
                                                <p:cond delay="0"/>
                                              </p:stCondLst>
                                            </p:cTn>
                                            <p:tgtEl>
                                              <p:spTgt spid="77"/>
                                            </p:tgtEl>
                                            <p:attrNameLst>
                                              <p:attrName>style.visibility</p:attrName>
                                            </p:attrNameLst>
                                          </p:cBhvr>
                                          <p:to>
                                            <p:strVal val="visible"/>
                                          </p:to>
                                        </p:set>
                                        <p:anim calcmode="lin" valueType="num">
                                          <p:cBhvr>
                                            <p:cTn id="90" dur="200" fill="hold"/>
                                            <p:tgtEl>
                                              <p:spTgt spid="77"/>
                                            </p:tgtEl>
                                            <p:attrNameLst>
                                              <p:attrName>ppt_w</p:attrName>
                                            </p:attrNameLst>
                                          </p:cBhvr>
                                          <p:tavLst>
                                            <p:tav tm="0">
                                              <p:val>
                                                <p:fltVal val="0"/>
                                              </p:val>
                                            </p:tav>
                                            <p:tav tm="100000">
                                              <p:val>
                                                <p:strVal val="#ppt_w"/>
                                              </p:val>
                                            </p:tav>
                                          </p:tavLst>
                                        </p:anim>
                                        <p:anim calcmode="lin" valueType="num">
                                          <p:cBhvr>
                                            <p:cTn id="91" dur="200" fill="hold"/>
                                            <p:tgtEl>
                                              <p:spTgt spid="77"/>
                                            </p:tgtEl>
                                            <p:attrNameLst>
                                              <p:attrName>ppt_h</p:attrName>
                                            </p:attrNameLst>
                                          </p:cBhvr>
                                          <p:tavLst>
                                            <p:tav tm="0">
                                              <p:val>
                                                <p:fltVal val="0"/>
                                              </p:val>
                                            </p:tav>
                                            <p:tav tm="100000">
                                              <p:val>
                                                <p:strVal val="#ppt_h"/>
                                              </p:val>
                                            </p:tav>
                                          </p:tavLst>
                                        </p:anim>
                                      </p:childTnLst>
                                    </p:cTn>
                                  </p:par>
                                  <p:par>
                                    <p:cTn id="92" presetID="6" presetClass="emph" presetSubtype="0" fill="hold" nodeType="withEffect">
                                      <p:stCondLst>
                                        <p:cond delay="4250"/>
                                      </p:stCondLst>
                                      <p:childTnLst>
                                        <p:animScale>
                                          <p:cBhvr>
                                            <p:cTn id="93" dur="1000" fill="hold"/>
                                            <p:tgtEl>
                                              <p:spTgt spid="77"/>
                                            </p:tgtEl>
                                          </p:cBhvr>
                                          <p:by x="110000" y="110000"/>
                                        </p:animScale>
                                      </p:childTnLst>
                                    </p:cTn>
                                  </p:par>
                                  <p:par>
                                    <p:cTn id="94" presetID="6" presetClass="emph" presetSubtype="0" accel="50000" decel="50000" fill="hold" nodeType="withEffect">
                                      <p:stCondLst>
                                        <p:cond delay="4250"/>
                                      </p:stCondLst>
                                      <p:childTnLst>
                                        <p:animScale>
                                          <p:cBhvr>
                                            <p:cTn id="95" dur="250" fill="hold"/>
                                            <p:tgtEl>
                                              <p:spTgt spid="77"/>
                                            </p:tgtEl>
                                          </p:cBhvr>
                                          <p:by x="91000" y="91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P spid="16" grpId="0" animBg="1"/>
          <p:bldP spid="17" grpId="0" animBg="1"/>
          <p:bldP spid="18" grpId="0" animBg="1"/>
          <p:bldP spid="20" grpId="0" animBg="1"/>
          <p:bldP spid="24" grpId="0"/>
          <p:bldP spid="24" grpId="1"/>
          <p:bldP spid="30" grpId="0"/>
          <p:bldP spid="30" grpId="1"/>
          <p:bldP spid="31" grpId="0"/>
          <p:bldP spid="31" grpId="1"/>
          <p:bldP spid="32" grpId="0"/>
          <p:bldP spid="32" grpId="1"/>
        </p:bldLst>
      </p:timing>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C41D5AF4-DC2A-3C4F-AF51-D4A39DA79669}"/>
              </a:ext>
            </a:extLst>
          </p:cNvPr>
          <p:cNvSpPr>
            <a:spLocks noGrp="1"/>
          </p:cNvSpPr>
          <p:nvPr>
            <p:ph type="body" sz="quarter" idx="28"/>
          </p:nvPr>
        </p:nvSpPr>
        <p:spPr>
          <a:xfrm>
            <a:off x="719139" y="2380344"/>
            <a:ext cx="3934553" cy="3604532"/>
          </a:xfrm>
        </p:spPr>
        <p:txBody>
          <a:bodyPr>
            <a:normAutofit fontScale="70000" lnSpcReduction="20000"/>
          </a:bodyPr>
          <a:lstStyle/>
          <a:p>
            <a:pPr lvl="5"/>
            <a:r>
              <a:rPr lang="nl-NL" sz="2800" dirty="0"/>
              <a:t>In 2030 hebben </a:t>
            </a:r>
            <a:br>
              <a:rPr lang="nl-NL" sz="2800" dirty="0"/>
            </a:br>
            <a:r>
              <a:rPr lang="nl-NL" sz="2800" dirty="0"/>
              <a:t>we </a:t>
            </a:r>
            <a:r>
              <a:rPr lang="nl-NL" sz="2800" b="1" dirty="0"/>
              <a:t>7.500</a:t>
            </a:r>
            <a:r>
              <a:rPr lang="nl-NL" sz="2800" dirty="0"/>
              <a:t> extra zorg-medewerkers nodig.</a:t>
            </a:r>
          </a:p>
          <a:p>
            <a:pPr lvl="3">
              <a:spcBef>
                <a:spcPts val="800"/>
              </a:spcBef>
            </a:pPr>
            <a:r>
              <a:rPr lang="nl-NL" b="1" dirty="0">
                <a:latin typeface="+mj-lt"/>
              </a:rPr>
              <a:t>Risico’s van niet in actie komen:</a:t>
            </a:r>
          </a:p>
          <a:p>
            <a:pPr>
              <a:spcBef>
                <a:spcPts val="400"/>
              </a:spcBef>
              <a:spcAft>
                <a:spcPts val="400"/>
              </a:spcAft>
            </a:pPr>
            <a:r>
              <a:rPr lang="nl-NL" dirty="0"/>
              <a:t>De toegankelijkheid van zorg verslechtert (hogere wachtlijsten)</a:t>
            </a:r>
          </a:p>
          <a:p>
            <a:pPr>
              <a:spcBef>
                <a:spcPts val="400"/>
              </a:spcBef>
              <a:spcAft>
                <a:spcPts val="400"/>
              </a:spcAft>
            </a:pPr>
            <a:r>
              <a:rPr lang="nl-NL" dirty="0"/>
              <a:t>De kwaliteit van zorg neemt af, door minder tijd en aandacht van personeel</a:t>
            </a:r>
          </a:p>
          <a:p>
            <a:pPr>
              <a:spcBef>
                <a:spcPts val="400"/>
              </a:spcBef>
              <a:spcAft>
                <a:spcPts val="400"/>
              </a:spcAft>
            </a:pPr>
            <a:r>
              <a:rPr lang="nl-NL" dirty="0"/>
              <a:t>Het werkplezier neemt af, door de steeds hogere werkdruk (vicieuze cirkel)</a:t>
            </a:r>
          </a:p>
          <a:p>
            <a:pPr lvl="5"/>
            <a:endParaRPr lang="nl-NL" dirty="0"/>
          </a:p>
        </p:txBody>
      </p:sp>
      <p:sp>
        <p:nvSpPr>
          <p:cNvPr id="3" name="Titel 2">
            <a:extLst>
              <a:ext uri="{FF2B5EF4-FFF2-40B4-BE49-F238E27FC236}">
                <a16:creationId xmlns:a16="http://schemas.microsoft.com/office/drawing/2014/main" id="{F3338C44-7D42-6022-6FC5-72FF77613785}"/>
              </a:ext>
            </a:extLst>
          </p:cNvPr>
          <p:cNvSpPr>
            <a:spLocks noGrp="1"/>
          </p:cNvSpPr>
          <p:nvPr>
            <p:ph type="title"/>
          </p:nvPr>
        </p:nvSpPr>
        <p:spPr/>
        <p:txBody>
          <a:bodyPr>
            <a:normAutofit fontScale="90000"/>
          </a:bodyPr>
          <a:lstStyle/>
          <a:p>
            <a:r>
              <a:rPr lang="nl-NL" dirty="0"/>
              <a:t>Uitdaging van Zeeuwse Zorg Coalitie</a:t>
            </a:r>
            <a:r>
              <a:rPr lang="nl-NL" dirty="0">
                <a:solidFill>
                  <a:schemeClr val="accent3"/>
                </a:solidFill>
              </a:rPr>
              <a:t>. </a:t>
            </a:r>
            <a:endParaRPr lang="nl-NL" dirty="0"/>
          </a:p>
        </p:txBody>
      </p:sp>
      <p:sp>
        <p:nvSpPr>
          <p:cNvPr id="5" name="Tijdelijke aanduiding voor datum 4">
            <a:extLst>
              <a:ext uri="{FF2B5EF4-FFF2-40B4-BE49-F238E27FC236}">
                <a16:creationId xmlns:a16="http://schemas.microsoft.com/office/drawing/2014/main" id="{6EFEA77E-FDB4-1E94-0AF1-F454AE1AC956}"/>
              </a:ext>
            </a:extLst>
          </p:cNvPr>
          <p:cNvSpPr>
            <a:spLocks noGrp="1"/>
          </p:cNvSpPr>
          <p:nvPr>
            <p:ph type="dt" sz="half" idx="30"/>
          </p:nvPr>
        </p:nvSpPr>
        <p:spPr/>
        <p:txBody>
          <a:bodyPr/>
          <a:lstStyle/>
          <a:p>
            <a:fld id="{B17B6356-3AE9-44EF-A179-68E41210DCC2}" type="datetime4">
              <a:rPr lang="nl-NL" smtClean="0"/>
              <a:t>10 oktober 2023</a:t>
            </a:fld>
            <a:endParaRPr lang="nl-NL" dirty="0"/>
          </a:p>
        </p:txBody>
      </p:sp>
      <p:sp>
        <p:nvSpPr>
          <p:cNvPr id="6" name="Tijdelijke aanduiding voor voettekst 5">
            <a:extLst>
              <a:ext uri="{FF2B5EF4-FFF2-40B4-BE49-F238E27FC236}">
                <a16:creationId xmlns:a16="http://schemas.microsoft.com/office/drawing/2014/main" id="{BC2580A8-E45D-629A-2FF8-621903FFC214}"/>
              </a:ext>
            </a:extLst>
          </p:cNvPr>
          <p:cNvSpPr>
            <a:spLocks noGrp="1"/>
          </p:cNvSpPr>
          <p:nvPr>
            <p:ph type="ftr" sz="quarter" idx="31"/>
          </p:nvPr>
        </p:nvSpPr>
        <p:spPr/>
        <p:txBody>
          <a:bodyPr/>
          <a:lstStyle/>
          <a:p>
            <a:pPr algn="r"/>
            <a:r>
              <a:rPr lang="nl-NL"/>
              <a:t>Zeeuwse Zorg Coalitie  |  Plaats hier je voettekst</a:t>
            </a:r>
            <a:endParaRPr lang="nl-NL" dirty="0"/>
          </a:p>
        </p:txBody>
      </p:sp>
      <p:sp>
        <p:nvSpPr>
          <p:cNvPr id="7" name="Tijdelijke aanduiding voor dianummer 6">
            <a:extLst>
              <a:ext uri="{FF2B5EF4-FFF2-40B4-BE49-F238E27FC236}">
                <a16:creationId xmlns:a16="http://schemas.microsoft.com/office/drawing/2014/main" id="{2832F530-0247-8EE6-9BC4-272D5C5B0DE3}"/>
              </a:ext>
            </a:extLst>
          </p:cNvPr>
          <p:cNvSpPr>
            <a:spLocks noGrp="1"/>
          </p:cNvSpPr>
          <p:nvPr>
            <p:ph type="sldNum" sz="quarter" idx="32"/>
          </p:nvPr>
        </p:nvSpPr>
        <p:spPr/>
        <p:txBody>
          <a:bodyPr/>
          <a:lstStyle/>
          <a:p>
            <a:fld id="{9E843DB9-9987-4157-AB9C-CEA8D7D910BB}" type="slidenum">
              <a:rPr lang="nl-NL" smtClean="0"/>
              <a:pPr/>
              <a:t>9</a:t>
            </a:fld>
            <a:endParaRPr lang="nl-NL" dirty="0"/>
          </a:p>
        </p:txBody>
      </p:sp>
      <p:graphicFrame>
        <p:nvGraphicFramePr>
          <p:cNvPr id="8" name="Tijdelijke aanduiding voor grafiek 7">
            <a:extLst>
              <a:ext uri="{FF2B5EF4-FFF2-40B4-BE49-F238E27FC236}">
                <a16:creationId xmlns:a16="http://schemas.microsoft.com/office/drawing/2014/main" id="{26F5FC7C-2A6A-0707-1389-7ABC31010DD2}"/>
              </a:ext>
            </a:extLst>
          </p:cNvPr>
          <p:cNvGraphicFramePr>
            <a:graphicFrameLocks noGrp="1"/>
          </p:cNvGraphicFramePr>
          <p:nvPr>
            <p:ph type="chart" sz="quarter" idx="29"/>
          </p:nvPr>
        </p:nvGraphicFramePr>
        <p:xfrm>
          <a:off x="6096000" y="720724"/>
          <a:ext cx="5375275" cy="5356225"/>
        </p:xfrm>
        <a:graphic>
          <a:graphicData uri="http://schemas.openxmlformats.org/drawingml/2006/chart">
            <c:chart xmlns:c="http://schemas.openxmlformats.org/drawingml/2006/chart" xmlns:r="http://schemas.openxmlformats.org/officeDocument/2006/relationships" r:id="rId5"/>
          </a:graphicData>
        </a:graphic>
      </p:graphicFrame>
      <p:grpSp>
        <p:nvGrpSpPr>
          <p:cNvPr id="4" name="Groep 3">
            <a:extLst>
              <a:ext uri="{FF2B5EF4-FFF2-40B4-BE49-F238E27FC236}">
                <a16:creationId xmlns:a16="http://schemas.microsoft.com/office/drawing/2014/main" id="{DB1A00DD-6317-C0BC-806B-178B0BC26EAB}"/>
              </a:ext>
            </a:extLst>
          </p:cNvPr>
          <p:cNvGrpSpPr/>
          <p:nvPr/>
        </p:nvGrpSpPr>
        <p:grpSpPr>
          <a:xfrm>
            <a:off x="7279639" y="719140"/>
            <a:ext cx="3007991" cy="1181100"/>
            <a:chOff x="6589685" y="2179268"/>
            <a:chExt cx="1039840" cy="408299"/>
          </a:xfrm>
        </p:grpSpPr>
        <p:sp>
          <p:nvSpPr>
            <p:cNvPr id="11" name="Vrije vorm: vorm 10">
              <a:extLst>
                <a:ext uri="{FF2B5EF4-FFF2-40B4-BE49-F238E27FC236}">
                  <a16:creationId xmlns:a16="http://schemas.microsoft.com/office/drawing/2014/main" id="{1D4B9C3B-0887-6DBC-3DC8-E756EED56E85}"/>
                </a:ext>
              </a:extLst>
            </p:cNvPr>
            <p:cNvSpPr/>
            <p:nvPr/>
          </p:nvSpPr>
          <p:spPr>
            <a:xfrm>
              <a:off x="6589685" y="2179268"/>
              <a:ext cx="1039840" cy="408299"/>
            </a:xfrm>
            <a:custGeom>
              <a:avLst/>
              <a:gdLst>
                <a:gd name="connsiteX0" fmla="*/ 628871 w 1946126"/>
                <a:gd name="connsiteY0" fmla="*/ 4 h 722928"/>
                <a:gd name="connsiteX1" fmla="*/ 707342 w 1946126"/>
                <a:gd name="connsiteY1" fmla="*/ 48 h 722928"/>
                <a:gd name="connsiteX2" fmla="*/ 780006 w 1946126"/>
                <a:gd name="connsiteY2" fmla="*/ 19498 h 722928"/>
                <a:gd name="connsiteX3" fmla="*/ 962262 w 1946126"/>
                <a:gd name="connsiteY3" fmla="*/ 22020 h 722928"/>
                <a:gd name="connsiteX4" fmla="*/ 1155477 w 1946126"/>
                <a:gd name="connsiteY4" fmla="*/ 14456 h 722928"/>
                <a:gd name="connsiteX5" fmla="*/ 1153928 w 1946126"/>
                <a:gd name="connsiteY5" fmla="*/ 16256 h 722928"/>
                <a:gd name="connsiteX6" fmla="*/ 1153140 w 1946126"/>
                <a:gd name="connsiteY6" fmla="*/ 17172 h 722928"/>
                <a:gd name="connsiteX7" fmla="*/ 1160406 w 1946126"/>
                <a:gd name="connsiteY7" fmla="*/ 17652 h 722928"/>
                <a:gd name="connsiteX8" fmla="*/ 1181016 w 1946126"/>
                <a:gd name="connsiteY8" fmla="*/ 17336 h 722928"/>
                <a:gd name="connsiteX9" fmla="*/ 1253808 w 1946126"/>
                <a:gd name="connsiteY9" fmla="*/ 7612 h 722928"/>
                <a:gd name="connsiteX10" fmla="*/ 1248560 w 1946126"/>
                <a:gd name="connsiteY10" fmla="*/ 10854 h 722928"/>
                <a:gd name="connsiteX11" fmla="*/ 1261119 w 1946126"/>
                <a:gd name="connsiteY11" fmla="*/ 12755 h 722928"/>
                <a:gd name="connsiteX12" fmla="*/ 1261589 w 1946126"/>
                <a:gd name="connsiteY12" fmla="*/ 13074 h 722928"/>
                <a:gd name="connsiteX13" fmla="*/ 1272633 w 1946126"/>
                <a:gd name="connsiteY13" fmla="*/ 12654 h 722928"/>
                <a:gd name="connsiteX14" fmla="*/ 1328679 w 1946126"/>
                <a:gd name="connsiteY14" fmla="*/ 8692 h 722928"/>
                <a:gd name="connsiteX15" fmla="*/ 1344775 w 1946126"/>
                <a:gd name="connsiteY15" fmla="*/ 8810 h 722928"/>
                <a:gd name="connsiteX16" fmla="*/ 1351696 w 1946126"/>
                <a:gd name="connsiteY16" fmla="*/ 8647 h 722928"/>
                <a:gd name="connsiteX17" fmla="*/ 1364395 w 1946126"/>
                <a:gd name="connsiteY17" fmla="*/ 5085 h 722928"/>
                <a:gd name="connsiteX18" fmla="*/ 1372645 w 1946126"/>
                <a:gd name="connsiteY18" fmla="*/ 2930 h 722928"/>
                <a:gd name="connsiteX19" fmla="*/ 1444253 w 1946126"/>
                <a:gd name="connsiteY19" fmla="*/ 2930 h 722928"/>
                <a:gd name="connsiteX20" fmla="*/ 1546098 w 1946126"/>
                <a:gd name="connsiteY20" fmla="*/ 4 h 722928"/>
                <a:gd name="connsiteX21" fmla="*/ 1601856 w 1946126"/>
                <a:gd name="connsiteY21" fmla="*/ 48 h 722928"/>
                <a:gd name="connsiteX22" fmla="*/ 1624943 w 1946126"/>
                <a:gd name="connsiteY22" fmla="*/ 8422 h 722928"/>
                <a:gd name="connsiteX23" fmla="*/ 1626431 w 1946126"/>
                <a:gd name="connsiteY23" fmla="*/ 9068 h 722928"/>
                <a:gd name="connsiteX24" fmla="*/ 1635773 w 1946126"/>
                <a:gd name="connsiteY24" fmla="*/ 7612 h 722928"/>
                <a:gd name="connsiteX25" fmla="*/ 1716227 w 1946126"/>
                <a:gd name="connsiteY25" fmla="*/ 9797 h 722928"/>
                <a:gd name="connsiteX26" fmla="*/ 1728774 w 1946126"/>
                <a:gd name="connsiteY26" fmla="*/ 7242 h 722928"/>
                <a:gd name="connsiteX27" fmla="*/ 1751359 w 1946126"/>
                <a:gd name="connsiteY27" fmla="*/ 2930 h 722928"/>
                <a:gd name="connsiteX28" fmla="*/ 1852136 w 1946126"/>
                <a:gd name="connsiteY28" fmla="*/ 2930 h 722928"/>
                <a:gd name="connsiteX29" fmla="*/ 1919793 w 1946126"/>
                <a:gd name="connsiteY29" fmla="*/ 504 h 722928"/>
                <a:gd name="connsiteX30" fmla="*/ 1940716 w 1946126"/>
                <a:gd name="connsiteY30" fmla="*/ 366 h 722928"/>
                <a:gd name="connsiteX31" fmla="*/ 1942554 w 1946126"/>
                <a:gd name="connsiteY31" fmla="*/ 67130 h 722928"/>
                <a:gd name="connsiteX32" fmla="*/ 1946088 w 1946126"/>
                <a:gd name="connsiteY32" fmla="*/ 172212 h 722928"/>
                <a:gd name="connsiteX33" fmla="*/ 1940501 w 1946126"/>
                <a:gd name="connsiteY33" fmla="*/ 370311 h 722928"/>
                <a:gd name="connsiteX34" fmla="*/ 1943718 w 1946126"/>
                <a:gd name="connsiteY34" fmla="*/ 561208 h 722928"/>
                <a:gd name="connsiteX35" fmla="*/ 1944395 w 1946126"/>
                <a:gd name="connsiteY35" fmla="*/ 560126 h 722928"/>
                <a:gd name="connsiteX36" fmla="*/ 1931868 w 1946126"/>
                <a:gd name="connsiteY36" fmla="*/ 722928 h 722928"/>
                <a:gd name="connsiteX37" fmla="*/ 1894963 w 1946126"/>
                <a:gd name="connsiteY37" fmla="*/ 708520 h 722928"/>
                <a:gd name="connsiteX38" fmla="*/ 1661182 w 1946126"/>
                <a:gd name="connsiteY38" fmla="*/ 713563 h 722928"/>
                <a:gd name="connsiteX39" fmla="*/ 1596516 w 1946126"/>
                <a:gd name="connsiteY39" fmla="*/ 704198 h 722928"/>
                <a:gd name="connsiteX40" fmla="*/ 1531172 w 1946126"/>
                <a:gd name="connsiteY40" fmla="*/ 708882 h 722928"/>
                <a:gd name="connsiteX41" fmla="*/ 1480048 w 1946126"/>
                <a:gd name="connsiteY41" fmla="*/ 691232 h 722928"/>
                <a:gd name="connsiteX42" fmla="*/ 1474970 w 1946126"/>
                <a:gd name="connsiteY42" fmla="*/ 696275 h 722928"/>
                <a:gd name="connsiteX43" fmla="*/ 1435695 w 1946126"/>
                <a:gd name="connsiteY43" fmla="*/ 722207 h 722928"/>
                <a:gd name="connsiteX44" fmla="*/ 1411300 w 1946126"/>
                <a:gd name="connsiteY44" fmla="*/ 718263 h 722928"/>
                <a:gd name="connsiteX45" fmla="*/ 1410517 w 1946126"/>
                <a:gd name="connsiteY45" fmla="*/ 718151 h 722928"/>
                <a:gd name="connsiteX46" fmla="*/ 1409936 w 1946126"/>
                <a:gd name="connsiteY46" fmla="*/ 722928 h 722928"/>
                <a:gd name="connsiteX47" fmla="*/ 1382091 w 1946126"/>
                <a:gd name="connsiteY47" fmla="*/ 715725 h 722928"/>
                <a:gd name="connsiteX48" fmla="*/ 1373105 w 1946126"/>
                <a:gd name="connsiteY48" fmla="*/ 712921 h 722928"/>
                <a:gd name="connsiteX49" fmla="*/ 1360259 w 1946126"/>
                <a:gd name="connsiteY49" fmla="*/ 711177 h 722928"/>
                <a:gd name="connsiteX50" fmla="*/ 1335710 w 1946126"/>
                <a:gd name="connsiteY50" fmla="*/ 708021 h 722928"/>
                <a:gd name="connsiteX51" fmla="*/ 1322191 w 1946126"/>
                <a:gd name="connsiteY51" fmla="*/ 708049 h 722928"/>
                <a:gd name="connsiteX52" fmla="*/ 1248034 w 1946126"/>
                <a:gd name="connsiteY52" fmla="*/ 709008 h 722928"/>
                <a:gd name="connsiteX53" fmla="*/ 1237421 w 1946126"/>
                <a:gd name="connsiteY53" fmla="*/ 709203 h 722928"/>
                <a:gd name="connsiteX54" fmla="*/ 1228044 w 1946126"/>
                <a:gd name="connsiteY54" fmla="*/ 710564 h 722928"/>
                <a:gd name="connsiteX55" fmla="*/ 1202253 w 1946126"/>
                <a:gd name="connsiteY55" fmla="*/ 711403 h 722928"/>
                <a:gd name="connsiteX56" fmla="*/ 1172996 w 1946126"/>
                <a:gd name="connsiteY56" fmla="*/ 711098 h 722928"/>
                <a:gd name="connsiteX57" fmla="*/ 1172681 w 1946126"/>
                <a:gd name="connsiteY57" fmla="*/ 710434 h 722928"/>
                <a:gd name="connsiteX58" fmla="*/ 1164118 w 1946126"/>
                <a:gd name="connsiteY58" fmla="*/ 710610 h 722928"/>
                <a:gd name="connsiteX59" fmla="*/ 1163773 w 1946126"/>
                <a:gd name="connsiteY59" fmla="*/ 710637 h 722928"/>
                <a:gd name="connsiteX60" fmla="*/ 1163518 w 1946126"/>
                <a:gd name="connsiteY60" fmla="*/ 710622 h 722928"/>
                <a:gd name="connsiteX61" fmla="*/ 1130575 w 1946126"/>
                <a:gd name="connsiteY61" fmla="*/ 711303 h 722928"/>
                <a:gd name="connsiteX62" fmla="*/ 1028986 w 1946126"/>
                <a:gd name="connsiteY62" fmla="*/ 713563 h 722928"/>
                <a:gd name="connsiteX63" fmla="*/ 962449 w 1946126"/>
                <a:gd name="connsiteY63" fmla="*/ 705661 h 722928"/>
                <a:gd name="connsiteX64" fmla="*/ 955659 w 1946126"/>
                <a:gd name="connsiteY64" fmla="*/ 705255 h 722928"/>
                <a:gd name="connsiteX65" fmla="*/ 946919 w 1946126"/>
                <a:gd name="connsiteY65" fmla="*/ 706399 h 722928"/>
                <a:gd name="connsiteX66" fmla="*/ 907868 w 1946126"/>
                <a:gd name="connsiteY66" fmla="*/ 709241 h 722928"/>
                <a:gd name="connsiteX67" fmla="*/ 882940 w 1946126"/>
                <a:gd name="connsiteY67" fmla="*/ 708701 h 722928"/>
                <a:gd name="connsiteX68" fmla="*/ 871030 w 1946126"/>
                <a:gd name="connsiteY68" fmla="*/ 707973 h 722928"/>
                <a:gd name="connsiteX69" fmla="*/ 867789 w 1946126"/>
                <a:gd name="connsiteY69" fmla="*/ 708150 h 722928"/>
                <a:gd name="connsiteX70" fmla="*/ 846016 w 1946126"/>
                <a:gd name="connsiteY70" fmla="*/ 708882 h 722928"/>
                <a:gd name="connsiteX71" fmla="*/ 807450 w 1946126"/>
                <a:gd name="connsiteY71" fmla="*/ 700056 h 722928"/>
                <a:gd name="connsiteX72" fmla="*/ 791896 w 1946126"/>
                <a:gd name="connsiteY72" fmla="*/ 694638 h 722928"/>
                <a:gd name="connsiteX73" fmla="*/ 790289 w 1946126"/>
                <a:gd name="connsiteY73" fmla="*/ 694818 h 722928"/>
                <a:gd name="connsiteX74" fmla="*/ 772102 w 1946126"/>
                <a:gd name="connsiteY74" fmla="*/ 699652 h 722928"/>
                <a:gd name="connsiteX75" fmla="*/ 755738 w 1946126"/>
                <a:gd name="connsiteY75" fmla="*/ 704120 h 722928"/>
                <a:gd name="connsiteX76" fmla="*/ 747502 w 1946126"/>
                <a:gd name="connsiteY76" fmla="*/ 709781 h 722928"/>
                <a:gd name="connsiteX77" fmla="*/ 711646 w 1946126"/>
                <a:gd name="connsiteY77" fmla="*/ 722207 h 722928"/>
                <a:gd name="connsiteX78" fmla="*/ 567093 w 1946126"/>
                <a:gd name="connsiteY78" fmla="*/ 707670 h 722928"/>
                <a:gd name="connsiteX79" fmla="*/ 566680 w 1946126"/>
                <a:gd name="connsiteY79" fmla="*/ 707636 h 722928"/>
                <a:gd name="connsiteX80" fmla="*/ 565815 w 1946126"/>
                <a:gd name="connsiteY80" fmla="*/ 716627 h 722928"/>
                <a:gd name="connsiteX81" fmla="*/ 565270 w 1946126"/>
                <a:gd name="connsiteY81" fmla="*/ 722928 h 722928"/>
                <a:gd name="connsiteX82" fmla="*/ 528366 w 1946126"/>
                <a:gd name="connsiteY82" fmla="*/ 708520 h 722928"/>
                <a:gd name="connsiteX83" fmla="*/ 450230 w 1946126"/>
                <a:gd name="connsiteY83" fmla="*/ 709008 h 722928"/>
                <a:gd name="connsiteX84" fmla="*/ 429209 w 1946126"/>
                <a:gd name="connsiteY84" fmla="*/ 709553 h 722928"/>
                <a:gd name="connsiteX85" fmla="*/ 419408 w 1946126"/>
                <a:gd name="connsiteY85" fmla="*/ 710564 h 722928"/>
                <a:gd name="connsiteX86" fmla="*/ 383109 w 1946126"/>
                <a:gd name="connsiteY86" fmla="*/ 711403 h 722928"/>
                <a:gd name="connsiteX87" fmla="*/ 368283 w 1946126"/>
                <a:gd name="connsiteY87" fmla="*/ 711482 h 722928"/>
                <a:gd name="connsiteX88" fmla="*/ 360823 w 1946126"/>
                <a:gd name="connsiteY88" fmla="*/ 711487 h 722928"/>
                <a:gd name="connsiteX89" fmla="*/ 330637 w 1946126"/>
                <a:gd name="connsiteY89" fmla="*/ 712421 h 722928"/>
                <a:gd name="connsiteX90" fmla="*/ 294585 w 1946126"/>
                <a:gd name="connsiteY90" fmla="*/ 713563 h 722928"/>
                <a:gd name="connsiteX91" fmla="*/ 229918 w 1946126"/>
                <a:gd name="connsiteY91" fmla="*/ 704198 h 722928"/>
                <a:gd name="connsiteX92" fmla="*/ 164575 w 1946126"/>
                <a:gd name="connsiteY92" fmla="*/ 708882 h 722928"/>
                <a:gd name="connsiteX93" fmla="*/ 137171 w 1946126"/>
                <a:gd name="connsiteY93" fmla="*/ 700057 h 722928"/>
                <a:gd name="connsiteX94" fmla="*/ 129819 w 1946126"/>
                <a:gd name="connsiteY94" fmla="*/ 696453 h 722928"/>
                <a:gd name="connsiteX95" fmla="*/ 105919 w 1946126"/>
                <a:gd name="connsiteY95" fmla="*/ 698740 h 722928"/>
                <a:gd name="connsiteX96" fmla="*/ 104140 w 1946126"/>
                <a:gd name="connsiteY96" fmla="*/ 700529 h 722928"/>
                <a:gd name="connsiteX97" fmla="*/ 69098 w 1946126"/>
                <a:gd name="connsiteY97" fmla="*/ 722207 h 722928"/>
                <a:gd name="connsiteX98" fmla="*/ 44702 w 1946126"/>
                <a:gd name="connsiteY98" fmla="*/ 718263 h 722928"/>
                <a:gd name="connsiteX99" fmla="*/ 43920 w 1946126"/>
                <a:gd name="connsiteY99" fmla="*/ 718151 h 722928"/>
                <a:gd name="connsiteX100" fmla="*/ 43338 w 1946126"/>
                <a:gd name="connsiteY100" fmla="*/ 722928 h 722928"/>
                <a:gd name="connsiteX101" fmla="*/ 15493 w 1946126"/>
                <a:gd name="connsiteY101" fmla="*/ 715725 h 722928"/>
                <a:gd name="connsiteX102" fmla="*/ 6507 w 1946126"/>
                <a:gd name="connsiteY102" fmla="*/ 712921 h 722928"/>
                <a:gd name="connsiteX103" fmla="*/ 795 w 1946126"/>
                <a:gd name="connsiteY103" fmla="*/ 712145 h 722928"/>
                <a:gd name="connsiteX104" fmla="*/ 0 w 1946126"/>
                <a:gd name="connsiteY104" fmla="*/ 686552 h 722928"/>
                <a:gd name="connsiteX105" fmla="*/ 11435 w 1946126"/>
                <a:gd name="connsiteY105" fmla="*/ 618117 h 722928"/>
                <a:gd name="connsiteX106" fmla="*/ 2144 w 1946126"/>
                <a:gd name="connsiteY106" fmla="*/ 256137 h 722928"/>
                <a:gd name="connsiteX107" fmla="*/ 3812 w 1946126"/>
                <a:gd name="connsiteY107" fmla="*/ 195986 h 722928"/>
                <a:gd name="connsiteX108" fmla="*/ 4992 w 1946126"/>
                <a:gd name="connsiteY108" fmla="*/ 208861 h 722928"/>
                <a:gd name="connsiteX109" fmla="*/ 5347 w 1946126"/>
                <a:gd name="connsiteY109" fmla="*/ 210784 h 722928"/>
                <a:gd name="connsiteX110" fmla="*/ 5569 w 1946126"/>
                <a:gd name="connsiteY110" fmla="*/ 217791 h 722928"/>
                <a:gd name="connsiteX111" fmla="*/ 6908 w 1946126"/>
                <a:gd name="connsiteY111" fmla="*/ 227682 h 722928"/>
                <a:gd name="connsiteX112" fmla="*/ 7828 w 1946126"/>
                <a:gd name="connsiteY112" fmla="*/ 205874 h 722928"/>
                <a:gd name="connsiteX113" fmla="*/ 8002 w 1946126"/>
                <a:gd name="connsiteY113" fmla="*/ 191956 h 722928"/>
                <a:gd name="connsiteX114" fmla="*/ 8200 w 1946126"/>
                <a:gd name="connsiteY114" fmla="*/ 185147 h 722928"/>
                <a:gd name="connsiteX115" fmla="*/ 7862 w 1946126"/>
                <a:gd name="connsiteY115" fmla="*/ 154566 h 722928"/>
                <a:gd name="connsiteX116" fmla="*/ 8010 w 1946126"/>
                <a:gd name="connsiteY116" fmla="*/ 191259 h 722928"/>
                <a:gd name="connsiteX117" fmla="*/ 8002 w 1946126"/>
                <a:gd name="connsiteY117" fmla="*/ 191956 h 722928"/>
                <a:gd name="connsiteX118" fmla="*/ 7534 w 1946126"/>
                <a:gd name="connsiteY118" fmla="*/ 207962 h 722928"/>
                <a:gd name="connsiteX119" fmla="*/ 6019 w 1946126"/>
                <a:gd name="connsiteY119" fmla="*/ 214434 h 722928"/>
                <a:gd name="connsiteX120" fmla="*/ 5347 w 1946126"/>
                <a:gd name="connsiteY120" fmla="*/ 210784 h 722928"/>
                <a:gd name="connsiteX121" fmla="*/ 4854 w 1946126"/>
                <a:gd name="connsiteY121" fmla="*/ 195221 h 722928"/>
                <a:gd name="connsiteX122" fmla="*/ 6194 w 1946126"/>
                <a:gd name="connsiteY122" fmla="*/ 27062 h 722928"/>
                <a:gd name="connsiteX123" fmla="*/ 45266 w 1946126"/>
                <a:gd name="connsiteY123" fmla="*/ 15536 h 722928"/>
                <a:gd name="connsiteX124" fmla="*/ 115071 w 1946126"/>
                <a:gd name="connsiteY124" fmla="*/ 17336 h 722928"/>
                <a:gd name="connsiteX125" fmla="*/ 217515 w 1946126"/>
                <a:gd name="connsiteY125" fmla="*/ 7612 h 722928"/>
                <a:gd name="connsiteX126" fmla="*/ 210129 w 1946126"/>
                <a:gd name="connsiteY126" fmla="*/ 10854 h 722928"/>
                <a:gd name="connsiteX127" fmla="*/ 252061 w 1946126"/>
                <a:gd name="connsiteY127" fmla="*/ 22379 h 722928"/>
                <a:gd name="connsiteX128" fmla="*/ 260875 w 1946126"/>
                <a:gd name="connsiteY128" fmla="*/ 19858 h 722928"/>
                <a:gd name="connsiteX129" fmla="*/ 313062 w 1946126"/>
                <a:gd name="connsiteY129" fmla="*/ 15545 h 722928"/>
                <a:gd name="connsiteX130" fmla="*/ 328514 w 1946126"/>
                <a:gd name="connsiteY130" fmla="*/ 14661 h 722928"/>
                <a:gd name="connsiteX131" fmla="*/ 328441 w 1946126"/>
                <a:gd name="connsiteY131" fmla="*/ 14684 h 722928"/>
                <a:gd name="connsiteX132" fmla="*/ 332110 w 1946126"/>
                <a:gd name="connsiteY132" fmla="*/ 14456 h 722928"/>
                <a:gd name="connsiteX133" fmla="*/ 328514 w 1946126"/>
                <a:gd name="connsiteY133" fmla="*/ 14661 h 722928"/>
                <a:gd name="connsiteX134" fmla="*/ 331525 w 1946126"/>
                <a:gd name="connsiteY134" fmla="*/ 13718 h 722928"/>
                <a:gd name="connsiteX135" fmla="*/ 384761 w 1946126"/>
                <a:gd name="connsiteY135" fmla="*/ 2930 h 722928"/>
                <a:gd name="connsiteX136" fmla="*/ 485538 w 1946126"/>
                <a:gd name="connsiteY136" fmla="*/ 2930 h 722928"/>
                <a:gd name="connsiteX137" fmla="*/ 628871 w 1946126"/>
                <a:gd name="connsiteY137" fmla="*/ 4 h 722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Lst>
              <a:rect l="l" t="t" r="r" b="b"/>
              <a:pathLst>
                <a:path w="1946126" h="722928">
                  <a:moveTo>
                    <a:pt x="628871" y="4"/>
                  </a:moveTo>
                  <a:cubicBezTo>
                    <a:pt x="676609" y="48"/>
                    <a:pt x="713536" y="589"/>
                    <a:pt x="707342" y="48"/>
                  </a:cubicBezTo>
                  <a:cubicBezTo>
                    <a:pt x="719254" y="48"/>
                    <a:pt x="757850" y="15897"/>
                    <a:pt x="780006" y="19498"/>
                  </a:cubicBezTo>
                  <a:cubicBezTo>
                    <a:pt x="775241" y="19858"/>
                    <a:pt x="958926" y="22020"/>
                    <a:pt x="962262" y="22020"/>
                  </a:cubicBezTo>
                  <a:cubicBezTo>
                    <a:pt x="1047314" y="24180"/>
                    <a:pt x="1079953" y="15176"/>
                    <a:pt x="1155477" y="14456"/>
                  </a:cubicBezTo>
                  <a:cubicBezTo>
                    <a:pt x="1156311" y="14456"/>
                    <a:pt x="1155119" y="15356"/>
                    <a:pt x="1153928" y="16256"/>
                  </a:cubicBezTo>
                  <a:lnTo>
                    <a:pt x="1153140" y="17172"/>
                  </a:lnTo>
                  <a:lnTo>
                    <a:pt x="1160406" y="17652"/>
                  </a:lnTo>
                  <a:cubicBezTo>
                    <a:pt x="1173906" y="18418"/>
                    <a:pt x="1186010" y="18778"/>
                    <a:pt x="1181016" y="17336"/>
                  </a:cubicBezTo>
                  <a:cubicBezTo>
                    <a:pt x="1192866" y="15176"/>
                    <a:pt x="1207424" y="1129"/>
                    <a:pt x="1253808" y="7612"/>
                  </a:cubicBezTo>
                  <a:cubicBezTo>
                    <a:pt x="1233663" y="10854"/>
                    <a:pt x="1266673" y="7973"/>
                    <a:pt x="1248560" y="10854"/>
                  </a:cubicBezTo>
                  <a:cubicBezTo>
                    <a:pt x="1254062" y="10674"/>
                    <a:pt x="1258061" y="11484"/>
                    <a:pt x="1261119" y="12755"/>
                  </a:cubicBezTo>
                  <a:lnTo>
                    <a:pt x="1261589" y="13074"/>
                  </a:lnTo>
                  <a:lnTo>
                    <a:pt x="1272633" y="12654"/>
                  </a:lnTo>
                  <a:cubicBezTo>
                    <a:pt x="1294611" y="12294"/>
                    <a:pt x="1314265" y="12294"/>
                    <a:pt x="1328679" y="8692"/>
                  </a:cubicBezTo>
                  <a:cubicBezTo>
                    <a:pt x="1328500" y="9052"/>
                    <a:pt x="1334248" y="9030"/>
                    <a:pt x="1344775" y="8810"/>
                  </a:cubicBezTo>
                  <a:lnTo>
                    <a:pt x="1351696" y="8647"/>
                  </a:lnTo>
                  <a:lnTo>
                    <a:pt x="1364395" y="5085"/>
                  </a:lnTo>
                  <a:cubicBezTo>
                    <a:pt x="1369080" y="3808"/>
                    <a:pt x="1372434" y="2930"/>
                    <a:pt x="1372645" y="2930"/>
                  </a:cubicBezTo>
                  <a:cubicBezTo>
                    <a:pt x="1416828" y="1489"/>
                    <a:pt x="1442222" y="2930"/>
                    <a:pt x="1444253" y="2930"/>
                  </a:cubicBezTo>
                  <a:cubicBezTo>
                    <a:pt x="1470577" y="409"/>
                    <a:pt x="1512178" y="-42"/>
                    <a:pt x="1546098" y="4"/>
                  </a:cubicBezTo>
                  <a:cubicBezTo>
                    <a:pt x="1580019" y="48"/>
                    <a:pt x="1606258" y="589"/>
                    <a:pt x="1601856" y="48"/>
                  </a:cubicBezTo>
                  <a:cubicBezTo>
                    <a:pt x="1606088" y="48"/>
                    <a:pt x="1615060" y="4010"/>
                    <a:pt x="1624943" y="8422"/>
                  </a:cubicBezTo>
                  <a:lnTo>
                    <a:pt x="1626431" y="9068"/>
                  </a:lnTo>
                  <a:lnTo>
                    <a:pt x="1635773" y="7612"/>
                  </a:lnTo>
                  <a:lnTo>
                    <a:pt x="1716227" y="9797"/>
                  </a:lnTo>
                  <a:lnTo>
                    <a:pt x="1728774" y="7242"/>
                  </a:lnTo>
                  <a:cubicBezTo>
                    <a:pt x="1740516" y="4906"/>
                    <a:pt x="1750913" y="2930"/>
                    <a:pt x="1751359" y="2930"/>
                  </a:cubicBezTo>
                  <a:cubicBezTo>
                    <a:pt x="1813540" y="1489"/>
                    <a:pt x="1849277" y="2930"/>
                    <a:pt x="1852136" y="2930"/>
                  </a:cubicBezTo>
                  <a:cubicBezTo>
                    <a:pt x="1870659" y="1669"/>
                    <a:pt x="1894558" y="926"/>
                    <a:pt x="1919793" y="504"/>
                  </a:cubicBezTo>
                  <a:lnTo>
                    <a:pt x="1940716" y="366"/>
                  </a:lnTo>
                  <a:lnTo>
                    <a:pt x="1942554" y="67130"/>
                  </a:lnTo>
                  <a:cubicBezTo>
                    <a:pt x="1944480" y="124939"/>
                    <a:pt x="1946426" y="168791"/>
                    <a:pt x="1946088" y="172212"/>
                  </a:cubicBezTo>
                  <a:cubicBezTo>
                    <a:pt x="1945749" y="246410"/>
                    <a:pt x="1940501" y="369231"/>
                    <a:pt x="1940501" y="370311"/>
                  </a:cubicBezTo>
                  <a:cubicBezTo>
                    <a:pt x="1940332" y="395164"/>
                    <a:pt x="1941009" y="554724"/>
                    <a:pt x="1943718" y="561208"/>
                  </a:cubicBezTo>
                  <a:lnTo>
                    <a:pt x="1944395" y="560126"/>
                  </a:lnTo>
                  <a:cubicBezTo>
                    <a:pt x="1944564" y="599747"/>
                    <a:pt x="1931868" y="719686"/>
                    <a:pt x="1931868" y="722928"/>
                  </a:cubicBezTo>
                  <a:cubicBezTo>
                    <a:pt x="1926281" y="722928"/>
                    <a:pt x="1896994" y="708520"/>
                    <a:pt x="1894963" y="708520"/>
                  </a:cubicBezTo>
                  <a:cubicBezTo>
                    <a:pt x="1883960" y="705999"/>
                    <a:pt x="1663722" y="713563"/>
                    <a:pt x="1661182" y="713563"/>
                  </a:cubicBezTo>
                  <a:cubicBezTo>
                    <a:pt x="1657627" y="713563"/>
                    <a:pt x="1614968" y="704198"/>
                    <a:pt x="1596516" y="704198"/>
                  </a:cubicBezTo>
                  <a:cubicBezTo>
                    <a:pt x="1592792" y="704198"/>
                    <a:pt x="1544884" y="708882"/>
                    <a:pt x="1531172" y="708882"/>
                  </a:cubicBezTo>
                  <a:cubicBezTo>
                    <a:pt x="1511873" y="708882"/>
                    <a:pt x="1494438" y="691232"/>
                    <a:pt x="1480048" y="691232"/>
                  </a:cubicBezTo>
                  <a:cubicBezTo>
                    <a:pt x="1477509" y="691232"/>
                    <a:pt x="1477340" y="696275"/>
                    <a:pt x="1474970" y="696275"/>
                  </a:cubicBezTo>
                  <a:cubicBezTo>
                    <a:pt x="1473954" y="696275"/>
                    <a:pt x="1452285" y="723649"/>
                    <a:pt x="1435695" y="722207"/>
                  </a:cubicBezTo>
                  <a:cubicBezTo>
                    <a:pt x="1434934" y="721847"/>
                    <a:pt x="1425337" y="720317"/>
                    <a:pt x="1411300" y="718263"/>
                  </a:cubicBezTo>
                  <a:lnTo>
                    <a:pt x="1410517" y="718151"/>
                  </a:lnTo>
                  <a:lnTo>
                    <a:pt x="1409936" y="722928"/>
                  </a:lnTo>
                  <a:cubicBezTo>
                    <a:pt x="1406005" y="722928"/>
                    <a:pt x="1393735" y="719326"/>
                    <a:pt x="1382091" y="715725"/>
                  </a:cubicBezTo>
                  <a:lnTo>
                    <a:pt x="1373105" y="712921"/>
                  </a:lnTo>
                  <a:lnTo>
                    <a:pt x="1360259" y="711177"/>
                  </a:lnTo>
                  <a:lnTo>
                    <a:pt x="1335710" y="708021"/>
                  </a:lnTo>
                  <a:lnTo>
                    <a:pt x="1322191" y="708049"/>
                  </a:lnTo>
                  <a:cubicBezTo>
                    <a:pt x="1302544" y="708169"/>
                    <a:pt x="1276504" y="708528"/>
                    <a:pt x="1248034" y="709008"/>
                  </a:cubicBezTo>
                  <a:lnTo>
                    <a:pt x="1237421" y="709203"/>
                  </a:lnTo>
                  <a:lnTo>
                    <a:pt x="1228044" y="710564"/>
                  </a:lnTo>
                  <a:cubicBezTo>
                    <a:pt x="1220133" y="711358"/>
                    <a:pt x="1211563" y="711763"/>
                    <a:pt x="1202253" y="711403"/>
                  </a:cubicBezTo>
                  <a:cubicBezTo>
                    <a:pt x="1193238" y="711403"/>
                    <a:pt x="1177749" y="711807"/>
                    <a:pt x="1172996" y="711098"/>
                  </a:cubicBezTo>
                  <a:lnTo>
                    <a:pt x="1172681" y="710434"/>
                  </a:lnTo>
                  <a:lnTo>
                    <a:pt x="1164118" y="710610"/>
                  </a:lnTo>
                  <a:lnTo>
                    <a:pt x="1163773" y="710637"/>
                  </a:lnTo>
                  <a:lnTo>
                    <a:pt x="1163518" y="710622"/>
                  </a:lnTo>
                  <a:lnTo>
                    <a:pt x="1130575" y="711303"/>
                  </a:lnTo>
                  <a:cubicBezTo>
                    <a:pt x="1074751" y="712499"/>
                    <a:pt x="1030326" y="713563"/>
                    <a:pt x="1028986" y="713563"/>
                  </a:cubicBezTo>
                  <a:cubicBezTo>
                    <a:pt x="1025234" y="713563"/>
                    <a:pt x="990525" y="708295"/>
                    <a:pt x="962449" y="705661"/>
                  </a:cubicBezTo>
                  <a:lnTo>
                    <a:pt x="955659" y="705255"/>
                  </a:lnTo>
                  <a:lnTo>
                    <a:pt x="946919" y="706399"/>
                  </a:lnTo>
                  <a:cubicBezTo>
                    <a:pt x="930552" y="708295"/>
                    <a:pt x="916501" y="709511"/>
                    <a:pt x="907868" y="709241"/>
                  </a:cubicBezTo>
                  <a:cubicBezTo>
                    <a:pt x="906513" y="709241"/>
                    <a:pt x="894621" y="709151"/>
                    <a:pt x="882940" y="708701"/>
                  </a:cubicBezTo>
                  <a:lnTo>
                    <a:pt x="871030" y="707973"/>
                  </a:lnTo>
                  <a:lnTo>
                    <a:pt x="867789" y="708150"/>
                  </a:lnTo>
                  <a:cubicBezTo>
                    <a:pt x="858672" y="708589"/>
                    <a:pt x="850840" y="708882"/>
                    <a:pt x="846016" y="708882"/>
                  </a:cubicBezTo>
                  <a:cubicBezTo>
                    <a:pt x="832436" y="708882"/>
                    <a:pt x="819511" y="704469"/>
                    <a:pt x="807450" y="700056"/>
                  </a:cubicBezTo>
                  <a:lnTo>
                    <a:pt x="791896" y="694638"/>
                  </a:lnTo>
                  <a:lnTo>
                    <a:pt x="790289" y="694818"/>
                  </a:lnTo>
                  <a:cubicBezTo>
                    <a:pt x="784840" y="696039"/>
                    <a:pt x="778492" y="697828"/>
                    <a:pt x="772102" y="699652"/>
                  </a:cubicBezTo>
                  <a:lnTo>
                    <a:pt x="755738" y="704120"/>
                  </a:lnTo>
                  <a:lnTo>
                    <a:pt x="747502" y="709781"/>
                  </a:lnTo>
                  <a:cubicBezTo>
                    <a:pt x="736781" y="716445"/>
                    <a:pt x="723320" y="722928"/>
                    <a:pt x="711646" y="722207"/>
                  </a:cubicBezTo>
                  <a:cubicBezTo>
                    <a:pt x="708967" y="721308"/>
                    <a:pt x="628578" y="713091"/>
                    <a:pt x="567093" y="707670"/>
                  </a:cubicBezTo>
                  <a:lnTo>
                    <a:pt x="566680" y="707636"/>
                  </a:lnTo>
                  <a:lnTo>
                    <a:pt x="565815" y="716627"/>
                  </a:lnTo>
                  <a:cubicBezTo>
                    <a:pt x="565468" y="720294"/>
                    <a:pt x="565270" y="722523"/>
                    <a:pt x="565270" y="722928"/>
                  </a:cubicBezTo>
                  <a:cubicBezTo>
                    <a:pt x="559683" y="722928"/>
                    <a:pt x="530397" y="708520"/>
                    <a:pt x="528366" y="708520"/>
                  </a:cubicBezTo>
                  <a:cubicBezTo>
                    <a:pt x="524239" y="707575"/>
                    <a:pt x="490689" y="708048"/>
                    <a:pt x="450230" y="709008"/>
                  </a:cubicBezTo>
                  <a:lnTo>
                    <a:pt x="429209" y="709553"/>
                  </a:lnTo>
                  <a:lnTo>
                    <a:pt x="419408" y="710564"/>
                  </a:lnTo>
                  <a:cubicBezTo>
                    <a:pt x="408274" y="711358"/>
                    <a:pt x="396213" y="711763"/>
                    <a:pt x="383109" y="711403"/>
                  </a:cubicBezTo>
                  <a:cubicBezTo>
                    <a:pt x="378881" y="711403"/>
                    <a:pt x="373639" y="711448"/>
                    <a:pt x="368283" y="711482"/>
                  </a:cubicBezTo>
                  <a:lnTo>
                    <a:pt x="360823" y="711487"/>
                  </a:lnTo>
                  <a:lnTo>
                    <a:pt x="330637" y="712421"/>
                  </a:lnTo>
                  <a:cubicBezTo>
                    <a:pt x="309461" y="713091"/>
                    <a:pt x="295219" y="713563"/>
                    <a:pt x="294585" y="713563"/>
                  </a:cubicBezTo>
                  <a:cubicBezTo>
                    <a:pt x="291030" y="713563"/>
                    <a:pt x="248370" y="704198"/>
                    <a:pt x="229918" y="704198"/>
                  </a:cubicBezTo>
                  <a:cubicBezTo>
                    <a:pt x="226194" y="704198"/>
                    <a:pt x="178286" y="708882"/>
                    <a:pt x="164575" y="708882"/>
                  </a:cubicBezTo>
                  <a:cubicBezTo>
                    <a:pt x="154925" y="708882"/>
                    <a:pt x="145741" y="704469"/>
                    <a:pt x="137171" y="700057"/>
                  </a:cubicBezTo>
                  <a:lnTo>
                    <a:pt x="129819" y="696453"/>
                  </a:lnTo>
                  <a:lnTo>
                    <a:pt x="105919" y="698740"/>
                  </a:lnTo>
                  <a:lnTo>
                    <a:pt x="104140" y="700529"/>
                  </a:lnTo>
                  <a:cubicBezTo>
                    <a:pt x="96840" y="708161"/>
                    <a:pt x="81540" y="723289"/>
                    <a:pt x="69098" y="722207"/>
                  </a:cubicBezTo>
                  <a:cubicBezTo>
                    <a:pt x="68336" y="721847"/>
                    <a:pt x="58740" y="720317"/>
                    <a:pt x="44702" y="718263"/>
                  </a:cubicBezTo>
                  <a:lnTo>
                    <a:pt x="43920" y="718151"/>
                  </a:lnTo>
                  <a:lnTo>
                    <a:pt x="43338" y="722928"/>
                  </a:lnTo>
                  <a:cubicBezTo>
                    <a:pt x="39407" y="722928"/>
                    <a:pt x="27138" y="719326"/>
                    <a:pt x="15493" y="715725"/>
                  </a:cubicBezTo>
                  <a:lnTo>
                    <a:pt x="6507" y="712921"/>
                  </a:lnTo>
                  <a:lnTo>
                    <a:pt x="795" y="712145"/>
                  </a:lnTo>
                  <a:lnTo>
                    <a:pt x="0" y="686552"/>
                  </a:lnTo>
                  <a:cubicBezTo>
                    <a:pt x="1191" y="672144"/>
                    <a:pt x="10959" y="641529"/>
                    <a:pt x="11435" y="618117"/>
                  </a:cubicBezTo>
                  <a:cubicBezTo>
                    <a:pt x="10482" y="594346"/>
                    <a:pt x="8100" y="288552"/>
                    <a:pt x="2144" y="256137"/>
                  </a:cubicBezTo>
                  <a:cubicBezTo>
                    <a:pt x="6908" y="278828"/>
                    <a:pt x="1905" y="217596"/>
                    <a:pt x="3812" y="195986"/>
                  </a:cubicBezTo>
                  <a:cubicBezTo>
                    <a:pt x="4229" y="201614"/>
                    <a:pt x="4623" y="205846"/>
                    <a:pt x="4992" y="208861"/>
                  </a:cubicBezTo>
                  <a:lnTo>
                    <a:pt x="5347" y="210784"/>
                  </a:lnTo>
                  <a:lnTo>
                    <a:pt x="5569" y="217791"/>
                  </a:lnTo>
                  <a:cubicBezTo>
                    <a:pt x="5904" y="223433"/>
                    <a:pt x="6343" y="226962"/>
                    <a:pt x="6908" y="227682"/>
                  </a:cubicBezTo>
                  <a:cubicBezTo>
                    <a:pt x="7385" y="218407"/>
                    <a:pt x="7668" y="211541"/>
                    <a:pt x="7828" y="205874"/>
                  </a:cubicBezTo>
                  <a:lnTo>
                    <a:pt x="8002" y="191956"/>
                  </a:lnTo>
                  <a:lnTo>
                    <a:pt x="8200" y="185147"/>
                  </a:lnTo>
                  <a:cubicBezTo>
                    <a:pt x="8264" y="175771"/>
                    <a:pt x="8159" y="165101"/>
                    <a:pt x="7862" y="154566"/>
                  </a:cubicBezTo>
                  <a:cubicBezTo>
                    <a:pt x="7742" y="173295"/>
                    <a:pt x="7981" y="182300"/>
                    <a:pt x="8010" y="191259"/>
                  </a:cubicBezTo>
                  <a:lnTo>
                    <a:pt x="8002" y="191956"/>
                  </a:lnTo>
                  <a:lnTo>
                    <a:pt x="7534" y="207962"/>
                  </a:lnTo>
                  <a:cubicBezTo>
                    <a:pt x="7162" y="213320"/>
                    <a:pt x="6648" y="215953"/>
                    <a:pt x="6019" y="214434"/>
                  </a:cubicBezTo>
                  <a:lnTo>
                    <a:pt x="5347" y="210784"/>
                  </a:lnTo>
                  <a:lnTo>
                    <a:pt x="4854" y="195221"/>
                  </a:lnTo>
                  <a:cubicBezTo>
                    <a:pt x="3960" y="140181"/>
                    <a:pt x="6015" y="34085"/>
                    <a:pt x="6194" y="27062"/>
                  </a:cubicBezTo>
                  <a:cubicBezTo>
                    <a:pt x="16677" y="27781"/>
                    <a:pt x="37880" y="14456"/>
                    <a:pt x="45266" y="15536"/>
                  </a:cubicBezTo>
                  <a:cubicBezTo>
                    <a:pt x="46934" y="15897"/>
                    <a:pt x="129127" y="20219"/>
                    <a:pt x="115071" y="17336"/>
                  </a:cubicBezTo>
                  <a:cubicBezTo>
                    <a:pt x="131748" y="15176"/>
                    <a:pt x="152236" y="1129"/>
                    <a:pt x="217515" y="7612"/>
                  </a:cubicBezTo>
                  <a:cubicBezTo>
                    <a:pt x="189164" y="10854"/>
                    <a:pt x="235622" y="7973"/>
                    <a:pt x="210129" y="10854"/>
                  </a:cubicBezTo>
                  <a:cubicBezTo>
                    <a:pt x="241100" y="10133"/>
                    <a:pt x="238242" y="25260"/>
                    <a:pt x="252061" y="22379"/>
                  </a:cubicBezTo>
                  <a:cubicBezTo>
                    <a:pt x="256826" y="22379"/>
                    <a:pt x="256111" y="20219"/>
                    <a:pt x="260875" y="19858"/>
                  </a:cubicBezTo>
                  <a:cubicBezTo>
                    <a:pt x="296314" y="13869"/>
                    <a:pt x="277214" y="17259"/>
                    <a:pt x="313062" y="15545"/>
                  </a:cubicBezTo>
                  <a:lnTo>
                    <a:pt x="328514" y="14661"/>
                  </a:lnTo>
                  <a:lnTo>
                    <a:pt x="328441" y="14684"/>
                  </a:lnTo>
                  <a:cubicBezTo>
                    <a:pt x="328432" y="14827"/>
                    <a:pt x="329549" y="14771"/>
                    <a:pt x="332110" y="14456"/>
                  </a:cubicBezTo>
                  <a:lnTo>
                    <a:pt x="328514" y="14661"/>
                  </a:lnTo>
                  <a:lnTo>
                    <a:pt x="331525" y="13718"/>
                  </a:lnTo>
                  <a:cubicBezTo>
                    <a:pt x="343173" y="10832"/>
                    <a:pt x="383868" y="2930"/>
                    <a:pt x="384761" y="2930"/>
                  </a:cubicBezTo>
                  <a:cubicBezTo>
                    <a:pt x="446943" y="1489"/>
                    <a:pt x="482680" y="2930"/>
                    <a:pt x="485538" y="2930"/>
                  </a:cubicBezTo>
                  <a:cubicBezTo>
                    <a:pt x="522585" y="408"/>
                    <a:pt x="581133" y="-42"/>
                    <a:pt x="628871" y="4"/>
                  </a:cubicBezTo>
                  <a:close/>
                </a:path>
              </a:pathLst>
            </a:custGeom>
            <a:solidFill>
              <a:schemeClr val="bg2"/>
            </a:solidFill>
            <a:ln w="22748" cap="flat">
              <a:noFill/>
              <a:prstDash val="solid"/>
              <a:miter/>
            </a:ln>
            <a:effectLst>
              <a:outerShdw blurRad="76200" dist="63500" dir="5400000" sx="96000" sy="96000" algn="t" rotWithShape="0">
                <a:prstClr val="black">
                  <a:alpha val="5000"/>
                </a:prstClr>
              </a:outerShdw>
            </a:effectLst>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l-NL" sz="3600" b="0" i="0" u="none" strike="noStrike" kern="1200" cap="none" spc="0" normalizeH="0" baseline="0" noProof="0">
                <a:ln>
                  <a:noFill/>
                </a:ln>
                <a:solidFill>
                  <a:srgbClr val="3F3A31"/>
                </a:solidFill>
                <a:effectLst/>
                <a:uLnTx/>
                <a:uFillTx/>
                <a:latin typeface="Tw Cen MT Condensed"/>
                <a:ea typeface="+mn-ea"/>
                <a:cs typeface="+mn-cs"/>
              </a:endParaRPr>
            </a:p>
          </p:txBody>
        </p:sp>
        <p:sp>
          <p:nvSpPr>
            <p:cNvPr id="10" name="Tekstvak 9">
              <a:extLst>
                <a:ext uri="{FF2B5EF4-FFF2-40B4-BE49-F238E27FC236}">
                  <a16:creationId xmlns:a16="http://schemas.microsoft.com/office/drawing/2014/main" id="{04B71340-9AB5-9563-4B62-9A3E4E000404}"/>
                </a:ext>
              </a:extLst>
            </p:cNvPr>
            <p:cNvSpPr txBox="1"/>
            <p:nvPr/>
          </p:nvSpPr>
          <p:spPr>
            <a:xfrm>
              <a:off x="6614874" y="2192921"/>
              <a:ext cx="989463" cy="377115"/>
            </a:xfrm>
            <a:prstGeom prst="rect">
              <a:avLst/>
            </a:prstGeom>
            <a:noFill/>
          </p:spPr>
          <p:txBody>
            <a:bodyPr wrap="square" lIns="0" tIns="0" rIns="0" bIns="0" rtlCol="0" anchor="ctr">
              <a:noAutofit/>
            </a:bodyPr>
            <a:lstStyle/>
            <a:p>
              <a:pPr algn="ctr">
                <a:lnSpc>
                  <a:spcPct val="85000"/>
                </a:lnSpc>
                <a:spcBef>
                  <a:spcPts val="200"/>
                </a:spcBef>
                <a:spcAft>
                  <a:spcPts val="200"/>
                </a:spcAft>
              </a:pPr>
              <a:r>
                <a:rPr lang="nl-NL" sz="1050" dirty="0">
                  <a:solidFill>
                    <a:schemeClr val="accent1"/>
                  </a:solidFill>
                  <a:latin typeface="+mj-lt"/>
                </a:rPr>
                <a:t>1 op de 5 personen </a:t>
              </a:r>
              <a:r>
                <a:rPr lang="nl-NL" sz="1050" dirty="0">
                  <a:solidFill>
                    <a:schemeClr val="accent1"/>
                  </a:solidFill>
                </a:rPr>
                <a:t>in </a:t>
              </a:r>
              <a:r>
                <a:rPr lang="nl-NL" sz="1050" dirty="0">
                  <a:solidFill>
                    <a:schemeClr val="accent1"/>
                  </a:solidFill>
                  <a:latin typeface="+mj-lt"/>
                </a:rPr>
                <a:t>2023 </a:t>
              </a:r>
              <a:br>
                <a:rPr lang="nl-NL" sz="1050" dirty="0">
                  <a:solidFill>
                    <a:schemeClr val="accent1"/>
                  </a:solidFill>
                  <a:latin typeface="+mj-lt"/>
                </a:rPr>
              </a:br>
              <a:r>
                <a:rPr lang="nl-NL" sz="1050" dirty="0">
                  <a:solidFill>
                    <a:schemeClr val="accent1"/>
                  </a:solidFill>
                </a:rPr>
                <a:t>zal in de zorg moeten werken. </a:t>
              </a:r>
            </a:p>
            <a:p>
              <a:pPr algn="ctr">
                <a:lnSpc>
                  <a:spcPct val="85000"/>
                </a:lnSpc>
                <a:spcBef>
                  <a:spcPts val="200"/>
                </a:spcBef>
                <a:spcAft>
                  <a:spcPts val="200"/>
                </a:spcAft>
              </a:pPr>
              <a:r>
                <a:rPr lang="nl-NL" sz="1050" dirty="0">
                  <a:solidFill>
                    <a:schemeClr val="accent1"/>
                  </a:solidFill>
                </a:rPr>
                <a:t>Bij ongewijzigd beleid loopt dit </a:t>
              </a:r>
              <a:br>
                <a:rPr lang="nl-NL" sz="1050" dirty="0">
                  <a:solidFill>
                    <a:schemeClr val="accent1"/>
                  </a:solidFill>
                </a:rPr>
              </a:br>
              <a:r>
                <a:rPr lang="nl-NL" sz="1050" dirty="0">
                  <a:solidFill>
                    <a:schemeClr val="accent1"/>
                  </a:solidFill>
                </a:rPr>
                <a:t>landelijk op naar </a:t>
              </a:r>
              <a:r>
                <a:rPr lang="nl-NL" sz="1050" dirty="0">
                  <a:solidFill>
                    <a:schemeClr val="accent1"/>
                  </a:solidFill>
                  <a:latin typeface="+mj-lt"/>
                </a:rPr>
                <a:t>1 op de 3</a:t>
              </a:r>
              <a:r>
                <a:rPr lang="nl-NL" sz="1050" dirty="0">
                  <a:solidFill>
                    <a:schemeClr val="accent1"/>
                  </a:solidFill>
                </a:rPr>
                <a:t> in </a:t>
              </a:r>
              <a:r>
                <a:rPr lang="nl-NL" sz="1050" dirty="0">
                  <a:solidFill>
                    <a:schemeClr val="accent1"/>
                  </a:solidFill>
                  <a:latin typeface="+mj-lt"/>
                </a:rPr>
                <a:t>2060</a:t>
              </a:r>
              <a:r>
                <a:rPr lang="nl-NL" sz="1050" baseline="30000" dirty="0">
                  <a:solidFill>
                    <a:schemeClr val="accent1"/>
                  </a:solidFill>
                </a:rPr>
                <a:t>1</a:t>
              </a:r>
            </a:p>
          </p:txBody>
        </p:sp>
      </p:grpSp>
      <p:sp>
        <p:nvSpPr>
          <p:cNvPr id="15" name="Boog 14">
            <a:extLst>
              <a:ext uri="{FF2B5EF4-FFF2-40B4-BE49-F238E27FC236}">
                <a16:creationId xmlns:a16="http://schemas.microsoft.com/office/drawing/2014/main" id="{CEA0F5B2-9DD8-8D70-D8A9-EB4A28E60421}"/>
              </a:ext>
            </a:extLst>
          </p:cNvPr>
          <p:cNvSpPr/>
          <p:nvPr/>
        </p:nvSpPr>
        <p:spPr>
          <a:xfrm>
            <a:off x="7033628" y="2542756"/>
            <a:ext cx="889000" cy="889000"/>
          </a:xfrm>
          <a:prstGeom prst="arc">
            <a:avLst>
              <a:gd name="adj1" fmla="val 10888128"/>
              <a:gd name="adj2" fmla="val 0"/>
            </a:avLst>
          </a:prstGeom>
          <a:ln w="12700" cap="rnd">
            <a:solidFill>
              <a:schemeClr val="accent1"/>
            </a:solidFill>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 Placeholder 1">
            <a:extLst>
              <a:ext uri="{FF2B5EF4-FFF2-40B4-BE49-F238E27FC236}">
                <a16:creationId xmlns:a16="http://schemas.microsoft.com/office/drawing/2014/main" id="{4F72ED96-0280-321D-6769-8549DF59107A}"/>
              </a:ext>
            </a:extLst>
          </p:cNvPr>
          <p:cNvSpPr>
            <a:spLocks noGrp="1"/>
          </p:cNvSpPr>
          <p:nvPr>
            <p:custDataLst>
              <p:tags r:id="rId1"/>
            </p:custDataLst>
          </p:nvPr>
        </p:nvSpPr>
        <p:spPr bwMode="auto">
          <a:xfrm>
            <a:off x="7106359" y="2170988"/>
            <a:ext cx="743538" cy="743536"/>
          </a:xfrm>
          <a:prstGeom prst="ellipse">
            <a:avLst/>
          </a:prstGeom>
          <a:solidFill>
            <a:schemeClr val="accent2"/>
          </a:solidFill>
          <a:ln w="9525" algn="ctr">
            <a:noFill/>
          </a:ln>
          <a:effectLst/>
        </p:spPr>
        <p:txBody>
          <a:bodyPr vert="horz" wrap="none" lIns="0" tIns="0" rIns="0" bIns="0" numCol="1" spcCol="0" rtlCol="0" anchor="ctr" anchorCtr="0">
            <a:noAutofit/>
          </a:bodyPr>
          <a:lstStyle>
            <a:lvl1pPr marL="201168"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noProof="0" dirty="0" smtClean="0">
                <a:solidFill>
                  <a:schemeClr val="tx1"/>
                </a:solidFill>
                <a:latin typeface="+mn-lt"/>
                <a:ea typeface="+mn-ea"/>
                <a:cs typeface="+mn-cs"/>
              </a:defRPr>
            </a:lvl1pPr>
            <a:lvl2pPr marL="402336"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noProof="0" dirty="0" smtClean="0">
                <a:solidFill>
                  <a:schemeClr val="tx1"/>
                </a:solidFill>
                <a:latin typeface="+mn-lt"/>
                <a:ea typeface="+mn-ea"/>
                <a:cs typeface="+mn-cs"/>
              </a:defRPr>
            </a:lvl2pPr>
            <a:lvl3pPr marL="603504"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noProof="0" dirty="0" smtClean="0">
                <a:solidFill>
                  <a:schemeClr val="tx1"/>
                </a:solidFill>
                <a:latin typeface="+mn-lt"/>
                <a:ea typeface="+mn-ea"/>
                <a:cs typeface="+mn-cs"/>
              </a:defRPr>
            </a:lvl3pPr>
            <a:lvl4pPr marL="804672"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noProof="0" dirty="0" smtClean="0">
                <a:solidFill>
                  <a:schemeClr val="tx1"/>
                </a:solidFill>
                <a:latin typeface="+mn-lt"/>
                <a:ea typeface="+mn-ea"/>
                <a:cs typeface="+mn-cs"/>
              </a:defRPr>
            </a:lvl4pPr>
            <a:lvl5pPr marL="1005840"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baseline="0" noProof="0" dirty="0">
                <a:solidFill>
                  <a:schemeClr val="tx1"/>
                </a:solidFill>
                <a:latin typeface="+mn-lt"/>
                <a:ea typeface="+mn-ea"/>
                <a:cs typeface="+mn-cs"/>
              </a:defRPr>
            </a:lvl5pPr>
            <a:lvl6pPr marL="1207008"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6pPr>
            <a:lvl7pPr marL="1408176"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7pPr>
            <a:lvl8pPr marL="1609344"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8pPr>
            <a:lvl9pPr marL="1810512"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a:solidFill>
                  <a:schemeClr val="tx1"/>
                </a:solidFill>
                <a:latin typeface="+mn-lt"/>
                <a:ea typeface="+mn-ea"/>
                <a:cs typeface="+mn-cs"/>
              </a:defRPr>
            </a:lvl9pPr>
          </a:lstStyle>
          <a:p>
            <a:pPr marL="0" indent="0" algn="ctr">
              <a:spcBef>
                <a:spcPct val="0"/>
              </a:spcBef>
              <a:spcAft>
                <a:spcPct val="0"/>
              </a:spcAft>
              <a:buNone/>
              <a:defRPr/>
            </a:pPr>
            <a:r>
              <a:rPr lang="nl-NL" altLang="en-US" sz="1400" b="1" spc="-30" dirty="0">
                <a:solidFill>
                  <a:schemeClr val="accent1"/>
                </a:solidFill>
                <a:latin typeface="+mj-lt"/>
              </a:rPr>
              <a:t>-800</a:t>
            </a:r>
            <a:br>
              <a:rPr lang="nl-NL" altLang="en-US" sz="1400" b="1" spc="-30" dirty="0">
                <a:solidFill>
                  <a:schemeClr val="accent1"/>
                </a:solidFill>
                <a:latin typeface="+mj-lt"/>
              </a:rPr>
            </a:br>
            <a:r>
              <a:rPr lang="nl-NL" altLang="en-US" sz="1050" b="1" dirty="0">
                <a:solidFill>
                  <a:schemeClr val="accent3"/>
                </a:solidFill>
                <a:latin typeface="+mj-lt"/>
              </a:rPr>
              <a:t>(2%)</a:t>
            </a:r>
            <a:endParaRPr lang="nl-NL" sz="1400" dirty="0">
              <a:solidFill>
                <a:schemeClr val="accent3"/>
              </a:solidFill>
            </a:endParaRPr>
          </a:p>
        </p:txBody>
      </p:sp>
      <p:sp>
        <p:nvSpPr>
          <p:cNvPr id="16" name="Boog 15">
            <a:extLst>
              <a:ext uri="{FF2B5EF4-FFF2-40B4-BE49-F238E27FC236}">
                <a16:creationId xmlns:a16="http://schemas.microsoft.com/office/drawing/2014/main" id="{6409DCBB-3665-C3C2-E9BF-ED7C965B8E0B}"/>
              </a:ext>
            </a:extLst>
          </p:cNvPr>
          <p:cNvSpPr/>
          <p:nvPr/>
        </p:nvSpPr>
        <p:spPr>
          <a:xfrm>
            <a:off x="9605378" y="2209088"/>
            <a:ext cx="889000" cy="889000"/>
          </a:xfrm>
          <a:prstGeom prst="arc">
            <a:avLst>
              <a:gd name="adj1" fmla="val 10888128"/>
              <a:gd name="adj2" fmla="val 0"/>
            </a:avLst>
          </a:prstGeom>
          <a:ln w="12700" cap="rnd">
            <a:solidFill>
              <a:schemeClr val="accent1"/>
            </a:solidFill>
            <a:round/>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Text Placeholder 1">
            <a:extLst>
              <a:ext uri="{FF2B5EF4-FFF2-40B4-BE49-F238E27FC236}">
                <a16:creationId xmlns:a16="http://schemas.microsoft.com/office/drawing/2014/main" id="{167A5107-4724-F155-BD44-2049AA6541FD}"/>
              </a:ext>
            </a:extLst>
          </p:cNvPr>
          <p:cNvSpPr>
            <a:spLocks noGrp="1"/>
          </p:cNvSpPr>
          <p:nvPr>
            <p:custDataLst>
              <p:tags r:id="rId2"/>
            </p:custDataLst>
          </p:nvPr>
        </p:nvSpPr>
        <p:spPr bwMode="auto">
          <a:xfrm>
            <a:off x="9678109" y="1837320"/>
            <a:ext cx="743538" cy="743536"/>
          </a:xfrm>
          <a:prstGeom prst="ellipse">
            <a:avLst/>
          </a:prstGeom>
          <a:solidFill>
            <a:schemeClr val="accent2"/>
          </a:solidFill>
          <a:ln w="9525" algn="ctr">
            <a:noFill/>
          </a:ln>
          <a:effectLst/>
        </p:spPr>
        <p:txBody>
          <a:bodyPr vert="horz" wrap="none" lIns="0" tIns="0" rIns="0" bIns="0" numCol="1" spcCol="0" rtlCol="0" anchor="ctr" anchorCtr="0">
            <a:noAutofit/>
          </a:bodyPr>
          <a:lstStyle>
            <a:lvl1pPr marL="201168"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noProof="0" dirty="0" smtClean="0">
                <a:solidFill>
                  <a:schemeClr val="tx1"/>
                </a:solidFill>
                <a:latin typeface="+mn-lt"/>
                <a:ea typeface="+mn-ea"/>
                <a:cs typeface="+mn-cs"/>
              </a:defRPr>
            </a:lvl1pPr>
            <a:lvl2pPr marL="402336"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noProof="0" dirty="0" smtClean="0">
                <a:solidFill>
                  <a:schemeClr val="tx1"/>
                </a:solidFill>
                <a:latin typeface="+mn-lt"/>
                <a:ea typeface="+mn-ea"/>
                <a:cs typeface="+mn-cs"/>
              </a:defRPr>
            </a:lvl2pPr>
            <a:lvl3pPr marL="603504"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noProof="0" dirty="0" smtClean="0">
                <a:solidFill>
                  <a:schemeClr val="tx1"/>
                </a:solidFill>
                <a:latin typeface="+mn-lt"/>
                <a:ea typeface="+mn-ea"/>
                <a:cs typeface="+mn-cs"/>
              </a:defRPr>
            </a:lvl3pPr>
            <a:lvl4pPr marL="804672"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noProof="0" dirty="0" smtClean="0">
                <a:solidFill>
                  <a:schemeClr val="tx1"/>
                </a:solidFill>
                <a:latin typeface="+mn-lt"/>
                <a:ea typeface="+mn-ea"/>
                <a:cs typeface="+mn-cs"/>
              </a:defRPr>
            </a:lvl4pPr>
            <a:lvl5pPr marL="1005840" marR="0" indent="-201168" algn="l" defTabSz="899320" rtl="0" eaLnBrk="1" fontAlgn="base" latinLnBrk="0" hangingPunct="1">
              <a:lnSpc>
                <a:spcPct val="100000"/>
              </a:lnSpc>
              <a:spcBef>
                <a:spcPts val="0"/>
              </a:spcBef>
              <a:spcAft>
                <a:spcPts val="600"/>
              </a:spcAft>
              <a:buClr>
                <a:srgbClr val="000000"/>
              </a:buClr>
              <a:buSzTx/>
              <a:buFont typeface="Arial" panose="020B0604020202020204" pitchFamily="34" charset="0"/>
              <a:buChar char="•"/>
              <a:tabLst/>
              <a:defRPr lang="en-GB" sz="1600" b="0" kern="1200" baseline="0" noProof="0" dirty="0">
                <a:solidFill>
                  <a:schemeClr val="tx1"/>
                </a:solidFill>
                <a:latin typeface="+mn-lt"/>
                <a:ea typeface="+mn-ea"/>
                <a:cs typeface="+mn-cs"/>
              </a:defRPr>
            </a:lvl5pPr>
            <a:lvl6pPr marL="1207008"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6pPr>
            <a:lvl7pPr marL="1408176"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7pPr>
            <a:lvl8pPr marL="1609344"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smtClean="0">
                <a:solidFill>
                  <a:schemeClr val="tx1"/>
                </a:solidFill>
                <a:latin typeface="+mn-lt"/>
                <a:ea typeface="+mn-ea"/>
                <a:cs typeface="+mn-cs"/>
              </a:defRPr>
            </a:lvl8pPr>
            <a:lvl9pPr marL="1810512" marR="0" indent="-201168" algn="l" defTabSz="899010" rtl="0" eaLnBrk="1" fontAlgn="auto" latinLnBrk="0" hangingPunct="1">
              <a:lnSpc>
                <a:spcPct val="100000"/>
              </a:lnSpc>
              <a:spcBef>
                <a:spcPts val="0"/>
              </a:spcBef>
              <a:spcAft>
                <a:spcPts val="600"/>
              </a:spcAft>
              <a:buClrTx/>
              <a:buSzTx/>
              <a:buFont typeface="Arial" panose="020B0604020202020204" pitchFamily="34" charset="0"/>
              <a:buChar char="•"/>
              <a:tabLst/>
              <a:defRPr lang="en-GB" sz="1600" b="0" kern="1200" baseline="0" noProof="0" dirty="0">
                <a:solidFill>
                  <a:schemeClr val="tx1"/>
                </a:solidFill>
                <a:latin typeface="+mn-lt"/>
                <a:ea typeface="+mn-ea"/>
                <a:cs typeface="+mn-cs"/>
              </a:defRPr>
            </a:lvl9pPr>
          </a:lstStyle>
          <a:p>
            <a:pPr marL="0" indent="0" algn="ctr">
              <a:spcBef>
                <a:spcPct val="0"/>
              </a:spcBef>
              <a:spcAft>
                <a:spcPct val="0"/>
              </a:spcAft>
              <a:buNone/>
              <a:defRPr/>
            </a:pPr>
            <a:r>
              <a:rPr lang="nl-NL" altLang="en-US" sz="1400" b="1" spc="-30" dirty="0">
                <a:solidFill>
                  <a:schemeClr val="accent1"/>
                </a:solidFill>
                <a:latin typeface="+mj-lt"/>
              </a:rPr>
              <a:t>-7.500</a:t>
            </a:r>
            <a:br>
              <a:rPr lang="nl-NL" altLang="en-US" sz="1400" b="1" dirty="0">
                <a:solidFill>
                  <a:schemeClr val="accent1"/>
                </a:solidFill>
                <a:latin typeface="+mj-lt"/>
              </a:rPr>
            </a:br>
            <a:r>
              <a:rPr lang="nl-NL" altLang="en-US" sz="1100" b="1" dirty="0">
                <a:solidFill>
                  <a:schemeClr val="accent3"/>
                </a:solidFill>
                <a:latin typeface="+mj-lt"/>
              </a:rPr>
              <a:t>(19%)</a:t>
            </a:r>
            <a:endParaRPr lang="nl-NL" sz="1400" dirty="0">
              <a:solidFill>
                <a:schemeClr val="accent3"/>
              </a:solidFill>
            </a:endParaRPr>
          </a:p>
        </p:txBody>
      </p:sp>
    </p:spTree>
    <p:extLst>
      <p:ext uri="{BB962C8B-B14F-4D97-AF65-F5344CB8AC3E}">
        <p14:creationId xmlns:p14="http://schemas.microsoft.com/office/powerpoint/2010/main" val="1215619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6="http://schemas.microsoft.com/office/drawing/2014/main"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C4JkuhGDOen6u0E9gL9BF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C4JkuhGDOen6u0E9gL9BFg"/>
</p:tagLst>
</file>

<file path=ppt/tags/tag4.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5.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pening sheet">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Innerpage_white_sec">
  <a:themeElements>
    <a:clrScheme name="TZZkleuren">
      <a:dk1>
        <a:srgbClr val="162B54"/>
      </a:dk1>
      <a:lt1>
        <a:srgbClr val="FFFFFF"/>
      </a:lt1>
      <a:dk2>
        <a:srgbClr val="162B54"/>
      </a:dk2>
      <a:lt2>
        <a:srgbClr val="E7E6E6"/>
      </a:lt2>
      <a:accent1>
        <a:srgbClr val="162B54"/>
      </a:accent1>
      <a:accent2>
        <a:srgbClr val="95B93A"/>
      </a:accent2>
      <a:accent3>
        <a:srgbClr val="A5A5A5"/>
      </a:accent3>
      <a:accent4>
        <a:srgbClr val="FFC000"/>
      </a:accent4>
      <a:accent5>
        <a:srgbClr val="5B9BD5"/>
      </a:accent5>
      <a:accent6>
        <a:srgbClr val="70AD47"/>
      </a:accent6>
      <a:hlink>
        <a:srgbClr val="0563C1"/>
      </a:hlink>
      <a:folHlink>
        <a:srgbClr val="954F72"/>
      </a:folHlink>
    </a:clrScheme>
    <a:fontScheme name="Kantoor">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880.23.063_1919_Powerpoint_template_tzz" id="{26C3FCA2-06B6-D242-95D3-4E8D880C09EE}" vid="{36397C44-2C7C-8C48-AA42-010EE0A6537B}"/>
    </a:ext>
  </a:extLst>
</a:theme>
</file>

<file path=ppt/theme/theme4.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6c3b1f5c-9be0-4d2e-baa3-3615b0d6fd66">
      <Terms xmlns="http://schemas.microsoft.com/office/infopath/2007/PartnerControls"/>
    </lcf76f155ced4ddcb4097134ff3c332f>
    <TaxCatchAll xmlns="5d3f69cd-ed27-4ab6-a992-a22c69d24e5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540CD954D81A542AED1D39B6983104B" ma:contentTypeVersion="15" ma:contentTypeDescription="Een nieuw document maken." ma:contentTypeScope="" ma:versionID="2169c8de2d81c12a687397df445e9fcd">
  <xsd:schema xmlns:xsd="http://www.w3.org/2001/XMLSchema" xmlns:xs="http://www.w3.org/2001/XMLSchema" xmlns:p="http://schemas.microsoft.com/office/2006/metadata/properties" xmlns:ns2="6c3b1f5c-9be0-4d2e-baa3-3615b0d6fd66" xmlns:ns3="5d3f69cd-ed27-4ab6-a992-a22c69d24e50" targetNamespace="http://schemas.microsoft.com/office/2006/metadata/properties" ma:root="true" ma:fieldsID="0c5eabc0cb820623bde646d2875c15c2" ns2:_="" ns3:_="">
    <xsd:import namespace="6c3b1f5c-9be0-4d2e-baa3-3615b0d6fd66"/>
    <xsd:import namespace="5d3f69cd-ed27-4ab6-a992-a22c69d24e5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LengthInSeconds" minOccurs="0"/>
                <xsd:element ref="ns2:MediaServiceDateTaken"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AutoKeyPoints" minOccurs="0"/>
                <xsd:element ref="ns2:MediaServiceKeyPoint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3b1f5c-9be0-4d2e-baa3-3615b0d6fd6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Afbeeldingtags" ma:readOnly="false" ma:fieldId="{5cf76f15-5ced-4ddc-b409-7134ff3c332f}" ma:taxonomyMulti="true" ma:sspId="26d9d89a-0aae-4684-a4f9-7e55250e185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d3f69cd-ed27-4ab6-a992-a22c69d24e50" elementFormDefault="qualified">
    <xsd:import namespace="http://schemas.microsoft.com/office/2006/documentManagement/types"/>
    <xsd:import namespace="http://schemas.microsoft.com/office/infopath/2007/PartnerControls"/>
    <xsd:element name="SharedWithUsers" ma:index="15"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Gedeeld met details" ma:internalName="SharedWithDetails" ma:readOnly="true">
      <xsd:simpleType>
        <xsd:restriction base="dms:Note">
          <xsd:maxLength value="255"/>
        </xsd:restriction>
      </xsd:simpleType>
    </xsd:element>
    <xsd:element name="TaxCatchAll" ma:index="22" nillable="true" ma:displayName="Taxonomy Catch All Column" ma:hidden="true" ma:list="{95046d62-e2df-4c97-8a2f-bfcd0ebc5373}" ma:internalName="TaxCatchAll" ma:showField="CatchAllData" ma:web="5d3f69cd-ed27-4ab6-a992-a22c69d24e5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B69528-4DD6-456B-86E9-3F068D025A8E}">
  <ds:schemaRefs>
    <ds:schemaRef ds:uri="5d3f69cd-ed27-4ab6-a992-a22c69d24e50"/>
    <ds:schemaRef ds:uri="6c3b1f5c-9be0-4d2e-baa3-3615b0d6fd6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B56120D0-5226-4E87-B86B-01080988C62D}">
  <ds:schemaRefs>
    <ds:schemaRef ds:uri="http://schemas.microsoft.com/sharepoint/v3/contenttype/forms"/>
  </ds:schemaRefs>
</ds:datastoreItem>
</file>

<file path=customXml/itemProps3.xml><?xml version="1.0" encoding="utf-8"?>
<ds:datastoreItem xmlns:ds="http://schemas.openxmlformats.org/officeDocument/2006/customXml" ds:itemID="{C4B1DA2A-C1F7-4CE2-BA2A-87A60D4B80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3b1f5c-9be0-4d2e-baa3-3615b0d6fd66"/>
    <ds:schemaRef ds:uri="5d3f69cd-ed27-4ab6-a992-a22c69d24e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342</TotalTime>
  <Words>1249</Words>
  <Application>Microsoft Office PowerPoint</Application>
  <PresentationFormat>Breedbeeld</PresentationFormat>
  <Paragraphs>164</Paragraphs>
  <Slides>16</Slides>
  <Notes>7</Notes>
  <HiddenSlides>0</HiddenSlides>
  <MMClips>0</MMClips>
  <ScaleCrop>false</ScaleCrop>
  <HeadingPairs>
    <vt:vector size="8" baseType="variant">
      <vt:variant>
        <vt:lpstr>Gebruikte lettertypen</vt:lpstr>
      </vt:variant>
      <vt:variant>
        <vt:i4>9</vt:i4>
      </vt:variant>
      <vt:variant>
        <vt:lpstr>Thema</vt:lpstr>
      </vt:variant>
      <vt:variant>
        <vt:i4>3</vt:i4>
      </vt:variant>
      <vt:variant>
        <vt:lpstr>Ingesloten OLE-bronprogramma's</vt:lpstr>
      </vt:variant>
      <vt:variant>
        <vt:i4>1</vt:i4>
      </vt:variant>
      <vt:variant>
        <vt:lpstr>Diatitels</vt:lpstr>
      </vt:variant>
      <vt:variant>
        <vt:i4>16</vt:i4>
      </vt:variant>
    </vt:vector>
  </HeadingPairs>
  <TitlesOfParts>
    <vt:vector size="29" baseType="lpstr">
      <vt:lpstr>Arial</vt:lpstr>
      <vt:lpstr>Avenir Next LT Pro Demi</vt:lpstr>
      <vt:lpstr>Calibri</vt:lpstr>
      <vt:lpstr>Calibri Light</vt:lpstr>
      <vt:lpstr>Courier New</vt:lpstr>
      <vt:lpstr>robotoslab</vt:lpstr>
      <vt:lpstr>Segoe UI Light</vt:lpstr>
      <vt:lpstr>Tw Cen MT Condensed</vt:lpstr>
      <vt:lpstr>Wingdings</vt:lpstr>
      <vt:lpstr>Kantoorthema</vt:lpstr>
      <vt:lpstr>Opening sheet</vt:lpstr>
      <vt:lpstr>2_Innerpage_white_sec</vt:lpstr>
      <vt:lpstr>think-cell Slide</vt:lpstr>
      <vt:lpstr>Zeeland  ZorgSaam  Zeeuwse Zorg Coalitie </vt:lpstr>
      <vt:lpstr> Context Zeeland</vt:lpstr>
      <vt:lpstr>ZorgSaam dichtbij</vt:lpstr>
      <vt:lpstr>Organisatie </vt:lpstr>
      <vt:lpstr>Ons netwerk: focus op duurzame relaties </vt:lpstr>
      <vt:lpstr>Zeeuwse Zorg Coalitie is een regionale netwerkorganisatie die zich inzet voor de toegankelijkheid van de zorg</vt:lpstr>
      <vt:lpstr>Regionale samenwerking: Zeeuwse Zorg Coalitie </vt:lpstr>
      <vt:lpstr>PowerPoint-presentatie</vt:lpstr>
      <vt:lpstr>Uitdaging van Zeeuwse Zorg Coalitie. </vt:lpstr>
      <vt:lpstr>PowerPoint-presentatie</vt:lpstr>
      <vt:lpstr>PowerPoint-presentatie</vt:lpstr>
      <vt:lpstr>Strategie</vt:lpstr>
      <vt:lpstr>Randvoorwaarden </vt:lpstr>
      <vt:lpstr>De ZZC streeft een zo ‘light’ mogelijke  governance structuur na</vt:lpstr>
      <vt:lpstr>Governance </vt:lpstr>
      <vt:lpstr>Governance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Robert Jan van Herpen - BOOM</dc:creator>
  <cp:lastModifiedBy>René Maas</cp:lastModifiedBy>
  <cp:revision>17</cp:revision>
  <cp:lastPrinted>2023-01-30T15:29:21Z</cp:lastPrinted>
  <dcterms:created xsi:type="dcterms:W3CDTF">2022-07-14T08:45:59Z</dcterms:created>
  <dcterms:modified xsi:type="dcterms:W3CDTF">2023-10-10T09:1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40CD954D81A542AED1D39B6983104B</vt:lpwstr>
  </property>
</Properties>
</file>